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2.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notesSlides/notesSlide1.xml" ContentType="application/vnd.openxmlformats-officedocument.presentationml.notesSlide+xml"/>
  <Override PartName="/ppt/tags/tag70.xml" ContentType="application/vnd.openxmlformats-officedocument.presentationml.tags+xml"/>
  <Override PartName="/ppt/notesSlides/notesSlide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3.xml" ContentType="application/vnd.openxmlformats-officedocument.presentationml.notesSlide+xml"/>
  <Override PartName="/ppt/tags/tag76.xml" ContentType="application/vnd.openxmlformats-officedocument.presentationml.tags+xml"/>
  <Override PartName="/ppt/notesSlides/notesSlide4.xml" ContentType="application/vnd.openxmlformats-officedocument.presentationml.notesSlide+xml"/>
  <Override PartName="/ppt/tags/tag77.xml" ContentType="application/vnd.openxmlformats-officedocument.presentationml.tags+xml"/>
  <Override PartName="/ppt/notesSlides/notesSlide5.xml" ContentType="application/vnd.openxmlformats-officedocument.presentationml.notesSlide+xml"/>
  <Override PartName="/ppt/tags/tag78.xml" ContentType="application/vnd.openxmlformats-officedocument.presentationml.tags+xml"/>
  <Override PartName="/ppt/notesSlides/notesSlide6.xml" ContentType="application/vnd.openxmlformats-officedocument.presentationml.notesSlide+xml"/>
  <Override PartName="/ppt/tags/tag79.xml" ContentType="application/vnd.openxmlformats-officedocument.presentationml.tags+xml"/>
  <Override PartName="/ppt/notesSlides/notesSlide7.xml" ContentType="application/vnd.openxmlformats-officedocument.presentationml.notesSlide+xml"/>
  <Override PartName="/ppt/tags/tag80.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4843" r:id="rId3"/>
    <p:sldId id="4964" r:id="rId4"/>
    <p:sldId id="4943" r:id="rId5"/>
    <p:sldId id="4965" r:id="rId6"/>
    <p:sldId id="4960" r:id="rId7"/>
    <p:sldId id="4968" r:id="rId8"/>
    <p:sldId id="4984" r:id="rId9"/>
    <p:sldId id="4981" r:id="rId10"/>
    <p:sldId id="4982" r:id="rId11"/>
    <p:sldId id="4978" r:id="rId12"/>
    <p:sldId id="259"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8C0FE"/>
    <a:srgbClr val="F2F2F2"/>
    <a:srgbClr val="3D53B5"/>
    <a:srgbClr val="6F8ADD"/>
    <a:srgbClr val="036DFF"/>
    <a:srgbClr val="183CA9"/>
    <a:srgbClr val="173BA6"/>
    <a:srgbClr val="3967DB"/>
    <a:srgbClr val="0B3DDB"/>
    <a:srgbClr val="183CA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35" autoAdjust="0"/>
    <p:restoredTop sz="96357" autoAdjust="0"/>
  </p:normalViewPr>
  <p:slideViewPr>
    <p:cSldViewPr snapToGrid="0">
      <p:cViewPr varScale="1">
        <p:scale>
          <a:sx n="82" d="100"/>
          <a:sy n="82" d="100"/>
        </p:scale>
        <p:origin x="1027"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Calibri" panose="020F0502020204030204" pitchFamily="34" charset="0"/>
                <a:cs typeface="Calibri" panose="020F0502020204030204" pitchFamily="34" charset="0"/>
                <a:sym typeface="Calibri" panose="020F050202020403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Calibri" panose="020F0502020204030204" pitchFamily="34" charset="0"/>
                <a:cs typeface="Calibri" panose="020F0502020204030204" pitchFamily="34" charset="0"/>
                <a:sym typeface="Calibri" panose="020F0502020204030204" pitchFamily="34" charset="0"/>
              </a:defRPr>
            </a:lvl1pPr>
          </a:lstStyle>
          <a:p>
            <a:fld id="{AC3BDB33-5499-4BF5-8021-4AB16A5F234D}" type="datetimeFigureOut">
              <a:rPr lang="en-US" smtClean="0"/>
              <a:pPr/>
              <a:t>11/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Calibri" panose="020F0502020204030204" pitchFamily="34" charset="0"/>
                <a:cs typeface="Calibri" panose="020F0502020204030204" pitchFamily="34" charset="0"/>
                <a:sym typeface="Calibri" panose="020F050202020403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Calibri" panose="020F0502020204030204" pitchFamily="34" charset="0"/>
                <a:cs typeface="Calibri" panose="020F0502020204030204" pitchFamily="34" charset="0"/>
                <a:sym typeface="Calibri" panose="020F0502020204030204" pitchFamily="34" charset="0"/>
              </a:defRPr>
            </a:lvl1pPr>
          </a:lstStyle>
          <a:p>
            <a:fld id="{808B04B9-C30D-4FA3-A24E-84C76B166B3B}" type="slidenum">
              <a:rPr lang="en-US" smtClean="0"/>
              <a:pPr/>
              <a:t>‹#›</a:t>
            </a:fld>
            <a:endParaRPr lang="en-US" dirty="0"/>
          </a:p>
        </p:txBody>
      </p:sp>
    </p:spTree>
    <p:extLst>
      <p:ext uri="{BB962C8B-B14F-4D97-AF65-F5344CB8AC3E}">
        <p14:creationId xmlns:p14="http://schemas.microsoft.com/office/powerpoint/2010/main" val="29086965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4572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9144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13716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18288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B04B9-C30D-4FA3-A24E-84C76B166B3B}" type="slidenum">
              <a:rPr lang="en-US" smtClean="0"/>
              <a:pPr/>
              <a:t>1</a:t>
            </a:fld>
            <a:endParaRPr lang="en-US" dirty="0"/>
          </a:p>
        </p:txBody>
      </p:sp>
    </p:spTree>
    <p:extLst>
      <p:ext uri="{BB962C8B-B14F-4D97-AF65-F5344CB8AC3E}">
        <p14:creationId xmlns:p14="http://schemas.microsoft.com/office/powerpoint/2010/main" val="3755961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IN" sz="1200" b="0" i="0" u="none" strike="noStrike" cap="none" smtClean="0">
                <a:solidFill>
                  <a:schemeClr val="dk1"/>
                </a:solidFill>
                <a:latin typeface="Calibri"/>
                <a:ea typeface="Calibri"/>
                <a:cs typeface="Calibri"/>
                <a:sym typeface="Calibri"/>
              </a:rPr>
              <a:t>2</a:t>
            </a:fld>
            <a:endParaRPr lang="en-IN"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7676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B04B9-C30D-4FA3-A24E-84C76B166B3B}" type="slidenum">
              <a:rPr lang="en-US" smtClean="0"/>
              <a:pPr/>
              <a:t>7</a:t>
            </a:fld>
            <a:endParaRPr lang="en-US" dirty="0"/>
          </a:p>
        </p:txBody>
      </p:sp>
    </p:spTree>
    <p:extLst>
      <p:ext uri="{BB962C8B-B14F-4D97-AF65-F5344CB8AC3E}">
        <p14:creationId xmlns:p14="http://schemas.microsoft.com/office/powerpoint/2010/main" val="2759888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08B04B9-C30D-4FA3-A24E-84C76B166B3B}" type="slidenum">
              <a:rPr lang="en-IN" smtClean="0"/>
              <a:t>8</a:t>
            </a:fld>
            <a:endParaRPr lang="en-IN" dirty="0"/>
          </a:p>
        </p:txBody>
      </p:sp>
    </p:spTree>
    <p:extLst>
      <p:ext uri="{BB962C8B-B14F-4D97-AF65-F5344CB8AC3E}">
        <p14:creationId xmlns:p14="http://schemas.microsoft.com/office/powerpoint/2010/main" val="23259110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B04B9-C30D-4FA3-A24E-84C76B166B3B}" type="slidenum">
              <a:rPr lang="en-US" smtClean="0"/>
              <a:pPr/>
              <a:t>9</a:t>
            </a:fld>
            <a:endParaRPr lang="en-US" dirty="0"/>
          </a:p>
        </p:txBody>
      </p:sp>
    </p:spTree>
    <p:extLst>
      <p:ext uri="{BB962C8B-B14F-4D97-AF65-F5344CB8AC3E}">
        <p14:creationId xmlns:p14="http://schemas.microsoft.com/office/powerpoint/2010/main" val="4072154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B04B9-C30D-4FA3-A24E-84C76B166B3B}" type="slidenum">
              <a:rPr lang="en-US" smtClean="0"/>
              <a:pPr/>
              <a:t>10</a:t>
            </a:fld>
            <a:endParaRPr lang="en-US" dirty="0"/>
          </a:p>
        </p:txBody>
      </p:sp>
    </p:spTree>
    <p:extLst>
      <p:ext uri="{BB962C8B-B14F-4D97-AF65-F5344CB8AC3E}">
        <p14:creationId xmlns:p14="http://schemas.microsoft.com/office/powerpoint/2010/main" val="1942476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B04B9-C30D-4FA3-A24E-84C76B166B3B}" type="slidenum">
              <a:rPr lang="en-US" smtClean="0"/>
              <a:pPr/>
              <a:t>11</a:t>
            </a:fld>
            <a:endParaRPr lang="en-US" dirty="0"/>
          </a:p>
        </p:txBody>
      </p:sp>
    </p:spTree>
    <p:extLst>
      <p:ext uri="{BB962C8B-B14F-4D97-AF65-F5344CB8AC3E}">
        <p14:creationId xmlns:p14="http://schemas.microsoft.com/office/powerpoint/2010/main" val="14770122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B04B9-C30D-4FA3-A24E-84C76B166B3B}" type="slidenum">
              <a:rPr lang="en-US" smtClean="0"/>
              <a:pPr/>
              <a:t>12</a:t>
            </a:fld>
            <a:endParaRPr lang="en-US" dirty="0"/>
          </a:p>
        </p:txBody>
      </p:sp>
    </p:spTree>
    <p:extLst>
      <p:ext uri="{BB962C8B-B14F-4D97-AF65-F5344CB8AC3E}">
        <p14:creationId xmlns:p14="http://schemas.microsoft.com/office/powerpoint/2010/main" val="32860948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18" Type="http://schemas.openxmlformats.org/officeDocument/2006/relationships/image" Target="../media/image21.png"/><Relationship Id="rId3" Type="http://schemas.openxmlformats.org/officeDocument/2006/relationships/slideMaster" Target="../slideMasters/slideMaster1.xml"/><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svg"/><Relationship Id="rId2" Type="http://schemas.openxmlformats.org/officeDocument/2006/relationships/tags" Target="../tags/tag40.xml"/><Relationship Id="rId16" Type="http://schemas.openxmlformats.org/officeDocument/2006/relationships/image" Target="../media/image19.png"/><Relationship Id="rId1" Type="http://schemas.openxmlformats.org/officeDocument/2006/relationships/tags" Target="../tags/tag39.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6.emf"/><Relationship Id="rId15" Type="http://schemas.openxmlformats.org/officeDocument/2006/relationships/image" Target="../media/image18.svg"/><Relationship Id="rId10" Type="http://schemas.openxmlformats.org/officeDocument/2006/relationships/image" Target="../media/image13.png"/><Relationship Id="rId19" Type="http://schemas.openxmlformats.org/officeDocument/2006/relationships/image" Target="../media/image22.svg"/><Relationship Id="rId4" Type="http://schemas.openxmlformats.org/officeDocument/2006/relationships/oleObject" Target="../embeddings/oleObject20.bin"/><Relationship Id="rId9" Type="http://schemas.openxmlformats.org/officeDocument/2006/relationships/image" Target="../media/image12.svg"/><Relationship Id="rId14" Type="http://schemas.openxmlformats.org/officeDocument/2006/relationships/image" Target="../media/image17.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3.jpg"/><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6.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4.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4.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6.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6.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6.jpeg"/><Relationship Id="rId5" Type="http://schemas.openxmlformats.org/officeDocument/2006/relationships/image" Target="../media/image25.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oleObject" Target="../embeddings/oleObject31.bin"/><Relationship Id="rId7" Type="http://schemas.openxmlformats.org/officeDocument/2006/relationships/hyperlink" Target="https://www.linkedin.com/company-beta/2416143/admin/updates/" TargetMode="External"/><Relationship Id="rId2" Type="http://schemas.openxmlformats.org/officeDocument/2006/relationships/slideMaster" Target="../slideMasters/slideMaster1.xml"/><Relationship Id="rId1" Type="http://schemas.openxmlformats.org/officeDocument/2006/relationships/tags" Target="../tags/tag61.xml"/><Relationship Id="rId6" Type="http://schemas.openxmlformats.org/officeDocument/2006/relationships/image" Target="../media/image28.wmf"/><Relationship Id="rId11" Type="http://schemas.openxmlformats.org/officeDocument/2006/relationships/image" Target="../media/image31.png"/><Relationship Id="rId5" Type="http://schemas.openxmlformats.org/officeDocument/2006/relationships/hyperlink" Target="https://infomineo.com/insights/blog/" TargetMode="External"/><Relationship Id="rId10" Type="http://schemas.openxmlformats.org/officeDocument/2006/relationships/image" Target="../media/image30.emf"/><Relationship Id="rId4" Type="http://schemas.openxmlformats.org/officeDocument/2006/relationships/image" Target="../media/image24.emf"/><Relationship Id="rId9" Type="http://schemas.openxmlformats.org/officeDocument/2006/relationships/hyperlink" Target="https://www.facebook.com/Infomineo/" TargetMode="Externa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333682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 t="-4" r="-1" b="-4"/>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80270E3B-760C-41F0-B9D6-A2E014047679}"/>
              </a:ext>
            </a:extLst>
          </p:cNvPr>
          <p:cNvSpPr/>
          <p:nvPr userDrawn="1"/>
        </p:nvSpPr>
        <p:spPr>
          <a:xfrm>
            <a:off x="536448"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8" y="1844676"/>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51297"/>
            <a:ext cx="5478239" cy="1246495"/>
          </a:xfrm>
        </p:spPr>
        <p:txBody>
          <a:bodyPr vert="horz" wrap="square" lIns="0" tIns="0" rIns="0" bIns="0" rtlCol="0" anchor="b">
            <a:spAutoFit/>
          </a:bodyPr>
          <a:lstStyle>
            <a:lvl1pPr rtl="0">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dirty="0"/>
              <a:t>Click to edit Master title style</a:t>
            </a:r>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478239" cy="292388"/>
          </a:xfrm>
        </p:spPr>
        <p:txBody>
          <a:bodyPr vert="horz" wrap="square" lIns="0" tIns="0" rIns="0" bIns="0" rtlCol="0" anchor="t">
            <a:spAutoFit/>
          </a:bodyPr>
          <a:lstStyle>
            <a:lvl1pPr rtl="0">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lvl="0" indent="-228600"/>
            <a:r>
              <a:rPr lang="en-US" dirty="0"/>
              <a:t>Click to edit Master subtitle style</a:t>
            </a:r>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354392" cy="193899"/>
          </a:xfrm>
          <a:prstGeom prst="rect">
            <a:avLst/>
          </a:prstGeom>
        </p:spPr>
        <p:txBody>
          <a:bodyPr vert="horz" wrap="none" lIns="0" tIns="0" rIns="0" bIns="0" rtlCol="0" anchor="t">
            <a:spAutoFit/>
          </a:bodyPr>
          <a:lstStyle>
            <a:lvl1pPr rtl="0">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indent="-228600">
              <a:lnSpc>
                <a:spcPct val="90000"/>
              </a:lnSpc>
              <a:spcBef>
                <a:spcPts val="1000"/>
              </a:spcBef>
              <a:buFont typeface="Arial" panose="020B0604020202020204" pitchFamily="34" charset="0"/>
              <a:buNone/>
            </a:pPr>
            <a:r>
              <a:rPr lang="en-US" dirty="0"/>
              <a:t>Date</a:t>
            </a:r>
          </a:p>
        </p:txBody>
      </p:sp>
      <p:pic>
        <p:nvPicPr>
          <p:cNvPr id="19" name="Graphic 11">
            <a:extLst>
              <a:ext uri="{FF2B5EF4-FFF2-40B4-BE49-F238E27FC236}">
                <a16:creationId xmlns:a16="http://schemas.microsoft.com/office/drawing/2014/main" id="{80DDE991-78B6-26A3-B1D6-C70EFBE0FA89}"/>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905256" y="448056"/>
            <a:ext cx="2496312" cy="576072"/>
          </a:xfrm>
          <a:prstGeom prst="rect">
            <a:avLst/>
          </a:prstGeom>
        </p:spPr>
      </p:pic>
    </p:spTree>
    <p:extLst>
      <p:ext uri="{BB962C8B-B14F-4D97-AF65-F5344CB8AC3E}">
        <p14:creationId xmlns:p14="http://schemas.microsoft.com/office/powerpoint/2010/main" val="13100669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542177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476173-BEA2-49BD-B5FE-C9602A2A7D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rtl="0">
              <a:defRPr lang="en-IN"/>
            </a:lvl1pPr>
          </a:lstStyle>
          <a:p>
            <a:pPr lvl="0">
              <a:lnSpc>
                <a:spcPct val="85000"/>
              </a:lnSpc>
            </a:pPr>
            <a:r>
              <a:rPr lang="en-US" dirty="0"/>
              <a:t>Click to edit Master title style</a:t>
            </a:r>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3506976" cy="1177245"/>
          </a:xfrm>
        </p:spPr>
        <p:txBody>
          <a:bodyPr vert="horz" lIns="0" tIns="0" rIns="0" bIns="0" rtlCol="0">
            <a:spAutoFit/>
          </a:bodyPr>
          <a:lstStyle>
            <a:lvl1pPr rtl="0">
              <a:defRPr lang="en-US" sz="1400" dirty="0"/>
            </a:lvl1pPr>
            <a:lvl2pPr rtl="0">
              <a:defRPr lang="en-US" sz="1400" dirty="0" smtClean="0"/>
            </a:lvl2pPr>
            <a:lvl3pPr marL="179387" indent="0" rtl="0">
              <a:buNone/>
              <a:defRPr lang="en-US" sz="1400" dirty="0"/>
            </a:lvl3pPr>
            <a:lvl4pPr rtl="0">
              <a:defRPr lang="en-US" sz="1400" dirty="0"/>
            </a:lvl4pPr>
            <a:lvl5pPr rtl="0">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3506976"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8135839" y="2175803"/>
            <a:ext cx="3505300" cy="1151597"/>
          </a:xfrm>
        </p:spPr>
        <p:txBody>
          <a:bodyPr vert="horz" lIns="0" tIns="0" rIns="0" bIns="0" rtlCol="0">
            <a:spAutoFit/>
          </a:bodyPr>
          <a:lstStyle>
            <a:lvl1pPr rtl="0">
              <a:defRPr lang="en-US" sz="1400" dirty="0"/>
            </a:lvl1pPr>
            <a:lvl2pPr rtl="0">
              <a:defRPr lang="en-US" sz="1400" dirty="0"/>
            </a:lvl2pPr>
            <a:lvl3pPr rtl="0">
              <a:defRPr lang="en-US" sz="1400" dirty="0"/>
            </a:lvl3pPr>
            <a:lvl4pPr rtl="0">
              <a:defRPr lang="en-US" sz="1400" dirty="0"/>
            </a:lvl4pPr>
            <a:lvl5pPr rtl="0">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8135839" y="1857375"/>
            <a:ext cx="3505300"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59121794-F5DD-4A31-9CFD-38DDBBCF1C7C}"/>
              </a:ext>
            </a:extLst>
          </p:cNvPr>
          <p:cNvSpPr>
            <a:spLocks noGrp="1"/>
          </p:cNvSpPr>
          <p:nvPr>
            <p:ph type="body" sz="quarter" idx="17" hasCustomPrompt="1"/>
          </p:nvPr>
        </p:nvSpPr>
        <p:spPr>
          <a:xfrm>
            <a:off x="4344162" y="2175803"/>
            <a:ext cx="3505300" cy="1151597"/>
          </a:xfrm>
        </p:spPr>
        <p:txBody>
          <a:bodyPr vert="horz" lIns="0" tIns="0" rIns="0" bIns="0" rtlCol="0">
            <a:spAutoFit/>
          </a:bodyPr>
          <a:lstStyle>
            <a:lvl1pPr rtl="0">
              <a:defRPr lang="en-US" sz="1400" dirty="0"/>
            </a:lvl1pPr>
            <a:lvl2pPr rtl="0">
              <a:defRPr lang="en-US" sz="1400" dirty="0"/>
            </a:lvl2pPr>
            <a:lvl3pPr rtl="0">
              <a:defRPr lang="en-US" sz="1400" dirty="0"/>
            </a:lvl3pPr>
            <a:lvl4pPr rtl="0">
              <a:defRPr lang="en-US" sz="1400" dirty="0"/>
            </a:lvl4pPr>
            <a:lvl5pPr rtl="0">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28" name="Text Placeholder 14">
            <a:extLst>
              <a:ext uri="{FF2B5EF4-FFF2-40B4-BE49-F238E27FC236}">
                <a16:creationId xmlns:a16="http://schemas.microsoft.com/office/drawing/2014/main" id="{3143DD43-CBE6-4068-87AB-C994C1891565}"/>
              </a:ext>
            </a:extLst>
          </p:cNvPr>
          <p:cNvSpPr>
            <a:spLocks noGrp="1"/>
          </p:cNvSpPr>
          <p:nvPr>
            <p:ph type="body" sz="quarter" idx="18" hasCustomPrompt="1"/>
          </p:nvPr>
        </p:nvSpPr>
        <p:spPr>
          <a:xfrm>
            <a:off x="4344162" y="1857375"/>
            <a:ext cx="3505300"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13" name="Footer Placeholder 4">
            <a:extLst>
              <a:ext uri="{FF2B5EF4-FFF2-40B4-BE49-F238E27FC236}">
                <a16:creationId xmlns:a16="http://schemas.microsoft.com/office/drawing/2014/main" id="{F9CDC1BE-F1D3-4AAB-9527-98835405BADA}"/>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Tree>
    <p:extLst>
      <p:ext uri="{BB962C8B-B14F-4D97-AF65-F5344CB8AC3E}">
        <p14:creationId xmlns:p14="http://schemas.microsoft.com/office/powerpoint/2010/main" val="1532692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608111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314B796-0A71-42E1-B6EB-B6B2B794121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rtl="0">
              <a:defRPr lang="en-IN"/>
            </a:lvl1pPr>
          </a:lstStyle>
          <a:p>
            <a:pPr lvl="0">
              <a:lnSpc>
                <a:spcPct val="85000"/>
              </a:lnSpc>
            </a:pPr>
            <a:r>
              <a:rPr lang="en-US" dirty="0"/>
              <a:t>Click to edit Master title style</a:t>
            </a:r>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2559476" cy="1151597"/>
          </a:xfrm>
        </p:spPr>
        <p:txBody>
          <a:bodyPr vert="horz" lIns="0" tIns="0" rIns="0" bIns="0" rtlCol="0">
            <a:spAutoFit/>
          </a:bodyPr>
          <a:lstStyle>
            <a:lvl1pPr rtl="0">
              <a:defRPr lang="en-US" sz="1400" dirty="0"/>
            </a:lvl1pPr>
            <a:lvl2pPr rtl="0">
              <a:defRPr lang="en-US" sz="1400" dirty="0"/>
            </a:lvl2pPr>
            <a:lvl3pPr marL="179387" indent="0" rtl="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rtl="0">
              <a:defRPr lang="en-US" sz="1400" dirty="0"/>
            </a:lvl4pPr>
            <a:lvl5pPr rtl="0">
              <a:defRPr lang="en-IN" sz="1400" dirty="0"/>
            </a:lvl5pPr>
          </a:lstStyle>
          <a:p>
            <a:pPr lvl="0"/>
            <a:r>
              <a:rPr lang="en-US" dirty="0"/>
              <a:t>Paragraph Style</a:t>
            </a:r>
          </a:p>
          <a:p>
            <a:pPr lvl="1"/>
            <a:r>
              <a:rPr lang="en-US" dirty="0"/>
              <a:t>Bullet level 1</a:t>
            </a:r>
          </a:p>
          <a:p>
            <a:pPr marL="358775" lvl="2" indent="-179388" algn="l" defTabSz="914400"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2559476"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3"/>
            <a:ext cx="2554875" cy="1151597"/>
          </a:xfrm>
        </p:spPr>
        <p:txBody>
          <a:bodyPr vert="horz" lIns="0" tIns="0" rIns="0" bIns="0" rtlCol="0">
            <a:spAutoFit/>
          </a:bodyPr>
          <a:lstStyle>
            <a:lvl1pPr rtl="0">
              <a:defRPr lang="en-US" sz="1400" dirty="0"/>
            </a:lvl1pPr>
            <a:lvl2pPr rtl="0">
              <a:defRPr lang="en-US" sz="1400" dirty="0"/>
            </a:lvl2pPr>
            <a:lvl3pPr rtl="0">
              <a:defRPr lang="en-US" sz="1400" dirty="0"/>
            </a:lvl3pPr>
            <a:lvl4pPr rtl="0">
              <a:defRPr lang="en-US" sz="1400" dirty="0"/>
            </a:lvl4pPr>
            <a:lvl5pPr rtl="0">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5"/>
            <a:ext cx="2554875"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3395664" y="2175803"/>
            <a:ext cx="2559476" cy="1151597"/>
          </a:xfrm>
        </p:spPr>
        <p:txBody>
          <a:bodyPr vert="horz" lIns="0" tIns="0" rIns="0" bIns="0" rtlCol="0">
            <a:spAutoFit/>
          </a:bodyPr>
          <a:lstStyle>
            <a:lvl1pPr rtl="0">
              <a:defRPr lang="en-US" sz="1400" dirty="0"/>
            </a:lvl1pPr>
            <a:lvl2pPr rtl="0">
              <a:defRPr lang="en-US" sz="1400" dirty="0"/>
            </a:lvl2pPr>
            <a:lvl3pPr marL="179387" indent="0" rtl="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rtl="0">
              <a:defRPr lang="en-US" sz="1400" dirty="0"/>
            </a:lvl4pPr>
            <a:lvl5pPr rtl="0">
              <a:defRPr lang="en-IN" sz="1400" dirty="0"/>
            </a:lvl5pPr>
          </a:lstStyle>
          <a:p>
            <a:pPr lvl="0"/>
            <a:r>
              <a:rPr lang="en-US" dirty="0"/>
              <a:t>Paragraph Style</a:t>
            </a:r>
          </a:p>
          <a:p>
            <a:pPr lvl="1"/>
            <a:r>
              <a:rPr lang="en-US" dirty="0"/>
              <a:t>Bullet level 1</a:t>
            </a:r>
          </a:p>
          <a:p>
            <a:pPr marL="358775" lvl="2" indent="-179388" algn="l" defTabSz="914400"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3395664" y="1857375"/>
            <a:ext cx="2559476"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9086263" y="2175803"/>
            <a:ext cx="2554875" cy="1151597"/>
          </a:xfrm>
        </p:spPr>
        <p:txBody>
          <a:bodyPr vert="horz" lIns="0" tIns="0" rIns="0" bIns="0" rtlCol="0">
            <a:spAutoFit/>
          </a:bodyPr>
          <a:lstStyle>
            <a:lvl1pPr rtl="0">
              <a:defRPr lang="en-US" sz="1400" dirty="0"/>
            </a:lvl1pPr>
            <a:lvl2pPr rtl="0">
              <a:defRPr lang="en-US" sz="1400" dirty="0"/>
            </a:lvl2pPr>
            <a:lvl3pPr rtl="0">
              <a:defRPr lang="en-US" sz="1400" dirty="0"/>
            </a:lvl3pPr>
            <a:lvl4pPr rtl="0">
              <a:defRPr lang="en-US" sz="1400" dirty="0"/>
            </a:lvl4pPr>
            <a:lvl5pPr rtl="0">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9086263" y="1857375"/>
            <a:ext cx="2554875"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16" name="Footer Placeholder 4">
            <a:extLst>
              <a:ext uri="{FF2B5EF4-FFF2-40B4-BE49-F238E27FC236}">
                <a16:creationId xmlns:a16="http://schemas.microsoft.com/office/drawing/2014/main" id="{60B9447C-186B-4C6F-929F-503046B2C31C}"/>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Tree>
    <p:extLst>
      <p:ext uri="{BB962C8B-B14F-4D97-AF65-F5344CB8AC3E}">
        <p14:creationId xmlns:p14="http://schemas.microsoft.com/office/powerpoint/2010/main" val="38745769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618954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F80F200-6A77-426D-879D-7C93BD8B9FB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rtl="0">
              <a:defRPr lang="en-IN"/>
            </a:lvl1pPr>
          </a:lstStyle>
          <a:p>
            <a:pPr lvl="0">
              <a:lnSpc>
                <a:spcPct val="85000"/>
              </a:lnSpc>
            </a:pPr>
            <a:r>
              <a:rPr lang="en-US" dirty="0"/>
              <a:t>Click to edit Master title style</a:t>
            </a:r>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1983600" cy="1151597"/>
          </a:xfrm>
        </p:spPr>
        <p:txBody>
          <a:bodyPr vert="horz" lIns="0" tIns="0" rIns="0" bIns="0" rtlCol="0">
            <a:spAutoFit/>
          </a:bodyPr>
          <a:lstStyle>
            <a:lvl1pPr rtl="0">
              <a:defRPr lang="en-US" sz="1400" dirty="0"/>
            </a:lvl1pPr>
            <a:lvl2pPr rtl="0">
              <a:defRPr lang="en-US" sz="1400" dirty="0"/>
            </a:lvl2pPr>
            <a:lvl3pPr marL="179387" indent="0" rtl="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rtl="0">
              <a:defRPr lang="en-US" sz="1400" dirty="0"/>
            </a:lvl4pPr>
            <a:lvl5pPr rtl="0">
              <a:defRPr lang="en-IN" sz="1400" dirty="0"/>
            </a:lvl5pPr>
          </a:lstStyle>
          <a:p>
            <a:pPr lvl="0"/>
            <a:r>
              <a:rPr lang="en-US" dirty="0"/>
              <a:t>Paragraph Style</a:t>
            </a:r>
          </a:p>
          <a:p>
            <a:pPr lvl="1"/>
            <a:r>
              <a:rPr lang="en-US" dirty="0"/>
              <a:t>Bullet level 1</a:t>
            </a:r>
          </a:p>
          <a:p>
            <a:pPr marL="358775" lvl="2" indent="-179388" algn="l" defTabSz="914400"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1983600"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5104050" y="2175803"/>
            <a:ext cx="1980034" cy="1151597"/>
          </a:xfrm>
        </p:spPr>
        <p:txBody>
          <a:bodyPr vert="horz" lIns="0" tIns="0" rIns="0" bIns="0" rtlCol="0">
            <a:spAutoFit/>
          </a:bodyPr>
          <a:lstStyle>
            <a:lvl1pPr rtl="0">
              <a:defRPr lang="en-US" sz="1400" dirty="0"/>
            </a:lvl1pPr>
            <a:lvl2pPr rtl="0">
              <a:defRPr lang="en-US" sz="1400" dirty="0"/>
            </a:lvl2pPr>
            <a:lvl3pPr rtl="0">
              <a:defRPr lang="en-US" sz="1400" dirty="0"/>
            </a:lvl3pPr>
            <a:lvl4pPr rtl="0">
              <a:defRPr lang="en-US" sz="1400" dirty="0"/>
            </a:lvl4pPr>
            <a:lvl5pPr rtl="0">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5104050" y="1857375"/>
            <a:ext cx="1980034"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2827457" y="2175803"/>
            <a:ext cx="1983600" cy="1151597"/>
          </a:xfrm>
        </p:spPr>
        <p:txBody>
          <a:bodyPr vert="horz" lIns="0" tIns="0" rIns="0" bIns="0" rtlCol="0">
            <a:spAutoFit/>
          </a:bodyPr>
          <a:lstStyle>
            <a:lvl1pPr rtl="0">
              <a:defRPr lang="en-US" sz="1400" dirty="0"/>
            </a:lvl1pPr>
            <a:lvl2pPr rtl="0">
              <a:defRPr lang="en-US" sz="1400" dirty="0"/>
            </a:lvl2pPr>
            <a:lvl3pPr marL="179387" indent="0" rtl="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rtl="0">
              <a:defRPr lang="en-US" sz="1400" dirty="0"/>
            </a:lvl4pPr>
            <a:lvl5pPr rtl="0">
              <a:defRPr lang="en-IN" sz="1400" dirty="0"/>
            </a:lvl5pPr>
          </a:lstStyle>
          <a:p>
            <a:pPr lvl="0"/>
            <a:r>
              <a:rPr lang="en-US" dirty="0"/>
              <a:t>Paragraph Style</a:t>
            </a:r>
          </a:p>
          <a:p>
            <a:pPr lvl="1"/>
            <a:r>
              <a:rPr lang="en-US" dirty="0"/>
              <a:t>Bullet level 1</a:t>
            </a:r>
          </a:p>
          <a:p>
            <a:pPr marL="358775" lvl="2" indent="-179388" algn="l" defTabSz="914400"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2827457" y="1857375"/>
            <a:ext cx="1983600"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7380643" y="2175803"/>
            <a:ext cx="1980034" cy="1151597"/>
          </a:xfrm>
        </p:spPr>
        <p:txBody>
          <a:bodyPr vert="horz" lIns="0" tIns="0" rIns="0" bIns="0" rtlCol="0">
            <a:spAutoFit/>
          </a:bodyPr>
          <a:lstStyle>
            <a:lvl1pPr rtl="0">
              <a:defRPr lang="en-US" sz="1400" dirty="0"/>
            </a:lvl1pPr>
            <a:lvl2pPr rtl="0">
              <a:defRPr lang="en-US" sz="1400" dirty="0"/>
            </a:lvl2pPr>
            <a:lvl3pPr rtl="0">
              <a:defRPr lang="en-US" sz="1400" dirty="0"/>
            </a:lvl3pPr>
            <a:lvl4pPr rtl="0">
              <a:defRPr lang="en-US" sz="1400" dirty="0"/>
            </a:lvl4pPr>
            <a:lvl5pPr rtl="0">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7380643" y="1857375"/>
            <a:ext cx="1980034"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37" name="Text Placeholder 14">
            <a:extLst>
              <a:ext uri="{FF2B5EF4-FFF2-40B4-BE49-F238E27FC236}">
                <a16:creationId xmlns:a16="http://schemas.microsoft.com/office/drawing/2014/main" id="{ADA6637A-F017-4396-B239-B80ED2F97B37}"/>
              </a:ext>
            </a:extLst>
          </p:cNvPr>
          <p:cNvSpPr>
            <a:spLocks noGrp="1"/>
          </p:cNvSpPr>
          <p:nvPr>
            <p:ph type="body" sz="quarter" idx="21" hasCustomPrompt="1"/>
          </p:nvPr>
        </p:nvSpPr>
        <p:spPr>
          <a:xfrm>
            <a:off x="9660801" y="2175803"/>
            <a:ext cx="1980034" cy="1151597"/>
          </a:xfrm>
        </p:spPr>
        <p:txBody>
          <a:bodyPr vert="horz" lIns="0" tIns="0" rIns="0" bIns="0" rtlCol="0">
            <a:spAutoFit/>
          </a:bodyPr>
          <a:lstStyle>
            <a:lvl1pPr rtl="0">
              <a:defRPr lang="en-US" sz="1400" dirty="0"/>
            </a:lvl1pPr>
            <a:lvl2pPr rtl="0">
              <a:defRPr lang="en-US" sz="1400" dirty="0"/>
            </a:lvl2pPr>
            <a:lvl3pPr rtl="0">
              <a:defRPr lang="en-US" sz="1400" dirty="0"/>
            </a:lvl3pPr>
            <a:lvl4pPr rtl="0">
              <a:defRPr lang="en-US" sz="1400" dirty="0"/>
            </a:lvl4pPr>
            <a:lvl5pPr rtl="0">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38" name="Text Placeholder 14">
            <a:extLst>
              <a:ext uri="{FF2B5EF4-FFF2-40B4-BE49-F238E27FC236}">
                <a16:creationId xmlns:a16="http://schemas.microsoft.com/office/drawing/2014/main" id="{7B295F18-5030-4811-B6C7-29EE7444BC70}"/>
              </a:ext>
            </a:extLst>
          </p:cNvPr>
          <p:cNvSpPr>
            <a:spLocks noGrp="1"/>
          </p:cNvSpPr>
          <p:nvPr>
            <p:ph type="body" sz="quarter" idx="22" hasCustomPrompt="1"/>
          </p:nvPr>
        </p:nvSpPr>
        <p:spPr>
          <a:xfrm>
            <a:off x="9660801" y="1857375"/>
            <a:ext cx="1980034" cy="263149"/>
          </a:xfrm>
        </p:spPr>
        <p:txBody>
          <a:bodyPr vert="horz" lIns="0" tIns="0" rIns="0" bIns="0" rtlCol="0">
            <a:spAutoFit/>
          </a:bodyPr>
          <a:lstStyle>
            <a:lvl1pPr rtl="0">
              <a:defRPr lang="en-US" sz="1800" b="1" dirty="0">
                <a:solidFill>
                  <a:schemeClr val="accent1"/>
                </a:solidFill>
                <a:latin typeface="+mn-lt"/>
              </a:defRPr>
            </a:lvl1pPr>
          </a:lstStyle>
          <a:p>
            <a:pPr lvl="0"/>
            <a:r>
              <a:rPr lang="en-US" dirty="0"/>
              <a:t>Heading</a:t>
            </a:r>
          </a:p>
        </p:txBody>
      </p:sp>
      <p:sp>
        <p:nvSpPr>
          <p:cNvPr id="18" name="Footer Placeholder 4">
            <a:extLst>
              <a:ext uri="{FF2B5EF4-FFF2-40B4-BE49-F238E27FC236}">
                <a16:creationId xmlns:a16="http://schemas.microsoft.com/office/drawing/2014/main" id="{9E372659-0669-485A-8EB1-D45CE8B0FC43}"/>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Tree>
    <p:extLst>
      <p:ext uri="{BB962C8B-B14F-4D97-AF65-F5344CB8AC3E}">
        <p14:creationId xmlns:p14="http://schemas.microsoft.com/office/powerpoint/2010/main" val="7129963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Grey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33092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1C34F18-9238-4944-9751-DBBFCD9E3CC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E039D39E-8FE8-4C3F-AE18-8C3DCD3BA4D0}"/>
              </a:ext>
            </a:extLst>
          </p:cNvPr>
          <p:cNvSpPr>
            <a:spLocks noGrp="1"/>
          </p:cNvSpPr>
          <p:nvPr>
            <p:ph type="ftr" sz="quarter" idx="3"/>
          </p:nvPr>
        </p:nvSpPr>
        <p:spPr>
          <a:xfrm>
            <a:off x="436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4" name="Title 3">
            <a:extLst>
              <a:ext uri="{FF2B5EF4-FFF2-40B4-BE49-F238E27FC236}">
                <a16:creationId xmlns:a16="http://schemas.microsoft.com/office/drawing/2014/main" id="{0E004E42-DB15-49F0-9906-81D60B6E8171}"/>
              </a:ext>
            </a:extLst>
          </p:cNvPr>
          <p:cNvSpPr>
            <a:spLocks noGrp="1"/>
          </p:cNvSpPr>
          <p:nvPr>
            <p:ph type="title"/>
          </p:nvPr>
        </p:nvSpPr>
        <p:spPr>
          <a:xfrm>
            <a:off x="531813" y="560588"/>
            <a:ext cx="3235117" cy="837152"/>
          </a:xfrm>
        </p:spPr>
        <p:txBody>
          <a:bodyPr vert="horz">
            <a:spAutoFit/>
          </a:bodyPr>
          <a:lstStyle>
            <a:lvl1pPr rtl="0">
              <a:lnSpc>
                <a:spcPct val="85000"/>
              </a:lnSpc>
              <a:defRPr/>
            </a:lvl1pPr>
          </a:lstStyle>
          <a:p>
            <a:r>
              <a:rPr lang="en-US" dirty="0"/>
              <a:t>Click to edit Master title style</a:t>
            </a:r>
          </a:p>
        </p:txBody>
      </p:sp>
    </p:spTree>
    <p:extLst>
      <p:ext uri="{BB962C8B-B14F-4D97-AF65-F5344CB8AC3E}">
        <p14:creationId xmlns:p14="http://schemas.microsoft.com/office/powerpoint/2010/main" val="40022947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1/3 Grey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615241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1C34F18-9238-4944-9751-DBBFCD9E3CC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9" name="Footer Placeholder 4">
            <a:extLst>
              <a:ext uri="{FF2B5EF4-FFF2-40B4-BE49-F238E27FC236}">
                <a16:creationId xmlns:a16="http://schemas.microsoft.com/office/drawing/2014/main" id="{E039D39E-8FE8-4C3F-AE18-8C3DCD3BA4D0}"/>
              </a:ext>
            </a:extLst>
          </p:cNvPr>
          <p:cNvSpPr>
            <a:spLocks noGrp="1"/>
          </p:cNvSpPr>
          <p:nvPr>
            <p:ph type="ftr" sz="quarter" idx="3"/>
          </p:nvPr>
        </p:nvSpPr>
        <p:spPr>
          <a:xfrm>
            <a:off x="436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4" name="Title 3">
            <a:extLst>
              <a:ext uri="{FF2B5EF4-FFF2-40B4-BE49-F238E27FC236}">
                <a16:creationId xmlns:a16="http://schemas.microsoft.com/office/drawing/2014/main" id="{0E004E42-DB15-49F0-9906-81D60B6E8171}"/>
              </a:ext>
            </a:extLst>
          </p:cNvPr>
          <p:cNvSpPr>
            <a:spLocks noGrp="1"/>
          </p:cNvSpPr>
          <p:nvPr>
            <p:ph type="title"/>
          </p:nvPr>
        </p:nvSpPr>
        <p:spPr>
          <a:xfrm>
            <a:off x="4222143" y="560588"/>
            <a:ext cx="7418995" cy="418576"/>
          </a:xfrm>
        </p:spPr>
        <p:txBody>
          <a:bodyPr vert="horz" wrap="square">
            <a:spAutoFit/>
          </a:bodyPr>
          <a:lstStyle>
            <a:lvl1pPr rtl="0">
              <a:lnSpc>
                <a:spcPct val="85000"/>
              </a:lnSpc>
              <a:defRPr/>
            </a:lvl1pPr>
          </a:lstStyle>
          <a:p>
            <a:r>
              <a:rPr lang="en-US" dirty="0"/>
              <a:t>Click to edit Master title style</a:t>
            </a:r>
          </a:p>
        </p:txBody>
      </p:sp>
    </p:spTree>
    <p:extLst>
      <p:ext uri="{BB962C8B-B14F-4D97-AF65-F5344CB8AC3E}">
        <p14:creationId xmlns:p14="http://schemas.microsoft.com/office/powerpoint/2010/main" val="33650919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91273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821B941D-753D-ACA4-5E22-E08F2B269D4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1004" y="1857374"/>
            <a:ext cx="3929907" cy="4451351"/>
          </a:xfrm>
          <a:prstGeom prst="rect">
            <a:avLst/>
          </a:prstGeom>
        </p:spPr>
      </p:pic>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alpha val="92000"/>
                </a:schemeClr>
              </a:gs>
              <a:gs pos="55000">
                <a:srgbClr val="385ED2">
                  <a:alpha val="92000"/>
                </a:srgbClr>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727F30D-9242-4A88-9322-2EDE74F75B38}"/>
              </a:ext>
            </a:extLst>
          </p:cNvPr>
          <p:cNvSpPr>
            <a:spLocks noGrp="1"/>
          </p:cNvSpPr>
          <p:nvPr>
            <p:ph type="ftr" sz="quarter" idx="3"/>
          </p:nvPr>
        </p:nvSpPr>
        <p:spPr>
          <a:xfrm>
            <a:off x="436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4" name="Title 3">
            <a:extLst>
              <a:ext uri="{FF2B5EF4-FFF2-40B4-BE49-F238E27FC236}">
                <a16:creationId xmlns:a16="http://schemas.microsoft.com/office/drawing/2014/main" id="{CE1BEDEA-6CDE-421B-87A1-0632A5F947FD}"/>
              </a:ext>
            </a:extLst>
          </p:cNvPr>
          <p:cNvSpPr>
            <a:spLocks noGrp="1"/>
          </p:cNvSpPr>
          <p:nvPr>
            <p:ph type="title"/>
          </p:nvPr>
        </p:nvSpPr>
        <p:spPr>
          <a:xfrm>
            <a:off x="531813" y="560588"/>
            <a:ext cx="3135726" cy="837152"/>
          </a:xfrm>
        </p:spPr>
        <p:txBody>
          <a:bodyPr vert="horz" wrap="square" lIns="0" tIns="0" rIns="0" bIns="0" rtlCol="0" anchor="t">
            <a:spAutoFit/>
          </a:bodyPr>
          <a:lstStyle>
            <a:lvl1pPr rtl="0">
              <a:defRPr lang="en-IN" dirty="0">
                <a:solidFill>
                  <a:schemeClr val="bg1"/>
                </a:solidFill>
              </a:defRPr>
            </a:lvl1pPr>
          </a:lstStyle>
          <a:p>
            <a:pPr lvl="0">
              <a:lnSpc>
                <a:spcPct val="85000"/>
              </a:lnSpc>
            </a:pPr>
            <a:r>
              <a:rPr lang="en-US" dirty="0"/>
              <a:t>Click to edit Master title style</a:t>
            </a:r>
          </a:p>
        </p:txBody>
      </p:sp>
    </p:spTree>
    <p:extLst>
      <p:ext uri="{BB962C8B-B14F-4D97-AF65-F5344CB8AC3E}">
        <p14:creationId xmlns:p14="http://schemas.microsoft.com/office/powerpoint/2010/main" val="38502419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1/3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333337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727F30D-9242-4A88-9322-2EDE74F75B38}"/>
              </a:ext>
            </a:extLst>
          </p:cNvPr>
          <p:cNvSpPr>
            <a:spLocks noGrp="1"/>
          </p:cNvSpPr>
          <p:nvPr>
            <p:ph type="ftr" sz="quarter" idx="3"/>
          </p:nvPr>
        </p:nvSpPr>
        <p:spPr>
          <a:xfrm>
            <a:off x="436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4" name="Title 3">
            <a:extLst>
              <a:ext uri="{FF2B5EF4-FFF2-40B4-BE49-F238E27FC236}">
                <a16:creationId xmlns:a16="http://schemas.microsoft.com/office/drawing/2014/main" id="{CE1BEDEA-6CDE-421B-87A1-0632A5F947FD}"/>
              </a:ext>
            </a:extLst>
          </p:cNvPr>
          <p:cNvSpPr>
            <a:spLocks noGrp="1"/>
          </p:cNvSpPr>
          <p:nvPr>
            <p:ph type="title"/>
          </p:nvPr>
        </p:nvSpPr>
        <p:spPr>
          <a:xfrm>
            <a:off x="531813" y="560588"/>
            <a:ext cx="3135726" cy="837152"/>
          </a:xfrm>
        </p:spPr>
        <p:txBody>
          <a:bodyPr vert="horz" wrap="square" lIns="0" tIns="0" rIns="0" bIns="0" rtlCol="0" anchor="t">
            <a:spAutoFit/>
          </a:bodyPr>
          <a:lstStyle>
            <a:lvl1pPr rtl="0">
              <a:defRPr lang="en-IN" dirty="0">
                <a:solidFill>
                  <a:schemeClr val="bg1"/>
                </a:solidFill>
              </a:defRPr>
            </a:lvl1pPr>
          </a:lstStyle>
          <a:p>
            <a:pPr lvl="0">
              <a:lnSpc>
                <a:spcPct val="85000"/>
              </a:lnSpc>
            </a:pPr>
            <a:r>
              <a:rPr lang="en-US" dirty="0"/>
              <a:t>Click to edit Master title style</a:t>
            </a:r>
          </a:p>
        </p:txBody>
      </p:sp>
      <p:grpSp>
        <p:nvGrpSpPr>
          <p:cNvPr id="37" name="Group 36">
            <a:extLst>
              <a:ext uri="{FF2B5EF4-FFF2-40B4-BE49-F238E27FC236}">
                <a16:creationId xmlns:a16="http://schemas.microsoft.com/office/drawing/2014/main" id="{CD901B91-681A-7C88-AC4D-68E0A8DB187E}"/>
              </a:ext>
            </a:extLst>
          </p:cNvPr>
          <p:cNvGrpSpPr/>
          <p:nvPr userDrawn="1"/>
        </p:nvGrpSpPr>
        <p:grpSpPr>
          <a:xfrm>
            <a:off x="182423" y="1834729"/>
            <a:ext cx="3834505" cy="4586280"/>
            <a:chOff x="6098578" y="875648"/>
            <a:chExt cx="3834505" cy="4586280"/>
          </a:xfrm>
        </p:grpSpPr>
        <p:grpSp>
          <p:nvGrpSpPr>
            <p:cNvPr id="975" name="Graphic 717">
              <a:extLst>
                <a:ext uri="{FF2B5EF4-FFF2-40B4-BE49-F238E27FC236}">
                  <a16:creationId xmlns:a16="http://schemas.microsoft.com/office/drawing/2014/main" id="{3743F530-AAF8-896A-EEC1-51547200ACC4}"/>
                </a:ext>
              </a:extLst>
            </p:cNvPr>
            <p:cNvGrpSpPr/>
            <p:nvPr/>
          </p:nvGrpSpPr>
          <p:grpSpPr>
            <a:xfrm>
              <a:off x="8028728" y="4842492"/>
              <a:ext cx="631120" cy="619436"/>
              <a:chOff x="2054947" y="5961978"/>
              <a:chExt cx="588595" cy="561163"/>
            </a:xfrm>
            <a:noFill/>
          </p:grpSpPr>
          <p:grpSp>
            <p:nvGrpSpPr>
              <p:cNvPr id="976" name="Graphic 717">
                <a:extLst>
                  <a:ext uri="{FF2B5EF4-FFF2-40B4-BE49-F238E27FC236}">
                    <a16:creationId xmlns:a16="http://schemas.microsoft.com/office/drawing/2014/main" id="{6A09A40F-D18F-DA4F-C32C-8B5803F9EB1C}"/>
                  </a:ext>
                </a:extLst>
              </p:cNvPr>
              <p:cNvGrpSpPr/>
              <p:nvPr/>
            </p:nvGrpSpPr>
            <p:grpSpPr>
              <a:xfrm>
                <a:off x="2054947" y="5961978"/>
                <a:ext cx="588595" cy="561163"/>
                <a:chOff x="2054947" y="5961978"/>
                <a:chExt cx="588595" cy="561163"/>
              </a:xfrm>
              <a:grpFill/>
            </p:grpSpPr>
            <p:grpSp>
              <p:nvGrpSpPr>
                <p:cNvPr id="977" name="Graphic 717">
                  <a:extLst>
                    <a:ext uri="{FF2B5EF4-FFF2-40B4-BE49-F238E27FC236}">
                      <a16:creationId xmlns:a16="http://schemas.microsoft.com/office/drawing/2014/main" id="{F024AE12-F79E-C51A-CD11-A3C129BE53A7}"/>
                    </a:ext>
                  </a:extLst>
                </p:cNvPr>
                <p:cNvGrpSpPr/>
                <p:nvPr/>
              </p:nvGrpSpPr>
              <p:grpSpPr>
                <a:xfrm>
                  <a:off x="2408922" y="6291912"/>
                  <a:ext cx="234620" cy="231230"/>
                  <a:chOff x="2408922" y="6291912"/>
                  <a:chExt cx="234620" cy="231230"/>
                </a:xfrm>
                <a:grpFill/>
              </p:grpSpPr>
              <p:sp>
                <p:nvSpPr>
                  <p:cNvPr id="978" name="Freeform: Shape 977">
                    <a:extLst>
                      <a:ext uri="{FF2B5EF4-FFF2-40B4-BE49-F238E27FC236}">
                        <a16:creationId xmlns:a16="http://schemas.microsoft.com/office/drawing/2014/main" id="{12CC435F-C2CD-9575-C96E-EAECEA37CC0E}"/>
                      </a:ext>
                    </a:extLst>
                  </p:cNvPr>
                  <p:cNvSpPr/>
                  <p:nvPr/>
                </p:nvSpPr>
                <p:spPr>
                  <a:xfrm>
                    <a:off x="2413773" y="6296769"/>
                    <a:ext cx="224936" cy="221408"/>
                  </a:xfrm>
                  <a:custGeom>
                    <a:avLst/>
                    <a:gdLst>
                      <a:gd name="connsiteX0" fmla="*/ 0 w 224936"/>
                      <a:gd name="connsiteY0" fmla="*/ 49768 h 221408"/>
                      <a:gd name="connsiteX1" fmla="*/ 104761 w 224936"/>
                      <a:gd name="connsiteY1" fmla="*/ 152831 h 221408"/>
                      <a:gd name="connsiteX2" fmla="*/ 161844 w 224936"/>
                      <a:gd name="connsiteY2" fmla="*/ 204950 h 221408"/>
                      <a:gd name="connsiteX3" fmla="*/ 197896 w 224936"/>
                      <a:gd name="connsiteY3" fmla="*/ 221409 h 221408"/>
                      <a:gd name="connsiteX4" fmla="*/ 224936 w 224936"/>
                      <a:gd name="connsiteY4" fmla="*/ 195415 h 221408"/>
                      <a:gd name="connsiteX5" fmla="*/ 209261 w 224936"/>
                      <a:gd name="connsiteY5" fmla="*/ 166547 h 221408"/>
                      <a:gd name="connsiteX6" fmla="*/ 35269 w 224936"/>
                      <a:gd name="connsiteY6" fmla="*/ 0 h 221408"/>
                      <a:gd name="connsiteX7" fmla="*/ 0 w 224936"/>
                      <a:gd name="connsiteY7" fmla="*/ 49768 h 22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936" h="221408">
                        <a:moveTo>
                          <a:pt x="0" y="49768"/>
                        </a:moveTo>
                        <a:cubicBezTo>
                          <a:pt x="34877" y="84122"/>
                          <a:pt x="69884" y="118477"/>
                          <a:pt x="104761" y="152831"/>
                        </a:cubicBezTo>
                        <a:cubicBezTo>
                          <a:pt x="123179" y="170988"/>
                          <a:pt x="141728" y="189144"/>
                          <a:pt x="161844" y="204950"/>
                        </a:cubicBezTo>
                        <a:cubicBezTo>
                          <a:pt x="172686" y="213441"/>
                          <a:pt x="184703" y="221409"/>
                          <a:pt x="197896" y="221409"/>
                        </a:cubicBezTo>
                        <a:cubicBezTo>
                          <a:pt x="211089" y="221409"/>
                          <a:pt x="225066" y="210306"/>
                          <a:pt x="224936" y="195415"/>
                        </a:cubicBezTo>
                        <a:cubicBezTo>
                          <a:pt x="224936" y="183789"/>
                          <a:pt x="216837" y="174515"/>
                          <a:pt x="209261" y="166547"/>
                        </a:cubicBezTo>
                        <a:cubicBezTo>
                          <a:pt x="153615" y="107896"/>
                          <a:pt x="95617" y="52381"/>
                          <a:pt x="35269" y="0"/>
                        </a:cubicBezTo>
                        <a:cubicBezTo>
                          <a:pt x="24165" y="16197"/>
                          <a:pt x="13193" y="32395"/>
                          <a:pt x="0" y="4976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79" name="Freeform: Shape 978">
                    <a:extLst>
                      <a:ext uri="{FF2B5EF4-FFF2-40B4-BE49-F238E27FC236}">
                        <a16:creationId xmlns:a16="http://schemas.microsoft.com/office/drawing/2014/main" id="{76E551B9-4C01-953E-18CD-F6B9B6A2C443}"/>
                      </a:ext>
                    </a:extLst>
                  </p:cNvPr>
                  <p:cNvSpPr/>
                  <p:nvPr/>
                </p:nvSpPr>
                <p:spPr>
                  <a:xfrm>
                    <a:off x="2408922" y="6291912"/>
                    <a:ext cx="234620" cy="231230"/>
                  </a:xfrm>
                  <a:custGeom>
                    <a:avLst/>
                    <a:gdLst>
                      <a:gd name="connsiteX0" fmla="*/ 202748 w 234620"/>
                      <a:gd name="connsiteY0" fmla="*/ 231100 h 231230"/>
                      <a:gd name="connsiteX1" fmla="*/ 202748 w 234620"/>
                      <a:gd name="connsiteY1" fmla="*/ 231100 h 231230"/>
                      <a:gd name="connsiteX2" fmla="*/ 163691 w 234620"/>
                      <a:gd name="connsiteY2" fmla="*/ 213596 h 231230"/>
                      <a:gd name="connsiteX3" fmla="*/ 106216 w 234620"/>
                      <a:gd name="connsiteY3" fmla="*/ 161215 h 231230"/>
                      <a:gd name="connsiteX4" fmla="*/ 1455 w 234620"/>
                      <a:gd name="connsiteY4" fmla="*/ 58152 h 231230"/>
                      <a:gd name="connsiteX5" fmla="*/ 933 w 234620"/>
                      <a:gd name="connsiteY5" fmla="*/ 51752 h 231230"/>
                      <a:gd name="connsiteX6" fmla="*/ 36071 w 234620"/>
                      <a:gd name="connsiteY6" fmla="*/ 2115 h 231230"/>
                      <a:gd name="connsiteX7" fmla="*/ 39467 w 234620"/>
                      <a:gd name="connsiteY7" fmla="*/ 25 h 231230"/>
                      <a:gd name="connsiteX8" fmla="*/ 43255 w 234620"/>
                      <a:gd name="connsiteY8" fmla="*/ 1200 h 231230"/>
                      <a:gd name="connsiteX9" fmla="*/ 217639 w 234620"/>
                      <a:gd name="connsiteY9" fmla="*/ 168008 h 231230"/>
                      <a:gd name="connsiteX10" fmla="*/ 234620 w 234620"/>
                      <a:gd name="connsiteY10" fmla="*/ 200272 h 231230"/>
                      <a:gd name="connsiteX11" fmla="*/ 225738 w 234620"/>
                      <a:gd name="connsiteY11" fmla="*/ 221303 h 231230"/>
                      <a:gd name="connsiteX12" fmla="*/ 202617 w 234620"/>
                      <a:gd name="connsiteY12" fmla="*/ 231230 h 231230"/>
                      <a:gd name="connsiteX13" fmla="*/ 11383 w 234620"/>
                      <a:gd name="connsiteY13" fmla="*/ 54103 h 231230"/>
                      <a:gd name="connsiteX14" fmla="*/ 113139 w 234620"/>
                      <a:gd name="connsiteY14" fmla="*/ 154162 h 231230"/>
                      <a:gd name="connsiteX15" fmla="*/ 169700 w 234620"/>
                      <a:gd name="connsiteY15" fmla="*/ 205889 h 231230"/>
                      <a:gd name="connsiteX16" fmla="*/ 202748 w 234620"/>
                      <a:gd name="connsiteY16" fmla="*/ 221433 h 231230"/>
                      <a:gd name="connsiteX17" fmla="*/ 202748 w 234620"/>
                      <a:gd name="connsiteY17" fmla="*/ 221433 h 231230"/>
                      <a:gd name="connsiteX18" fmla="*/ 218945 w 234620"/>
                      <a:gd name="connsiteY18" fmla="*/ 214380 h 231230"/>
                      <a:gd name="connsiteX19" fmla="*/ 224954 w 234620"/>
                      <a:gd name="connsiteY19" fmla="*/ 200272 h 231230"/>
                      <a:gd name="connsiteX20" fmla="*/ 210716 w 234620"/>
                      <a:gd name="connsiteY20" fmla="*/ 174670 h 231230"/>
                      <a:gd name="connsiteX21" fmla="*/ 41165 w 234620"/>
                      <a:gd name="connsiteY21" fmla="*/ 12042 h 231230"/>
                      <a:gd name="connsiteX22" fmla="*/ 11383 w 234620"/>
                      <a:gd name="connsiteY22" fmla="*/ 54103 h 2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4620" h="231230">
                        <a:moveTo>
                          <a:pt x="202748" y="231100"/>
                        </a:moveTo>
                        <a:lnTo>
                          <a:pt x="202748" y="231100"/>
                        </a:lnTo>
                        <a:cubicBezTo>
                          <a:pt x="188118" y="231100"/>
                          <a:pt x="175317" y="222609"/>
                          <a:pt x="163691" y="213596"/>
                        </a:cubicBezTo>
                        <a:cubicBezTo>
                          <a:pt x="143314" y="197660"/>
                          <a:pt x="124504" y="179111"/>
                          <a:pt x="106216" y="161215"/>
                        </a:cubicBezTo>
                        <a:lnTo>
                          <a:pt x="1455" y="58152"/>
                        </a:lnTo>
                        <a:cubicBezTo>
                          <a:pt x="-243" y="56454"/>
                          <a:pt x="-504" y="53711"/>
                          <a:pt x="933" y="51752"/>
                        </a:cubicBezTo>
                        <a:cubicBezTo>
                          <a:pt x="13995" y="34379"/>
                          <a:pt x="25229" y="18051"/>
                          <a:pt x="36071" y="2115"/>
                        </a:cubicBezTo>
                        <a:cubicBezTo>
                          <a:pt x="36854" y="939"/>
                          <a:pt x="38030" y="155"/>
                          <a:pt x="39467" y="25"/>
                        </a:cubicBezTo>
                        <a:cubicBezTo>
                          <a:pt x="40773" y="-106"/>
                          <a:pt x="42210" y="286"/>
                          <a:pt x="43255" y="1200"/>
                        </a:cubicBezTo>
                        <a:cubicBezTo>
                          <a:pt x="103473" y="53450"/>
                          <a:pt x="162124" y="109488"/>
                          <a:pt x="217639" y="168008"/>
                        </a:cubicBezTo>
                        <a:cubicBezTo>
                          <a:pt x="225738" y="176629"/>
                          <a:pt x="234490" y="186949"/>
                          <a:pt x="234620" y="200272"/>
                        </a:cubicBezTo>
                        <a:cubicBezTo>
                          <a:pt x="234620" y="207979"/>
                          <a:pt x="231485" y="215425"/>
                          <a:pt x="225738" y="221303"/>
                        </a:cubicBezTo>
                        <a:cubicBezTo>
                          <a:pt x="219598" y="227442"/>
                          <a:pt x="210977" y="231230"/>
                          <a:pt x="202617" y="231230"/>
                        </a:cubicBezTo>
                        <a:close/>
                        <a:moveTo>
                          <a:pt x="11383" y="54103"/>
                        </a:moveTo>
                        <a:lnTo>
                          <a:pt x="113139" y="154162"/>
                        </a:lnTo>
                        <a:cubicBezTo>
                          <a:pt x="131166" y="171927"/>
                          <a:pt x="149845" y="190214"/>
                          <a:pt x="169700" y="205889"/>
                        </a:cubicBezTo>
                        <a:cubicBezTo>
                          <a:pt x="180019" y="213988"/>
                          <a:pt x="191122" y="221303"/>
                          <a:pt x="202748" y="221433"/>
                        </a:cubicBezTo>
                        <a:lnTo>
                          <a:pt x="202748" y="221433"/>
                        </a:lnTo>
                        <a:cubicBezTo>
                          <a:pt x="208495" y="221433"/>
                          <a:pt x="214504" y="218821"/>
                          <a:pt x="218945" y="214380"/>
                        </a:cubicBezTo>
                        <a:cubicBezTo>
                          <a:pt x="222864" y="210461"/>
                          <a:pt x="224954" y="205367"/>
                          <a:pt x="224954" y="200272"/>
                        </a:cubicBezTo>
                        <a:cubicBezTo>
                          <a:pt x="224954" y="190475"/>
                          <a:pt x="217900" y="182246"/>
                          <a:pt x="210716" y="174670"/>
                        </a:cubicBezTo>
                        <a:cubicBezTo>
                          <a:pt x="156768" y="117717"/>
                          <a:pt x="99685" y="62985"/>
                          <a:pt x="41165" y="12042"/>
                        </a:cubicBezTo>
                        <a:cubicBezTo>
                          <a:pt x="31891" y="25496"/>
                          <a:pt x="22355" y="39473"/>
                          <a:pt x="11383" y="5410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80" name="Graphic 717">
                  <a:extLst>
                    <a:ext uri="{FF2B5EF4-FFF2-40B4-BE49-F238E27FC236}">
                      <a16:creationId xmlns:a16="http://schemas.microsoft.com/office/drawing/2014/main" id="{2D3F55C1-AB01-9D87-FEFC-C078A9CB14E7}"/>
                    </a:ext>
                  </a:extLst>
                </p:cNvPr>
                <p:cNvGrpSpPr/>
                <p:nvPr/>
              </p:nvGrpSpPr>
              <p:grpSpPr>
                <a:xfrm>
                  <a:off x="2054947" y="5961978"/>
                  <a:ext cx="445169" cy="445169"/>
                  <a:chOff x="2054947" y="5961978"/>
                  <a:chExt cx="445169" cy="445169"/>
                </a:xfrm>
                <a:grpFill/>
              </p:grpSpPr>
              <p:sp>
                <p:nvSpPr>
                  <p:cNvPr id="981" name="Freeform: Shape 980">
                    <a:extLst>
                      <a:ext uri="{FF2B5EF4-FFF2-40B4-BE49-F238E27FC236}">
                        <a16:creationId xmlns:a16="http://schemas.microsoft.com/office/drawing/2014/main" id="{70716E66-2BEA-E9A7-97C7-7C14813C402E}"/>
                      </a:ext>
                    </a:extLst>
                  </p:cNvPr>
                  <p:cNvSpPr/>
                  <p:nvPr/>
                </p:nvSpPr>
                <p:spPr>
                  <a:xfrm>
                    <a:off x="2059780" y="5966811"/>
                    <a:ext cx="435502" cy="435502"/>
                  </a:xfrm>
                  <a:custGeom>
                    <a:avLst/>
                    <a:gdLst>
                      <a:gd name="connsiteX0" fmla="*/ 217751 w 435502"/>
                      <a:gd name="connsiteY0" fmla="*/ 0 h 435502"/>
                      <a:gd name="connsiteX1" fmla="*/ 0 w 435502"/>
                      <a:gd name="connsiteY1" fmla="*/ 217752 h 435502"/>
                      <a:gd name="connsiteX2" fmla="*/ 217751 w 435502"/>
                      <a:gd name="connsiteY2" fmla="*/ 435503 h 435502"/>
                      <a:gd name="connsiteX3" fmla="*/ 435503 w 435502"/>
                      <a:gd name="connsiteY3" fmla="*/ 217752 h 435502"/>
                      <a:gd name="connsiteX4" fmla="*/ 217751 w 435502"/>
                      <a:gd name="connsiteY4" fmla="*/ 0 h 435502"/>
                      <a:gd name="connsiteX5" fmla="*/ 217751 w 435502"/>
                      <a:gd name="connsiteY5" fmla="*/ 383123 h 435502"/>
                      <a:gd name="connsiteX6" fmla="*/ 52380 w 435502"/>
                      <a:gd name="connsiteY6" fmla="*/ 217752 h 435502"/>
                      <a:gd name="connsiteX7" fmla="*/ 217751 w 435502"/>
                      <a:gd name="connsiteY7" fmla="*/ 52381 h 435502"/>
                      <a:gd name="connsiteX8" fmla="*/ 383122 w 435502"/>
                      <a:gd name="connsiteY8" fmla="*/ 217752 h 435502"/>
                      <a:gd name="connsiteX9" fmla="*/ 217751 w 435502"/>
                      <a:gd name="connsiteY9" fmla="*/ 383123 h 435502"/>
                      <a:gd name="connsiteX10" fmla="*/ 217751 w 435502"/>
                      <a:gd name="connsiteY10" fmla="*/ 383123 h 435502"/>
                      <a:gd name="connsiteX11" fmla="*/ 52380 w 435502"/>
                      <a:gd name="connsiteY11" fmla="*/ 217752 h 435502"/>
                      <a:gd name="connsiteX12" fmla="*/ 217751 w 435502"/>
                      <a:gd name="connsiteY12" fmla="*/ 52381 h 435502"/>
                      <a:gd name="connsiteX13" fmla="*/ 383122 w 435502"/>
                      <a:gd name="connsiteY13" fmla="*/ 217752 h 435502"/>
                      <a:gd name="connsiteX14" fmla="*/ 217751 w 435502"/>
                      <a:gd name="connsiteY14" fmla="*/ 383123 h 43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502" h="435502">
                        <a:moveTo>
                          <a:pt x="217751" y="0"/>
                        </a:moveTo>
                        <a:cubicBezTo>
                          <a:pt x="97446" y="0"/>
                          <a:pt x="0" y="97446"/>
                          <a:pt x="0" y="217752"/>
                        </a:cubicBezTo>
                        <a:cubicBezTo>
                          <a:pt x="0" y="338057"/>
                          <a:pt x="97446" y="435503"/>
                          <a:pt x="217751" y="435503"/>
                        </a:cubicBezTo>
                        <a:cubicBezTo>
                          <a:pt x="338057" y="435503"/>
                          <a:pt x="435503" y="338057"/>
                          <a:pt x="435503" y="217752"/>
                        </a:cubicBezTo>
                        <a:cubicBezTo>
                          <a:pt x="435503" y="97446"/>
                          <a:pt x="338057" y="0"/>
                          <a:pt x="217751" y="0"/>
                        </a:cubicBezTo>
                        <a:close/>
                        <a:moveTo>
                          <a:pt x="217751" y="383123"/>
                        </a:moveTo>
                        <a:cubicBezTo>
                          <a:pt x="126445" y="383123"/>
                          <a:pt x="52380" y="309058"/>
                          <a:pt x="52380" y="217752"/>
                        </a:cubicBezTo>
                        <a:cubicBezTo>
                          <a:pt x="52380" y="126445"/>
                          <a:pt x="126445" y="52381"/>
                          <a:pt x="217751" y="52381"/>
                        </a:cubicBezTo>
                        <a:cubicBezTo>
                          <a:pt x="309058" y="52381"/>
                          <a:pt x="383122" y="126445"/>
                          <a:pt x="383122" y="217752"/>
                        </a:cubicBezTo>
                        <a:cubicBezTo>
                          <a:pt x="383122" y="309058"/>
                          <a:pt x="309058" y="383123"/>
                          <a:pt x="217751" y="383123"/>
                        </a:cubicBezTo>
                        <a:close/>
                        <a:moveTo>
                          <a:pt x="217751" y="383123"/>
                        </a:moveTo>
                        <a:cubicBezTo>
                          <a:pt x="126445" y="383123"/>
                          <a:pt x="52380" y="309058"/>
                          <a:pt x="52380" y="217752"/>
                        </a:cubicBezTo>
                        <a:cubicBezTo>
                          <a:pt x="52380" y="126445"/>
                          <a:pt x="126445" y="52381"/>
                          <a:pt x="217751" y="52381"/>
                        </a:cubicBezTo>
                        <a:cubicBezTo>
                          <a:pt x="309058" y="52381"/>
                          <a:pt x="383122" y="126445"/>
                          <a:pt x="383122" y="217752"/>
                        </a:cubicBezTo>
                        <a:cubicBezTo>
                          <a:pt x="383122" y="309058"/>
                          <a:pt x="309058" y="383123"/>
                          <a:pt x="217751" y="38312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82" name="Freeform: Shape 981">
                    <a:extLst>
                      <a:ext uri="{FF2B5EF4-FFF2-40B4-BE49-F238E27FC236}">
                        <a16:creationId xmlns:a16="http://schemas.microsoft.com/office/drawing/2014/main" id="{8ECF6147-6589-BB14-3F8B-22842828E3C2}"/>
                      </a:ext>
                    </a:extLst>
                  </p:cNvPr>
                  <p:cNvSpPr/>
                  <p:nvPr/>
                </p:nvSpPr>
                <p:spPr>
                  <a:xfrm>
                    <a:off x="2054947" y="5961978"/>
                    <a:ext cx="445169" cy="445169"/>
                  </a:xfrm>
                  <a:custGeom>
                    <a:avLst/>
                    <a:gdLst>
                      <a:gd name="connsiteX0" fmla="*/ 222585 w 445169"/>
                      <a:gd name="connsiteY0" fmla="*/ 445169 h 445169"/>
                      <a:gd name="connsiteX1" fmla="*/ 0 w 445169"/>
                      <a:gd name="connsiteY1" fmla="*/ 222585 h 445169"/>
                      <a:gd name="connsiteX2" fmla="*/ 222585 w 445169"/>
                      <a:gd name="connsiteY2" fmla="*/ 0 h 445169"/>
                      <a:gd name="connsiteX3" fmla="*/ 445169 w 445169"/>
                      <a:gd name="connsiteY3" fmla="*/ 222585 h 445169"/>
                      <a:gd name="connsiteX4" fmla="*/ 222585 w 445169"/>
                      <a:gd name="connsiteY4" fmla="*/ 445169 h 445169"/>
                      <a:gd name="connsiteX5" fmla="*/ 222585 w 445169"/>
                      <a:gd name="connsiteY5" fmla="*/ 9666 h 445169"/>
                      <a:gd name="connsiteX6" fmla="*/ 9666 w 445169"/>
                      <a:gd name="connsiteY6" fmla="*/ 222585 h 445169"/>
                      <a:gd name="connsiteX7" fmla="*/ 222585 w 445169"/>
                      <a:gd name="connsiteY7" fmla="*/ 435503 h 445169"/>
                      <a:gd name="connsiteX8" fmla="*/ 435503 w 445169"/>
                      <a:gd name="connsiteY8" fmla="*/ 222585 h 445169"/>
                      <a:gd name="connsiteX9" fmla="*/ 222585 w 445169"/>
                      <a:gd name="connsiteY9" fmla="*/ 9666 h 445169"/>
                      <a:gd name="connsiteX10" fmla="*/ 222585 w 445169"/>
                      <a:gd name="connsiteY10" fmla="*/ 392789 h 445169"/>
                      <a:gd name="connsiteX11" fmla="*/ 52380 w 445169"/>
                      <a:gd name="connsiteY11" fmla="*/ 222585 h 445169"/>
                      <a:gd name="connsiteX12" fmla="*/ 222585 w 445169"/>
                      <a:gd name="connsiteY12" fmla="*/ 52381 h 445169"/>
                      <a:gd name="connsiteX13" fmla="*/ 392789 w 445169"/>
                      <a:gd name="connsiteY13" fmla="*/ 222585 h 445169"/>
                      <a:gd name="connsiteX14" fmla="*/ 222585 w 445169"/>
                      <a:gd name="connsiteY14" fmla="*/ 392789 h 445169"/>
                      <a:gd name="connsiteX15" fmla="*/ 62047 w 445169"/>
                      <a:gd name="connsiteY15" fmla="*/ 222585 h 445169"/>
                      <a:gd name="connsiteX16" fmla="*/ 222585 w 445169"/>
                      <a:gd name="connsiteY16" fmla="*/ 383122 h 445169"/>
                      <a:gd name="connsiteX17" fmla="*/ 383122 w 445169"/>
                      <a:gd name="connsiteY17" fmla="*/ 222585 h 445169"/>
                      <a:gd name="connsiteX18" fmla="*/ 222585 w 445169"/>
                      <a:gd name="connsiteY18" fmla="*/ 62047 h 445169"/>
                      <a:gd name="connsiteX19" fmla="*/ 62047 w 445169"/>
                      <a:gd name="connsiteY19" fmla="*/ 222585 h 44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5169" h="445169">
                        <a:moveTo>
                          <a:pt x="222585" y="445169"/>
                        </a:moveTo>
                        <a:cubicBezTo>
                          <a:pt x="99797" y="445169"/>
                          <a:pt x="0" y="345372"/>
                          <a:pt x="0" y="222585"/>
                        </a:cubicBezTo>
                        <a:cubicBezTo>
                          <a:pt x="0" y="99798"/>
                          <a:pt x="99797" y="0"/>
                          <a:pt x="222585" y="0"/>
                        </a:cubicBezTo>
                        <a:cubicBezTo>
                          <a:pt x="345372" y="0"/>
                          <a:pt x="445169" y="99798"/>
                          <a:pt x="445169" y="222585"/>
                        </a:cubicBezTo>
                        <a:cubicBezTo>
                          <a:pt x="445169" y="345372"/>
                          <a:pt x="345372" y="445169"/>
                          <a:pt x="222585" y="445169"/>
                        </a:cubicBezTo>
                        <a:close/>
                        <a:moveTo>
                          <a:pt x="222585" y="9666"/>
                        </a:moveTo>
                        <a:cubicBezTo>
                          <a:pt x="105153" y="9666"/>
                          <a:pt x="9666" y="105153"/>
                          <a:pt x="9666" y="222585"/>
                        </a:cubicBezTo>
                        <a:cubicBezTo>
                          <a:pt x="9666" y="340016"/>
                          <a:pt x="105153" y="435503"/>
                          <a:pt x="222585" y="435503"/>
                        </a:cubicBezTo>
                        <a:cubicBezTo>
                          <a:pt x="340016" y="435503"/>
                          <a:pt x="435503" y="340016"/>
                          <a:pt x="435503" y="222585"/>
                        </a:cubicBezTo>
                        <a:cubicBezTo>
                          <a:pt x="435503" y="105153"/>
                          <a:pt x="340016" y="9666"/>
                          <a:pt x="222585" y="9666"/>
                        </a:cubicBezTo>
                        <a:close/>
                        <a:moveTo>
                          <a:pt x="222585" y="392789"/>
                        </a:moveTo>
                        <a:cubicBezTo>
                          <a:pt x="128665" y="392789"/>
                          <a:pt x="52380" y="316373"/>
                          <a:pt x="52380" y="222585"/>
                        </a:cubicBezTo>
                        <a:cubicBezTo>
                          <a:pt x="52380" y="128796"/>
                          <a:pt x="128796" y="52381"/>
                          <a:pt x="222585" y="52381"/>
                        </a:cubicBezTo>
                        <a:cubicBezTo>
                          <a:pt x="316373" y="52381"/>
                          <a:pt x="392789" y="128796"/>
                          <a:pt x="392789" y="222585"/>
                        </a:cubicBezTo>
                        <a:cubicBezTo>
                          <a:pt x="392789" y="316373"/>
                          <a:pt x="316373" y="392789"/>
                          <a:pt x="222585" y="392789"/>
                        </a:cubicBezTo>
                        <a:close/>
                        <a:moveTo>
                          <a:pt x="62047" y="222585"/>
                        </a:moveTo>
                        <a:cubicBezTo>
                          <a:pt x="62047" y="311148"/>
                          <a:pt x="134021" y="383122"/>
                          <a:pt x="222585" y="383122"/>
                        </a:cubicBezTo>
                        <a:cubicBezTo>
                          <a:pt x="311148" y="383122"/>
                          <a:pt x="383122" y="311148"/>
                          <a:pt x="383122" y="222585"/>
                        </a:cubicBezTo>
                        <a:cubicBezTo>
                          <a:pt x="383122" y="134021"/>
                          <a:pt x="311148" y="62047"/>
                          <a:pt x="222585" y="62047"/>
                        </a:cubicBezTo>
                        <a:cubicBezTo>
                          <a:pt x="134021" y="62047"/>
                          <a:pt x="62047" y="134021"/>
                          <a:pt x="62047" y="22258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sp>
            <p:nvSpPr>
              <p:cNvPr id="983" name="Freeform: Shape 982">
                <a:extLst>
                  <a:ext uri="{FF2B5EF4-FFF2-40B4-BE49-F238E27FC236}">
                    <a16:creationId xmlns:a16="http://schemas.microsoft.com/office/drawing/2014/main" id="{AE13E83C-6B82-5A0D-0337-513D41D04622}"/>
                  </a:ext>
                </a:extLst>
              </p:cNvPr>
              <p:cNvSpPr/>
              <p:nvPr/>
            </p:nvSpPr>
            <p:spPr>
              <a:xfrm>
                <a:off x="2213786" y="6151645"/>
                <a:ext cx="9666" cy="119391"/>
              </a:xfrm>
              <a:custGeom>
                <a:avLst/>
                <a:gdLst>
                  <a:gd name="connsiteX0" fmla="*/ 4833 w 9666"/>
                  <a:gd name="connsiteY0" fmla="*/ 119391 h 119391"/>
                  <a:gd name="connsiteX1" fmla="*/ 0 w 9666"/>
                  <a:gd name="connsiteY1" fmla="*/ 114558 h 119391"/>
                  <a:gd name="connsiteX2" fmla="*/ 0 w 9666"/>
                  <a:gd name="connsiteY2" fmla="*/ 4833 h 119391"/>
                  <a:gd name="connsiteX3" fmla="*/ 4833 w 9666"/>
                  <a:gd name="connsiteY3" fmla="*/ 0 h 119391"/>
                  <a:gd name="connsiteX4" fmla="*/ 9666 w 9666"/>
                  <a:gd name="connsiteY4" fmla="*/ 4833 h 119391"/>
                  <a:gd name="connsiteX5" fmla="*/ 9666 w 9666"/>
                  <a:gd name="connsiteY5" fmla="*/ 114558 h 119391"/>
                  <a:gd name="connsiteX6" fmla="*/ 4833 w 9666"/>
                  <a:gd name="connsiteY6" fmla="*/ 119391 h 119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66" h="119391">
                    <a:moveTo>
                      <a:pt x="4833" y="119391"/>
                    </a:moveTo>
                    <a:cubicBezTo>
                      <a:pt x="2090" y="119391"/>
                      <a:pt x="0" y="117170"/>
                      <a:pt x="0" y="114558"/>
                    </a:cubicBezTo>
                    <a:lnTo>
                      <a:pt x="0" y="4833"/>
                    </a:lnTo>
                    <a:cubicBezTo>
                      <a:pt x="0" y="2090"/>
                      <a:pt x="2221" y="0"/>
                      <a:pt x="4833" y="0"/>
                    </a:cubicBezTo>
                    <a:cubicBezTo>
                      <a:pt x="7446" y="0"/>
                      <a:pt x="9666" y="2221"/>
                      <a:pt x="9666" y="4833"/>
                    </a:cubicBezTo>
                    <a:lnTo>
                      <a:pt x="9666" y="114558"/>
                    </a:lnTo>
                    <a:cubicBezTo>
                      <a:pt x="9666" y="117301"/>
                      <a:pt x="7446" y="119391"/>
                      <a:pt x="4833" y="11939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84" name="Freeform: Shape 983">
                <a:extLst>
                  <a:ext uri="{FF2B5EF4-FFF2-40B4-BE49-F238E27FC236}">
                    <a16:creationId xmlns:a16="http://schemas.microsoft.com/office/drawing/2014/main" id="{1491468B-590A-0CF5-77E0-978F51042424}"/>
                  </a:ext>
                </a:extLst>
              </p:cNvPr>
              <p:cNvSpPr/>
              <p:nvPr/>
            </p:nvSpPr>
            <p:spPr>
              <a:xfrm>
                <a:off x="2323773" y="6151645"/>
                <a:ext cx="9666" cy="119391"/>
              </a:xfrm>
              <a:custGeom>
                <a:avLst/>
                <a:gdLst>
                  <a:gd name="connsiteX0" fmla="*/ 4833 w 9666"/>
                  <a:gd name="connsiteY0" fmla="*/ 119391 h 119391"/>
                  <a:gd name="connsiteX1" fmla="*/ 0 w 9666"/>
                  <a:gd name="connsiteY1" fmla="*/ 114558 h 119391"/>
                  <a:gd name="connsiteX2" fmla="*/ 0 w 9666"/>
                  <a:gd name="connsiteY2" fmla="*/ 4833 h 119391"/>
                  <a:gd name="connsiteX3" fmla="*/ 4833 w 9666"/>
                  <a:gd name="connsiteY3" fmla="*/ 0 h 119391"/>
                  <a:gd name="connsiteX4" fmla="*/ 9666 w 9666"/>
                  <a:gd name="connsiteY4" fmla="*/ 4833 h 119391"/>
                  <a:gd name="connsiteX5" fmla="*/ 9666 w 9666"/>
                  <a:gd name="connsiteY5" fmla="*/ 114558 h 119391"/>
                  <a:gd name="connsiteX6" fmla="*/ 4833 w 9666"/>
                  <a:gd name="connsiteY6" fmla="*/ 119391 h 119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66" h="119391">
                    <a:moveTo>
                      <a:pt x="4833" y="119391"/>
                    </a:moveTo>
                    <a:cubicBezTo>
                      <a:pt x="2090" y="119391"/>
                      <a:pt x="0" y="117170"/>
                      <a:pt x="0" y="114558"/>
                    </a:cubicBezTo>
                    <a:lnTo>
                      <a:pt x="0" y="4833"/>
                    </a:lnTo>
                    <a:cubicBezTo>
                      <a:pt x="0" y="2090"/>
                      <a:pt x="2221" y="0"/>
                      <a:pt x="4833" y="0"/>
                    </a:cubicBezTo>
                    <a:cubicBezTo>
                      <a:pt x="7446" y="0"/>
                      <a:pt x="9666" y="2221"/>
                      <a:pt x="9666" y="4833"/>
                    </a:cubicBezTo>
                    <a:lnTo>
                      <a:pt x="9666" y="114558"/>
                    </a:lnTo>
                    <a:cubicBezTo>
                      <a:pt x="9666" y="117301"/>
                      <a:pt x="7446" y="119391"/>
                      <a:pt x="4833" y="11939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85" name="Freeform: Shape 984">
                <a:extLst>
                  <a:ext uri="{FF2B5EF4-FFF2-40B4-BE49-F238E27FC236}">
                    <a16:creationId xmlns:a16="http://schemas.microsoft.com/office/drawing/2014/main" id="{7DF237FF-21EB-8D15-9505-7CAE988E754E}"/>
                  </a:ext>
                </a:extLst>
              </p:cNvPr>
              <p:cNvSpPr/>
              <p:nvPr/>
            </p:nvSpPr>
            <p:spPr>
              <a:xfrm>
                <a:off x="2268779" y="6084635"/>
                <a:ext cx="9666" cy="186401"/>
              </a:xfrm>
              <a:custGeom>
                <a:avLst/>
                <a:gdLst>
                  <a:gd name="connsiteX0" fmla="*/ 4833 w 9666"/>
                  <a:gd name="connsiteY0" fmla="*/ 186401 h 186401"/>
                  <a:gd name="connsiteX1" fmla="*/ 0 w 9666"/>
                  <a:gd name="connsiteY1" fmla="*/ 181568 h 186401"/>
                  <a:gd name="connsiteX2" fmla="*/ 0 w 9666"/>
                  <a:gd name="connsiteY2" fmla="*/ 4833 h 186401"/>
                  <a:gd name="connsiteX3" fmla="*/ 4833 w 9666"/>
                  <a:gd name="connsiteY3" fmla="*/ 0 h 186401"/>
                  <a:gd name="connsiteX4" fmla="*/ 9666 w 9666"/>
                  <a:gd name="connsiteY4" fmla="*/ 4833 h 186401"/>
                  <a:gd name="connsiteX5" fmla="*/ 9666 w 9666"/>
                  <a:gd name="connsiteY5" fmla="*/ 181568 h 186401"/>
                  <a:gd name="connsiteX6" fmla="*/ 4833 w 9666"/>
                  <a:gd name="connsiteY6" fmla="*/ 186401 h 18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66" h="186401">
                    <a:moveTo>
                      <a:pt x="4833" y="186401"/>
                    </a:moveTo>
                    <a:cubicBezTo>
                      <a:pt x="2090" y="186401"/>
                      <a:pt x="0" y="184181"/>
                      <a:pt x="0" y="181568"/>
                    </a:cubicBezTo>
                    <a:lnTo>
                      <a:pt x="0" y="4833"/>
                    </a:lnTo>
                    <a:cubicBezTo>
                      <a:pt x="0" y="2090"/>
                      <a:pt x="2221" y="0"/>
                      <a:pt x="4833" y="0"/>
                    </a:cubicBezTo>
                    <a:cubicBezTo>
                      <a:pt x="7446" y="0"/>
                      <a:pt x="9666" y="2220"/>
                      <a:pt x="9666" y="4833"/>
                    </a:cubicBezTo>
                    <a:lnTo>
                      <a:pt x="9666" y="181568"/>
                    </a:lnTo>
                    <a:cubicBezTo>
                      <a:pt x="9666" y="184311"/>
                      <a:pt x="7446" y="186401"/>
                      <a:pt x="4833" y="18640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36" name="Group 35">
              <a:extLst>
                <a:ext uri="{FF2B5EF4-FFF2-40B4-BE49-F238E27FC236}">
                  <a16:creationId xmlns:a16="http://schemas.microsoft.com/office/drawing/2014/main" id="{32343786-E1E9-13E1-49B8-4F50CCBEA2A4}"/>
                </a:ext>
              </a:extLst>
            </p:cNvPr>
            <p:cNvGrpSpPr/>
            <p:nvPr userDrawn="1"/>
          </p:nvGrpSpPr>
          <p:grpSpPr>
            <a:xfrm>
              <a:off x="6098578" y="875648"/>
              <a:ext cx="3834505" cy="4116877"/>
              <a:chOff x="6098578" y="875648"/>
              <a:chExt cx="3834505" cy="4116877"/>
            </a:xfrm>
          </p:grpSpPr>
          <p:grpSp>
            <p:nvGrpSpPr>
              <p:cNvPr id="720" name="Graphic 717">
                <a:extLst>
                  <a:ext uri="{FF2B5EF4-FFF2-40B4-BE49-F238E27FC236}">
                    <a16:creationId xmlns:a16="http://schemas.microsoft.com/office/drawing/2014/main" id="{D2180D17-C905-B13B-2A30-DF2114DDF29B}"/>
                  </a:ext>
                </a:extLst>
              </p:cNvPr>
              <p:cNvGrpSpPr/>
              <p:nvPr/>
            </p:nvGrpSpPr>
            <p:grpSpPr>
              <a:xfrm>
                <a:off x="6920856" y="3918460"/>
                <a:ext cx="1670662" cy="1074065"/>
                <a:chOff x="795855" y="5327011"/>
                <a:chExt cx="1558092" cy="973023"/>
              </a:xfrm>
              <a:noFill/>
            </p:grpSpPr>
            <p:sp>
              <p:nvSpPr>
                <p:cNvPr id="722" name="Freeform: Shape 721">
                  <a:extLst>
                    <a:ext uri="{FF2B5EF4-FFF2-40B4-BE49-F238E27FC236}">
                      <a16:creationId xmlns:a16="http://schemas.microsoft.com/office/drawing/2014/main" id="{ED67731A-C23A-D243-9CF8-10580EC9332E}"/>
                    </a:ext>
                  </a:extLst>
                </p:cNvPr>
                <p:cNvSpPr/>
                <p:nvPr/>
              </p:nvSpPr>
              <p:spPr>
                <a:xfrm>
                  <a:off x="795869" y="5327141"/>
                  <a:ext cx="1558023" cy="972893"/>
                </a:xfrm>
                <a:custGeom>
                  <a:avLst/>
                  <a:gdLst>
                    <a:gd name="connsiteX0" fmla="*/ 1554551 w 1558023"/>
                    <a:gd name="connsiteY0" fmla="*/ 971718 h 972893"/>
                    <a:gd name="connsiteX1" fmla="*/ 1556510 w 1558023"/>
                    <a:gd name="connsiteY1" fmla="*/ 0 h 972893"/>
                    <a:gd name="connsiteX2" fmla="*/ 2206 w 1558023"/>
                    <a:gd name="connsiteY2" fmla="*/ 1829 h 972893"/>
                    <a:gd name="connsiteX3" fmla="*/ 2206 w 1558023"/>
                    <a:gd name="connsiteY3" fmla="*/ 972893 h 972893"/>
                    <a:gd name="connsiteX4" fmla="*/ 1554681 w 1558023"/>
                    <a:gd name="connsiteY4" fmla="*/ 971718 h 972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8023" h="972893">
                      <a:moveTo>
                        <a:pt x="1554551" y="971718"/>
                      </a:moveTo>
                      <a:cubicBezTo>
                        <a:pt x="1554551" y="623341"/>
                        <a:pt x="1560821" y="327085"/>
                        <a:pt x="1556510" y="0"/>
                      </a:cubicBezTo>
                      <a:cubicBezTo>
                        <a:pt x="1041195" y="0"/>
                        <a:pt x="521309" y="7054"/>
                        <a:pt x="2206" y="1829"/>
                      </a:cubicBezTo>
                      <a:cubicBezTo>
                        <a:pt x="-2758" y="335183"/>
                        <a:pt x="2206" y="648813"/>
                        <a:pt x="2206" y="972893"/>
                      </a:cubicBezTo>
                      <a:cubicBezTo>
                        <a:pt x="521048" y="972893"/>
                        <a:pt x="1038322" y="971718"/>
                        <a:pt x="1554681" y="97171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25" name="Freeform: Shape 724">
                  <a:extLst>
                    <a:ext uri="{FF2B5EF4-FFF2-40B4-BE49-F238E27FC236}">
                      <a16:creationId xmlns:a16="http://schemas.microsoft.com/office/drawing/2014/main" id="{FF83821E-32F1-CDE1-2AA0-C2F2294AE5DD}"/>
                    </a:ext>
                  </a:extLst>
                </p:cNvPr>
                <p:cNvSpPr/>
                <p:nvPr/>
              </p:nvSpPr>
              <p:spPr>
                <a:xfrm>
                  <a:off x="795855" y="5327011"/>
                  <a:ext cx="1558092" cy="100189"/>
                </a:xfrm>
                <a:custGeom>
                  <a:avLst/>
                  <a:gdLst>
                    <a:gd name="connsiteX0" fmla="*/ 0 w 1558092"/>
                    <a:gd name="connsiteY0" fmla="*/ 0 h 100189"/>
                    <a:gd name="connsiteX1" fmla="*/ 1558092 w 1558092"/>
                    <a:gd name="connsiteY1" fmla="*/ 0 h 100189"/>
                    <a:gd name="connsiteX2" fmla="*/ 1558092 w 1558092"/>
                    <a:gd name="connsiteY2" fmla="*/ 100190 h 100189"/>
                    <a:gd name="connsiteX3" fmla="*/ 0 w 1558092"/>
                    <a:gd name="connsiteY3" fmla="*/ 100190 h 100189"/>
                  </a:gdLst>
                  <a:ahLst/>
                  <a:cxnLst>
                    <a:cxn ang="0">
                      <a:pos x="connsiteX0" y="connsiteY0"/>
                    </a:cxn>
                    <a:cxn ang="0">
                      <a:pos x="connsiteX1" y="connsiteY1"/>
                    </a:cxn>
                    <a:cxn ang="0">
                      <a:pos x="connsiteX2" y="connsiteY2"/>
                    </a:cxn>
                    <a:cxn ang="0">
                      <a:pos x="connsiteX3" y="connsiteY3"/>
                    </a:cxn>
                  </a:cxnLst>
                  <a:rect l="l" t="t" r="r" b="b"/>
                  <a:pathLst>
                    <a:path w="1558092" h="100189">
                      <a:moveTo>
                        <a:pt x="0" y="0"/>
                      </a:moveTo>
                      <a:lnTo>
                        <a:pt x="1558092" y="0"/>
                      </a:lnTo>
                      <a:lnTo>
                        <a:pt x="1558092" y="100190"/>
                      </a:lnTo>
                      <a:lnTo>
                        <a:pt x="0" y="100190"/>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727" name="Graphic 717">
                  <a:extLst>
                    <a:ext uri="{FF2B5EF4-FFF2-40B4-BE49-F238E27FC236}">
                      <a16:creationId xmlns:a16="http://schemas.microsoft.com/office/drawing/2014/main" id="{2201C9FA-A3A0-6D7C-4115-1852248BE5F0}"/>
                    </a:ext>
                  </a:extLst>
                </p:cNvPr>
                <p:cNvGrpSpPr/>
                <p:nvPr/>
              </p:nvGrpSpPr>
              <p:grpSpPr>
                <a:xfrm>
                  <a:off x="1962595" y="5349870"/>
                  <a:ext cx="338710" cy="54339"/>
                  <a:chOff x="1962595" y="5349870"/>
                  <a:chExt cx="338710" cy="54339"/>
                </a:xfrm>
                <a:grpFill/>
              </p:grpSpPr>
              <p:grpSp>
                <p:nvGrpSpPr>
                  <p:cNvPr id="728" name="Graphic 717">
                    <a:extLst>
                      <a:ext uri="{FF2B5EF4-FFF2-40B4-BE49-F238E27FC236}">
                        <a16:creationId xmlns:a16="http://schemas.microsoft.com/office/drawing/2014/main" id="{9BB72860-F1AE-C6E4-0BB2-CFA376CA7A62}"/>
                      </a:ext>
                    </a:extLst>
                  </p:cNvPr>
                  <p:cNvGrpSpPr/>
                  <p:nvPr/>
                </p:nvGrpSpPr>
                <p:grpSpPr>
                  <a:xfrm>
                    <a:off x="2246965" y="5349870"/>
                    <a:ext cx="54339" cy="54339"/>
                    <a:chOff x="2246965" y="5349870"/>
                    <a:chExt cx="54339" cy="54339"/>
                  </a:xfrm>
                  <a:grpFill/>
                </p:grpSpPr>
                <p:sp>
                  <p:nvSpPr>
                    <p:cNvPr id="729" name="Freeform: Shape 728">
                      <a:extLst>
                        <a:ext uri="{FF2B5EF4-FFF2-40B4-BE49-F238E27FC236}">
                          <a16:creationId xmlns:a16="http://schemas.microsoft.com/office/drawing/2014/main" id="{6029AD4E-3D32-7906-52A1-90CBB1490F25}"/>
                        </a:ext>
                      </a:extLst>
                    </p:cNvPr>
                    <p:cNvSpPr/>
                    <p:nvPr/>
                  </p:nvSpPr>
                  <p:spPr>
                    <a:xfrm>
                      <a:off x="2251668" y="5354703"/>
                      <a:ext cx="44934" cy="44934"/>
                    </a:xfrm>
                    <a:custGeom>
                      <a:avLst/>
                      <a:gdLst>
                        <a:gd name="connsiteX0" fmla="*/ 0 w 44934"/>
                        <a:gd name="connsiteY0" fmla="*/ 22467 h 44934"/>
                        <a:gd name="connsiteX1" fmla="*/ 22467 w 44934"/>
                        <a:gd name="connsiteY1" fmla="*/ 0 h 44934"/>
                        <a:gd name="connsiteX2" fmla="*/ 44935 w 44934"/>
                        <a:gd name="connsiteY2" fmla="*/ 22467 h 44934"/>
                        <a:gd name="connsiteX3" fmla="*/ 22467 w 44934"/>
                        <a:gd name="connsiteY3" fmla="*/ 44935 h 44934"/>
                        <a:gd name="connsiteX4" fmla="*/ 0 w 44934"/>
                        <a:gd name="connsiteY4" fmla="*/ 22467 h 44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34" h="44934">
                          <a:moveTo>
                            <a:pt x="0" y="22467"/>
                          </a:moveTo>
                          <a:cubicBezTo>
                            <a:pt x="0" y="10058"/>
                            <a:pt x="10058" y="0"/>
                            <a:pt x="22467" y="0"/>
                          </a:cubicBezTo>
                          <a:cubicBezTo>
                            <a:pt x="34877" y="0"/>
                            <a:pt x="44935" y="10058"/>
                            <a:pt x="44935" y="22467"/>
                          </a:cubicBezTo>
                          <a:cubicBezTo>
                            <a:pt x="44935" y="34877"/>
                            <a:pt x="34877" y="44935"/>
                            <a:pt x="22467" y="44935"/>
                          </a:cubicBezTo>
                          <a:cubicBezTo>
                            <a:pt x="10058" y="44935"/>
                            <a:pt x="0" y="34877"/>
                            <a:pt x="0" y="2246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30" name="Freeform: Shape 729">
                      <a:extLst>
                        <a:ext uri="{FF2B5EF4-FFF2-40B4-BE49-F238E27FC236}">
                          <a16:creationId xmlns:a16="http://schemas.microsoft.com/office/drawing/2014/main" id="{C9D52FAD-8581-DE95-E14F-1D1D1CEB4853}"/>
                        </a:ext>
                      </a:extLst>
                    </p:cNvPr>
                    <p:cNvSpPr/>
                    <p:nvPr/>
                  </p:nvSpPr>
                  <p:spPr>
                    <a:xfrm>
                      <a:off x="2246965" y="5349870"/>
                      <a:ext cx="54339" cy="54339"/>
                    </a:xfrm>
                    <a:custGeom>
                      <a:avLst/>
                      <a:gdLst>
                        <a:gd name="connsiteX0" fmla="*/ 27170 w 54339"/>
                        <a:gd name="connsiteY0" fmla="*/ 54340 h 54339"/>
                        <a:gd name="connsiteX1" fmla="*/ 0 w 54339"/>
                        <a:gd name="connsiteY1" fmla="*/ 27170 h 54339"/>
                        <a:gd name="connsiteX2" fmla="*/ 27170 w 54339"/>
                        <a:gd name="connsiteY2" fmla="*/ 0 h 54339"/>
                        <a:gd name="connsiteX3" fmla="*/ 54340 w 54339"/>
                        <a:gd name="connsiteY3" fmla="*/ 27170 h 54339"/>
                        <a:gd name="connsiteX4" fmla="*/ 27170 w 54339"/>
                        <a:gd name="connsiteY4" fmla="*/ 54340 h 54339"/>
                        <a:gd name="connsiteX5" fmla="*/ 27170 w 54339"/>
                        <a:gd name="connsiteY5" fmla="*/ 9274 h 54339"/>
                        <a:gd name="connsiteX6" fmla="*/ 9274 w 54339"/>
                        <a:gd name="connsiteY6" fmla="*/ 27170 h 54339"/>
                        <a:gd name="connsiteX7" fmla="*/ 27170 w 54339"/>
                        <a:gd name="connsiteY7" fmla="*/ 45065 h 54339"/>
                        <a:gd name="connsiteX8" fmla="*/ 45066 w 54339"/>
                        <a:gd name="connsiteY8" fmla="*/ 27170 h 54339"/>
                        <a:gd name="connsiteX9" fmla="*/ 27170 w 54339"/>
                        <a:gd name="connsiteY9" fmla="*/ 9274 h 5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39" h="54339">
                          <a:moveTo>
                            <a:pt x="27170" y="54340"/>
                          </a:moveTo>
                          <a:cubicBezTo>
                            <a:pt x="12279" y="54340"/>
                            <a:pt x="0" y="42192"/>
                            <a:pt x="0" y="27170"/>
                          </a:cubicBezTo>
                          <a:cubicBezTo>
                            <a:pt x="0" y="12148"/>
                            <a:pt x="12148" y="0"/>
                            <a:pt x="27170" y="0"/>
                          </a:cubicBezTo>
                          <a:cubicBezTo>
                            <a:pt x="42192" y="0"/>
                            <a:pt x="54340" y="12148"/>
                            <a:pt x="54340" y="27170"/>
                          </a:cubicBezTo>
                          <a:cubicBezTo>
                            <a:pt x="54340" y="42192"/>
                            <a:pt x="42192" y="54340"/>
                            <a:pt x="27170" y="54340"/>
                          </a:cubicBezTo>
                          <a:close/>
                          <a:moveTo>
                            <a:pt x="27170" y="9274"/>
                          </a:moveTo>
                          <a:cubicBezTo>
                            <a:pt x="17242" y="9274"/>
                            <a:pt x="9274" y="17242"/>
                            <a:pt x="9274" y="27170"/>
                          </a:cubicBezTo>
                          <a:cubicBezTo>
                            <a:pt x="9274" y="37097"/>
                            <a:pt x="17242" y="45065"/>
                            <a:pt x="27170" y="45065"/>
                          </a:cubicBezTo>
                          <a:cubicBezTo>
                            <a:pt x="37097" y="45065"/>
                            <a:pt x="45066" y="37097"/>
                            <a:pt x="45066" y="27170"/>
                          </a:cubicBezTo>
                          <a:cubicBezTo>
                            <a:pt x="45066" y="17242"/>
                            <a:pt x="37097" y="9274"/>
                            <a:pt x="27170" y="927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31" name="Graphic 717">
                    <a:extLst>
                      <a:ext uri="{FF2B5EF4-FFF2-40B4-BE49-F238E27FC236}">
                        <a16:creationId xmlns:a16="http://schemas.microsoft.com/office/drawing/2014/main" id="{883FA916-4E0F-CE5A-52AA-BC22B89F4349}"/>
                      </a:ext>
                    </a:extLst>
                  </p:cNvPr>
                  <p:cNvGrpSpPr/>
                  <p:nvPr/>
                </p:nvGrpSpPr>
                <p:grpSpPr>
                  <a:xfrm>
                    <a:off x="2104845" y="5349870"/>
                    <a:ext cx="54339" cy="54339"/>
                    <a:chOff x="2104845" y="5349870"/>
                    <a:chExt cx="54339" cy="54339"/>
                  </a:xfrm>
                  <a:grpFill/>
                </p:grpSpPr>
                <p:sp>
                  <p:nvSpPr>
                    <p:cNvPr id="732" name="Freeform: Shape 731">
                      <a:extLst>
                        <a:ext uri="{FF2B5EF4-FFF2-40B4-BE49-F238E27FC236}">
                          <a16:creationId xmlns:a16="http://schemas.microsoft.com/office/drawing/2014/main" id="{C4F5AE5E-46A4-2460-C913-27A0BEB82FB9}"/>
                        </a:ext>
                      </a:extLst>
                    </p:cNvPr>
                    <p:cNvSpPr/>
                    <p:nvPr/>
                  </p:nvSpPr>
                  <p:spPr>
                    <a:xfrm>
                      <a:off x="2109548" y="5354703"/>
                      <a:ext cx="44934" cy="44934"/>
                    </a:xfrm>
                    <a:custGeom>
                      <a:avLst/>
                      <a:gdLst>
                        <a:gd name="connsiteX0" fmla="*/ 0 w 44934"/>
                        <a:gd name="connsiteY0" fmla="*/ 22467 h 44934"/>
                        <a:gd name="connsiteX1" fmla="*/ 22467 w 44934"/>
                        <a:gd name="connsiteY1" fmla="*/ 0 h 44934"/>
                        <a:gd name="connsiteX2" fmla="*/ 44935 w 44934"/>
                        <a:gd name="connsiteY2" fmla="*/ 22467 h 44934"/>
                        <a:gd name="connsiteX3" fmla="*/ 22467 w 44934"/>
                        <a:gd name="connsiteY3" fmla="*/ 44935 h 44934"/>
                        <a:gd name="connsiteX4" fmla="*/ 0 w 44934"/>
                        <a:gd name="connsiteY4" fmla="*/ 22467 h 44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34" h="44934">
                          <a:moveTo>
                            <a:pt x="0" y="22467"/>
                          </a:moveTo>
                          <a:cubicBezTo>
                            <a:pt x="0" y="10058"/>
                            <a:pt x="10058" y="0"/>
                            <a:pt x="22467" y="0"/>
                          </a:cubicBezTo>
                          <a:cubicBezTo>
                            <a:pt x="34877" y="0"/>
                            <a:pt x="44935" y="10058"/>
                            <a:pt x="44935" y="22467"/>
                          </a:cubicBezTo>
                          <a:cubicBezTo>
                            <a:pt x="44935" y="34877"/>
                            <a:pt x="34877" y="44935"/>
                            <a:pt x="22467" y="44935"/>
                          </a:cubicBezTo>
                          <a:cubicBezTo>
                            <a:pt x="10058" y="44935"/>
                            <a:pt x="0" y="34877"/>
                            <a:pt x="0" y="2246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33" name="Freeform: Shape 732">
                      <a:extLst>
                        <a:ext uri="{FF2B5EF4-FFF2-40B4-BE49-F238E27FC236}">
                          <a16:creationId xmlns:a16="http://schemas.microsoft.com/office/drawing/2014/main" id="{603B1E1F-BB0A-10BC-ECBA-D8CBB14FFE11}"/>
                        </a:ext>
                      </a:extLst>
                    </p:cNvPr>
                    <p:cNvSpPr/>
                    <p:nvPr/>
                  </p:nvSpPr>
                  <p:spPr>
                    <a:xfrm>
                      <a:off x="2104845" y="5349870"/>
                      <a:ext cx="54339" cy="54339"/>
                    </a:xfrm>
                    <a:custGeom>
                      <a:avLst/>
                      <a:gdLst>
                        <a:gd name="connsiteX0" fmla="*/ 27170 w 54339"/>
                        <a:gd name="connsiteY0" fmla="*/ 54340 h 54339"/>
                        <a:gd name="connsiteX1" fmla="*/ 0 w 54339"/>
                        <a:gd name="connsiteY1" fmla="*/ 27170 h 54339"/>
                        <a:gd name="connsiteX2" fmla="*/ 27170 w 54339"/>
                        <a:gd name="connsiteY2" fmla="*/ 0 h 54339"/>
                        <a:gd name="connsiteX3" fmla="*/ 54340 w 54339"/>
                        <a:gd name="connsiteY3" fmla="*/ 27170 h 54339"/>
                        <a:gd name="connsiteX4" fmla="*/ 27170 w 54339"/>
                        <a:gd name="connsiteY4" fmla="*/ 54340 h 54339"/>
                        <a:gd name="connsiteX5" fmla="*/ 27170 w 54339"/>
                        <a:gd name="connsiteY5" fmla="*/ 9274 h 54339"/>
                        <a:gd name="connsiteX6" fmla="*/ 9274 w 54339"/>
                        <a:gd name="connsiteY6" fmla="*/ 27170 h 54339"/>
                        <a:gd name="connsiteX7" fmla="*/ 27170 w 54339"/>
                        <a:gd name="connsiteY7" fmla="*/ 45065 h 54339"/>
                        <a:gd name="connsiteX8" fmla="*/ 45066 w 54339"/>
                        <a:gd name="connsiteY8" fmla="*/ 27170 h 54339"/>
                        <a:gd name="connsiteX9" fmla="*/ 27170 w 54339"/>
                        <a:gd name="connsiteY9" fmla="*/ 9274 h 5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39" h="54339">
                          <a:moveTo>
                            <a:pt x="27170" y="54340"/>
                          </a:moveTo>
                          <a:cubicBezTo>
                            <a:pt x="12279" y="54340"/>
                            <a:pt x="0" y="42192"/>
                            <a:pt x="0" y="27170"/>
                          </a:cubicBezTo>
                          <a:cubicBezTo>
                            <a:pt x="0" y="12148"/>
                            <a:pt x="12148" y="0"/>
                            <a:pt x="27170" y="0"/>
                          </a:cubicBezTo>
                          <a:cubicBezTo>
                            <a:pt x="42192" y="0"/>
                            <a:pt x="54340" y="12148"/>
                            <a:pt x="54340" y="27170"/>
                          </a:cubicBezTo>
                          <a:cubicBezTo>
                            <a:pt x="54340" y="42192"/>
                            <a:pt x="42192" y="54340"/>
                            <a:pt x="27170" y="54340"/>
                          </a:cubicBezTo>
                          <a:close/>
                          <a:moveTo>
                            <a:pt x="27170" y="9274"/>
                          </a:moveTo>
                          <a:cubicBezTo>
                            <a:pt x="17243" y="9274"/>
                            <a:pt x="9274" y="17242"/>
                            <a:pt x="9274" y="27170"/>
                          </a:cubicBezTo>
                          <a:cubicBezTo>
                            <a:pt x="9274" y="37097"/>
                            <a:pt x="17243" y="45065"/>
                            <a:pt x="27170" y="45065"/>
                          </a:cubicBezTo>
                          <a:cubicBezTo>
                            <a:pt x="37097" y="45065"/>
                            <a:pt x="45066" y="37097"/>
                            <a:pt x="45066" y="27170"/>
                          </a:cubicBezTo>
                          <a:cubicBezTo>
                            <a:pt x="45066" y="17242"/>
                            <a:pt x="37097" y="9274"/>
                            <a:pt x="27170" y="927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34" name="Graphic 717">
                    <a:extLst>
                      <a:ext uri="{FF2B5EF4-FFF2-40B4-BE49-F238E27FC236}">
                        <a16:creationId xmlns:a16="http://schemas.microsoft.com/office/drawing/2014/main" id="{4BEDDAF6-D435-E24D-08FF-B38C6263DC85}"/>
                      </a:ext>
                    </a:extLst>
                  </p:cNvPr>
                  <p:cNvGrpSpPr/>
                  <p:nvPr/>
                </p:nvGrpSpPr>
                <p:grpSpPr>
                  <a:xfrm>
                    <a:off x="1962595" y="5349870"/>
                    <a:ext cx="54339" cy="54339"/>
                    <a:chOff x="1962595" y="5349870"/>
                    <a:chExt cx="54339" cy="54339"/>
                  </a:xfrm>
                  <a:grpFill/>
                </p:grpSpPr>
                <p:sp>
                  <p:nvSpPr>
                    <p:cNvPr id="735" name="Freeform: Shape 734">
                      <a:extLst>
                        <a:ext uri="{FF2B5EF4-FFF2-40B4-BE49-F238E27FC236}">
                          <a16:creationId xmlns:a16="http://schemas.microsoft.com/office/drawing/2014/main" id="{4DD296D6-8CAB-BE5E-A815-38F668FB0C83}"/>
                        </a:ext>
                      </a:extLst>
                    </p:cNvPr>
                    <p:cNvSpPr/>
                    <p:nvPr/>
                  </p:nvSpPr>
                  <p:spPr>
                    <a:xfrm>
                      <a:off x="1967297" y="5354703"/>
                      <a:ext cx="44934" cy="44934"/>
                    </a:xfrm>
                    <a:custGeom>
                      <a:avLst/>
                      <a:gdLst>
                        <a:gd name="connsiteX0" fmla="*/ 0 w 44934"/>
                        <a:gd name="connsiteY0" fmla="*/ 22467 h 44934"/>
                        <a:gd name="connsiteX1" fmla="*/ 22467 w 44934"/>
                        <a:gd name="connsiteY1" fmla="*/ 0 h 44934"/>
                        <a:gd name="connsiteX2" fmla="*/ 44935 w 44934"/>
                        <a:gd name="connsiteY2" fmla="*/ 22467 h 44934"/>
                        <a:gd name="connsiteX3" fmla="*/ 22467 w 44934"/>
                        <a:gd name="connsiteY3" fmla="*/ 44935 h 44934"/>
                        <a:gd name="connsiteX4" fmla="*/ 0 w 44934"/>
                        <a:gd name="connsiteY4" fmla="*/ 22467 h 44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34" h="44934">
                          <a:moveTo>
                            <a:pt x="0" y="22467"/>
                          </a:moveTo>
                          <a:cubicBezTo>
                            <a:pt x="0" y="10058"/>
                            <a:pt x="10058" y="0"/>
                            <a:pt x="22467" y="0"/>
                          </a:cubicBezTo>
                          <a:cubicBezTo>
                            <a:pt x="34877" y="0"/>
                            <a:pt x="44935" y="10058"/>
                            <a:pt x="44935" y="22467"/>
                          </a:cubicBezTo>
                          <a:cubicBezTo>
                            <a:pt x="44935" y="34877"/>
                            <a:pt x="34877" y="44935"/>
                            <a:pt x="22467" y="44935"/>
                          </a:cubicBezTo>
                          <a:cubicBezTo>
                            <a:pt x="10058" y="44935"/>
                            <a:pt x="0" y="34877"/>
                            <a:pt x="0" y="2246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36" name="Freeform: Shape 735">
                      <a:extLst>
                        <a:ext uri="{FF2B5EF4-FFF2-40B4-BE49-F238E27FC236}">
                          <a16:creationId xmlns:a16="http://schemas.microsoft.com/office/drawing/2014/main" id="{F3F73064-3FF3-E5BA-F00D-03EF87CD6AC8}"/>
                        </a:ext>
                      </a:extLst>
                    </p:cNvPr>
                    <p:cNvSpPr/>
                    <p:nvPr/>
                  </p:nvSpPr>
                  <p:spPr>
                    <a:xfrm>
                      <a:off x="1962595" y="5349870"/>
                      <a:ext cx="54339" cy="54339"/>
                    </a:xfrm>
                    <a:custGeom>
                      <a:avLst/>
                      <a:gdLst>
                        <a:gd name="connsiteX0" fmla="*/ 27170 w 54339"/>
                        <a:gd name="connsiteY0" fmla="*/ 54340 h 54339"/>
                        <a:gd name="connsiteX1" fmla="*/ 0 w 54339"/>
                        <a:gd name="connsiteY1" fmla="*/ 27170 h 54339"/>
                        <a:gd name="connsiteX2" fmla="*/ 27170 w 54339"/>
                        <a:gd name="connsiteY2" fmla="*/ 0 h 54339"/>
                        <a:gd name="connsiteX3" fmla="*/ 54340 w 54339"/>
                        <a:gd name="connsiteY3" fmla="*/ 27170 h 54339"/>
                        <a:gd name="connsiteX4" fmla="*/ 27170 w 54339"/>
                        <a:gd name="connsiteY4" fmla="*/ 54340 h 54339"/>
                        <a:gd name="connsiteX5" fmla="*/ 27170 w 54339"/>
                        <a:gd name="connsiteY5" fmla="*/ 9274 h 54339"/>
                        <a:gd name="connsiteX6" fmla="*/ 9274 w 54339"/>
                        <a:gd name="connsiteY6" fmla="*/ 27170 h 54339"/>
                        <a:gd name="connsiteX7" fmla="*/ 27170 w 54339"/>
                        <a:gd name="connsiteY7" fmla="*/ 45065 h 54339"/>
                        <a:gd name="connsiteX8" fmla="*/ 45066 w 54339"/>
                        <a:gd name="connsiteY8" fmla="*/ 27170 h 54339"/>
                        <a:gd name="connsiteX9" fmla="*/ 27170 w 54339"/>
                        <a:gd name="connsiteY9" fmla="*/ 9274 h 5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39" h="54339">
                          <a:moveTo>
                            <a:pt x="27170" y="54340"/>
                          </a:moveTo>
                          <a:cubicBezTo>
                            <a:pt x="12279" y="54340"/>
                            <a:pt x="0" y="42192"/>
                            <a:pt x="0" y="27170"/>
                          </a:cubicBezTo>
                          <a:cubicBezTo>
                            <a:pt x="0" y="12148"/>
                            <a:pt x="12148" y="0"/>
                            <a:pt x="27170" y="0"/>
                          </a:cubicBezTo>
                          <a:cubicBezTo>
                            <a:pt x="42192" y="0"/>
                            <a:pt x="54340" y="12148"/>
                            <a:pt x="54340" y="27170"/>
                          </a:cubicBezTo>
                          <a:cubicBezTo>
                            <a:pt x="54340" y="42192"/>
                            <a:pt x="42192" y="54340"/>
                            <a:pt x="27170" y="54340"/>
                          </a:cubicBezTo>
                          <a:close/>
                          <a:moveTo>
                            <a:pt x="27170" y="9274"/>
                          </a:moveTo>
                          <a:cubicBezTo>
                            <a:pt x="17243" y="9274"/>
                            <a:pt x="9274" y="17242"/>
                            <a:pt x="9274" y="27170"/>
                          </a:cubicBezTo>
                          <a:cubicBezTo>
                            <a:pt x="9274" y="37097"/>
                            <a:pt x="17243" y="45065"/>
                            <a:pt x="27170" y="45065"/>
                          </a:cubicBezTo>
                          <a:cubicBezTo>
                            <a:pt x="37097" y="45065"/>
                            <a:pt x="45066" y="37097"/>
                            <a:pt x="45066" y="27170"/>
                          </a:cubicBezTo>
                          <a:cubicBezTo>
                            <a:pt x="45066" y="17242"/>
                            <a:pt x="37097" y="9274"/>
                            <a:pt x="27170" y="927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sp>
              <p:nvSpPr>
                <p:cNvPr id="737" name="Freeform: Shape 736">
                  <a:extLst>
                    <a:ext uri="{FF2B5EF4-FFF2-40B4-BE49-F238E27FC236}">
                      <a16:creationId xmlns:a16="http://schemas.microsoft.com/office/drawing/2014/main" id="{0E8C59B3-9D14-24E7-85EE-9A93F7341BF6}"/>
                    </a:ext>
                  </a:extLst>
                </p:cNvPr>
                <p:cNvSpPr/>
                <p:nvPr/>
              </p:nvSpPr>
              <p:spPr>
                <a:xfrm>
                  <a:off x="933272" y="5587027"/>
                  <a:ext cx="227678" cy="10376"/>
                </a:xfrm>
                <a:custGeom>
                  <a:avLst/>
                  <a:gdLst>
                    <a:gd name="connsiteX0" fmla="*/ 222976 w 227678"/>
                    <a:gd name="connsiteY0" fmla="*/ 10246 h 10376"/>
                    <a:gd name="connsiteX1" fmla="*/ 222976 w 227678"/>
                    <a:gd name="connsiteY1" fmla="*/ 10246 h 10376"/>
                    <a:gd name="connsiteX2" fmla="*/ 4572 w 227678"/>
                    <a:gd name="connsiteY2" fmla="*/ 9201 h 10376"/>
                    <a:gd name="connsiteX3" fmla="*/ 4572 w 227678"/>
                    <a:gd name="connsiteY3" fmla="*/ 9201 h 10376"/>
                    <a:gd name="connsiteX4" fmla="*/ 0 w 227678"/>
                    <a:gd name="connsiteY4" fmla="*/ 4629 h 10376"/>
                    <a:gd name="connsiteX5" fmla="*/ 4572 w 227678"/>
                    <a:gd name="connsiteY5" fmla="*/ 57 h 10376"/>
                    <a:gd name="connsiteX6" fmla="*/ 223107 w 227678"/>
                    <a:gd name="connsiteY6" fmla="*/ 1102 h 10376"/>
                    <a:gd name="connsiteX7" fmla="*/ 227679 w 227678"/>
                    <a:gd name="connsiteY7" fmla="*/ 5805 h 10376"/>
                    <a:gd name="connsiteX8" fmla="*/ 223107 w 227678"/>
                    <a:gd name="connsiteY8" fmla="*/ 10376 h 1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678" h="10376">
                      <a:moveTo>
                        <a:pt x="222976" y="10246"/>
                      </a:moveTo>
                      <a:lnTo>
                        <a:pt x="222976" y="10246"/>
                      </a:lnTo>
                      <a:cubicBezTo>
                        <a:pt x="150610" y="8940"/>
                        <a:pt x="75240" y="8940"/>
                        <a:pt x="4572" y="9201"/>
                      </a:cubicBezTo>
                      <a:lnTo>
                        <a:pt x="4572" y="9201"/>
                      </a:lnTo>
                      <a:cubicBezTo>
                        <a:pt x="2090" y="9201"/>
                        <a:pt x="0" y="7111"/>
                        <a:pt x="0" y="4629"/>
                      </a:cubicBezTo>
                      <a:cubicBezTo>
                        <a:pt x="0" y="2147"/>
                        <a:pt x="2090" y="57"/>
                        <a:pt x="4572" y="57"/>
                      </a:cubicBezTo>
                      <a:cubicBezTo>
                        <a:pt x="75240" y="-73"/>
                        <a:pt x="150610" y="-73"/>
                        <a:pt x="223107" y="1102"/>
                      </a:cubicBezTo>
                      <a:cubicBezTo>
                        <a:pt x="225589" y="1102"/>
                        <a:pt x="227679" y="3192"/>
                        <a:pt x="227679" y="5805"/>
                      </a:cubicBezTo>
                      <a:cubicBezTo>
                        <a:pt x="227679" y="8286"/>
                        <a:pt x="225589" y="10376"/>
                        <a:pt x="223107" y="1037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38" name="Freeform: Shape 737">
                  <a:extLst>
                    <a:ext uri="{FF2B5EF4-FFF2-40B4-BE49-F238E27FC236}">
                      <a16:creationId xmlns:a16="http://schemas.microsoft.com/office/drawing/2014/main" id="{702D2B20-4EA4-ED96-C150-50B5701E2919}"/>
                    </a:ext>
                  </a:extLst>
                </p:cNvPr>
                <p:cNvSpPr/>
                <p:nvPr/>
              </p:nvSpPr>
              <p:spPr>
                <a:xfrm>
                  <a:off x="933272" y="5690090"/>
                  <a:ext cx="373978" cy="10376"/>
                </a:xfrm>
                <a:custGeom>
                  <a:avLst/>
                  <a:gdLst>
                    <a:gd name="connsiteX0" fmla="*/ 369276 w 373978"/>
                    <a:gd name="connsiteY0" fmla="*/ 10246 h 10376"/>
                    <a:gd name="connsiteX1" fmla="*/ 369276 w 373978"/>
                    <a:gd name="connsiteY1" fmla="*/ 10246 h 10376"/>
                    <a:gd name="connsiteX2" fmla="*/ 4572 w 373978"/>
                    <a:gd name="connsiteY2" fmla="*/ 9201 h 10376"/>
                    <a:gd name="connsiteX3" fmla="*/ 4572 w 373978"/>
                    <a:gd name="connsiteY3" fmla="*/ 9201 h 10376"/>
                    <a:gd name="connsiteX4" fmla="*/ 0 w 373978"/>
                    <a:gd name="connsiteY4" fmla="*/ 4629 h 10376"/>
                    <a:gd name="connsiteX5" fmla="*/ 4572 w 373978"/>
                    <a:gd name="connsiteY5" fmla="*/ 57 h 10376"/>
                    <a:gd name="connsiteX6" fmla="*/ 369407 w 373978"/>
                    <a:gd name="connsiteY6" fmla="*/ 1102 h 10376"/>
                    <a:gd name="connsiteX7" fmla="*/ 373979 w 373978"/>
                    <a:gd name="connsiteY7" fmla="*/ 5805 h 10376"/>
                    <a:gd name="connsiteX8" fmla="*/ 369407 w 373978"/>
                    <a:gd name="connsiteY8" fmla="*/ 10377 h 1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978" h="10376">
                      <a:moveTo>
                        <a:pt x="369276" y="10246"/>
                      </a:moveTo>
                      <a:lnTo>
                        <a:pt x="369276" y="10246"/>
                      </a:lnTo>
                      <a:cubicBezTo>
                        <a:pt x="248579" y="8940"/>
                        <a:pt x="122657" y="8940"/>
                        <a:pt x="4572" y="9201"/>
                      </a:cubicBezTo>
                      <a:lnTo>
                        <a:pt x="4572" y="9201"/>
                      </a:lnTo>
                      <a:cubicBezTo>
                        <a:pt x="2090" y="9201"/>
                        <a:pt x="0" y="7111"/>
                        <a:pt x="0" y="4629"/>
                      </a:cubicBezTo>
                      <a:cubicBezTo>
                        <a:pt x="0" y="2147"/>
                        <a:pt x="2090" y="57"/>
                        <a:pt x="4572" y="57"/>
                      </a:cubicBezTo>
                      <a:cubicBezTo>
                        <a:pt x="122657" y="-74"/>
                        <a:pt x="248579" y="-74"/>
                        <a:pt x="369407" y="1102"/>
                      </a:cubicBezTo>
                      <a:cubicBezTo>
                        <a:pt x="371889" y="1102"/>
                        <a:pt x="373979" y="3192"/>
                        <a:pt x="373979" y="5805"/>
                      </a:cubicBezTo>
                      <a:cubicBezTo>
                        <a:pt x="373979" y="8287"/>
                        <a:pt x="371889" y="10377"/>
                        <a:pt x="369407" y="1037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739" name="Graphic 717">
                  <a:extLst>
                    <a:ext uri="{FF2B5EF4-FFF2-40B4-BE49-F238E27FC236}">
                      <a16:creationId xmlns:a16="http://schemas.microsoft.com/office/drawing/2014/main" id="{4DCE2F8D-462B-EFE0-A8D6-AF3245B9E668}"/>
                    </a:ext>
                  </a:extLst>
                </p:cNvPr>
                <p:cNvGrpSpPr/>
                <p:nvPr/>
              </p:nvGrpSpPr>
              <p:grpSpPr>
                <a:xfrm>
                  <a:off x="1144362" y="5571863"/>
                  <a:ext cx="985171" cy="572858"/>
                  <a:chOff x="1144362" y="5571863"/>
                  <a:chExt cx="985171" cy="572858"/>
                </a:xfrm>
                <a:grpFill/>
              </p:grpSpPr>
              <p:grpSp>
                <p:nvGrpSpPr>
                  <p:cNvPr id="740" name="Graphic 717">
                    <a:extLst>
                      <a:ext uri="{FF2B5EF4-FFF2-40B4-BE49-F238E27FC236}">
                        <a16:creationId xmlns:a16="http://schemas.microsoft.com/office/drawing/2014/main" id="{4BE0C41B-7766-DF74-2C4E-597F82BE890E}"/>
                      </a:ext>
                    </a:extLst>
                  </p:cNvPr>
                  <p:cNvGrpSpPr/>
                  <p:nvPr/>
                </p:nvGrpSpPr>
                <p:grpSpPr>
                  <a:xfrm>
                    <a:off x="1144362" y="5571863"/>
                    <a:ext cx="985171" cy="572858"/>
                    <a:chOff x="1144362" y="5571863"/>
                    <a:chExt cx="985171" cy="572858"/>
                  </a:xfrm>
                  <a:grpFill/>
                </p:grpSpPr>
                <p:sp>
                  <p:nvSpPr>
                    <p:cNvPr id="741" name="Freeform: Shape 740">
                      <a:extLst>
                        <a:ext uri="{FF2B5EF4-FFF2-40B4-BE49-F238E27FC236}">
                          <a16:creationId xmlns:a16="http://schemas.microsoft.com/office/drawing/2014/main" id="{C8F4AA67-2679-1A05-5B1C-0C294C431003}"/>
                        </a:ext>
                      </a:extLst>
                    </p:cNvPr>
                    <p:cNvSpPr/>
                    <p:nvPr/>
                  </p:nvSpPr>
                  <p:spPr>
                    <a:xfrm>
                      <a:off x="1148933" y="5576243"/>
                      <a:ext cx="976028" cy="563645"/>
                    </a:xfrm>
                    <a:custGeom>
                      <a:avLst/>
                      <a:gdLst>
                        <a:gd name="connsiteX0" fmla="*/ 0 w 976028"/>
                        <a:gd name="connsiteY0" fmla="*/ 563646 h 563645"/>
                        <a:gd name="connsiteX1" fmla="*/ 0 w 976028"/>
                        <a:gd name="connsiteY1" fmla="*/ 448565 h 563645"/>
                        <a:gd name="connsiteX2" fmla="*/ 65835 w 976028"/>
                        <a:gd name="connsiteY2" fmla="*/ 468812 h 563645"/>
                        <a:gd name="connsiteX3" fmla="*/ 248318 w 976028"/>
                        <a:gd name="connsiteY3" fmla="*/ 287244 h 563645"/>
                        <a:gd name="connsiteX4" fmla="*/ 452092 w 976028"/>
                        <a:gd name="connsiteY4" fmla="*/ 338710 h 563645"/>
                        <a:gd name="connsiteX5" fmla="*/ 639800 w 976028"/>
                        <a:gd name="connsiteY5" fmla="*/ 149827 h 563645"/>
                        <a:gd name="connsiteX6" fmla="*/ 805432 w 976028"/>
                        <a:gd name="connsiteY6" fmla="*/ 241003 h 563645"/>
                        <a:gd name="connsiteX7" fmla="*/ 976028 w 976028"/>
                        <a:gd name="connsiteY7" fmla="*/ 0 h 563645"/>
                        <a:gd name="connsiteX8" fmla="*/ 976028 w 976028"/>
                        <a:gd name="connsiteY8" fmla="*/ 552412 h 563645"/>
                        <a:gd name="connsiteX9" fmla="*/ 0 w 976028"/>
                        <a:gd name="connsiteY9" fmla="*/ 563646 h 56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6028" h="563645">
                          <a:moveTo>
                            <a:pt x="0" y="563646"/>
                          </a:moveTo>
                          <a:cubicBezTo>
                            <a:pt x="0" y="524850"/>
                            <a:pt x="261" y="483573"/>
                            <a:pt x="0" y="448565"/>
                          </a:cubicBezTo>
                          <a:cubicBezTo>
                            <a:pt x="15544" y="459277"/>
                            <a:pt x="38926" y="471425"/>
                            <a:pt x="65835" y="468812"/>
                          </a:cubicBezTo>
                          <a:cubicBezTo>
                            <a:pt x="150480" y="460322"/>
                            <a:pt x="157533" y="314675"/>
                            <a:pt x="248318" y="287244"/>
                          </a:cubicBezTo>
                          <a:cubicBezTo>
                            <a:pt x="327084" y="263470"/>
                            <a:pt x="369015" y="359087"/>
                            <a:pt x="452092" y="338710"/>
                          </a:cubicBezTo>
                          <a:cubicBezTo>
                            <a:pt x="552673" y="314152"/>
                            <a:pt x="555808" y="158186"/>
                            <a:pt x="639800" y="149827"/>
                          </a:cubicBezTo>
                          <a:cubicBezTo>
                            <a:pt x="708117" y="143165"/>
                            <a:pt x="738422" y="243093"/>
                            <a:pt x="805432" y="241003"/>
                          </a:cubicBezTo>
                          <a:cubicBezTo>
                            <a:pt x="849061" y="239697"/>
                            <a:pt x="908626" y="194892"/>
                            <a:pt x="976028" y="0"/>
                          </a:cubicBezTo>
                          <a:lnTo>
                            <a:pt x="976028" y="552412"/>
                          </a:lnTo>
                          <a:cubicBezTo>
                            <a:pt x="630787" y="556200"/>
                            <a:pt x="345241" y="559858"/>
                            <a:pt x="0" y="5636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42" name="Freeform: Shape 741">
                      <a:extLst>
                        <a:ext uri="{FF2B5EF4-FFF2-40B4-BE49-F238E27FC236}">
                          <a16:creationId xmlns:a16="http://schemas.microsoft.com/office/drawing/2014/main" id="{7A156332-FB24-3E71-2692-FEED3B395619}"/>
                        </a:ext>
                      </a:extLst>
                    </p:cNvPr>
                    <p:cNvSpPr/>
                    <p:nvPr/>
                  </p:nvSpPr>
                  <p:spPr>
                    <a:xfrm>
                      <a:off x="1144362" y="5571863"/>
                      <a:ext cx="985171" cy="572858"/>
                    </a:xfrm>
                    <a:custGeom>
                      <a:avLst/>
                      <a:gdLst>
                        <a:gd name="connsiteX0" fmla="*/ 4572 w 985171"/>
                        <a:gd name="connsiteY0" fmla="*/ 572598 h 572858"/>
                        <a:gd name="connsiteX1" fmla="*/ 1306 w 985171"/>
                        <a:gd name="connsiteY1" fmla="*/ 571291 h 572858"/>
                        <a:gd name="connsiteX2" fmla="*/ 0 w 985171"/>
                        <a:gd name="connsiteY2" fmla="*/ 568026 h 572858"/>
                        <a:gd name="connsiteX3" fmla="*/ 0 w 985171"/>
                        <a:gd name="connsiteY3" fmla="*/ 528577 h 572858"/>
                        <a:gd name="connsiteX4" fmla="*/ 0 w 985171"/>
                        <a:gd name="connsiteY4" fmla="*/ 452945 h 572858"/>
                        <a:gd name="connsiteX5" fmla="*/ 2482 w 985171"/>
                        <a:gd name="connsiteY5" fmla="*/ 448896 h 572858"/>
                        <a:gd name="connsiteX6" fmla="*/ 7184 w 985171"/>
                        <a:gd name="connsiteY6" fmla="*/ 449157 h 572858"/>
                        <a:gd name="connsiteX7" fmla="*/ 69884 w 985171"/>
                        <a:gd name="connsiteY7" fmla="*/ 468620 h 572858"/>
                        <a:gd name="connsiteX8" fmla="*/ 156489 w 985171"/>
                        <a:gd name="connsiteY8" fmla="*/ 385282 h 572858"/>
                        <a:gd name="connsiteX9" fmla="*/ 251583 w 985171"/>
                        <a:gd name="connsiteY9" fmla="*/ 287182 h 572858"/>
                        <a:gd name="connsiteX10" fmla="*/ 355822 w 985171"/>
                        <a:gd name="connsiteY10" fmla="*/ 312263 h 572858"/>
                        <a:gd name="connsiteX11" fmla="*/ 455489 w 985171"/>
                        <a:gd name="connsiteY11" fmla="*/ 338649 h 572858"/>
                        <a:gd name="connsiteX12" fmla="*/ 554241 w 985171"/>
                        <a:gd name="connsiteY12" fmla="*/ 237414 h 572858"/>
                        <a:gd name="connsiteX13" fmla="*/ 643850 w 985171"/>
                        <a:gd name="connsiteY13" fmla="*/ 149765 h 572858"/>
                        <a:gd name="connsiteX14" fmla="*/ 732413 w 985171"/>
                        <a:gd name="connsiteY14" fmla="*/ 196398 h 572858"/>
                        <a:gd name="connsiteX15" fmla="*/ 809874 w 985171"/>
                        <a:gd name="connsiteY15" fmla="*/ 240941 h 572858"/>
                        <a:gd name="connsiteX16" fmla="*/ 976290 w 985171"/>
                        <a:gd name="connsiteY16" fmla="*/ 3074 h 572858"/>
                        <a:gd name="connsiteX17" fmla="*/ 981384 w 985171"/>
                        <a:gd name="connsiteY17" fmla="*/ 69 h 572858"/>
                        <a:gd name="connsiteX18" fmla="*/ 985172 w 985171"/>
                        <a:gd name="connsiteY18" fmla="*/ 4641 h 572858"/>
                        <a:gd name="connsiteX19" fmla="*/ 985172 w 985171"/>
                        <a:gd name="connsiteY19" fmla="*/ 557053 h 572858"/>
                        <a:gd name="connsiteX20" fmla="*/ 980600 w 985171"/>
                        <a:gd name="connsiteY20" fmla="*/ 561625 h 572858"/>
                        <a:gd name="connsiteX21" fmla="*/ 492586 w 985171"/>
                        <a:gd name="connsiteY21" fmla="*/ 567242 h 572858"/>
                        <a:gd name="connsiteX22" fmla="*/ 4572 w 985171"/>
                        <a:gd name="connsiteY22" fmla="*/ 572859 h 572858"/>
                        <a:gd name="connsiteX23" fmla="*/ 4572 w 985171"/>
                        <a:gd name="connsiteY23" fmla="*/ 572859 h 572858"/>
                        <a:gd name="connsiteX24" fmla="*/ 9274 w 985171"/>
                        <a:gd name="connsiteY24" fmla="*/ 461436 h 572858"/>
                        <a:gd name="connsiteX25" fmla="*/ 9274 w 985171"/>
                        <a:gd name="connsiteY25" fmla="*/ 528577 h 572858"/>
                        <a:gd name="connsiteX26" fmla="*/ 9274 w 985171"/>
                        <a:gd name="connsiteY26" fmla="*/ 563323 h 572858"/>
                        <a:gd name="connsiteX27" fmla="*/ 492586 w 985171"/>
                        <a:gd name="connsiteY27" fmla="*/ 557706 h 572858"/>
                        <a:gd name="connsiteX28" fmla="*/ 976028 w 985171"/>
                        <a:gd name="connsiteY28" fmla="*/ 552089 h 572858"/>
                        <a:gd name="connsiteX29" fmla="*/ 976028 w 985171"/>
                        <a:gd name="connsiteY29" fmla="*/ 30897 h 572858"/>
                        <a:gd name="connsiteX30" fmla="*/ 810135 w 985171"/>
                        <a:gd name="connsiteY30" fmla="*/ 249824 h 572858"/>
                        <a:gd name="connsiteX31" fmla="*/ 726012 w 985171"/>
                        <a:gd name="connsiteY31" fmla="*/ 202668 h 572858"/>
                        <a:gd name="connsiteX32" fmla="*/ 644764 w 985171"/>
                        <a:gd name="connsiteY32" fmla="*/ 158648 h 572858"/>
                        <a:gd name="connsiteX33" fmla="*/ 562340 w 985171"/>
                        <a:gd name="connsiteY33" fmla="*/ 241594 h 572858"/>
                        <a:gd name="connsiteX34" fmla="*/ 457709 w 985171"/>
                        <a:gd name="connsiteY34" fmla="*/ 347401 h 572858"/>
                        <a:gd name="connsiteX35" fmla="*/ 351119 w 985171"/>
                        <a:gd name="connsiteY35" fmla="*/ 319969 h 572858"/>
                        <a:gd name="connsiteX36" fmla="*/ 254196 w 985171"/>
                        <a:gd name="connsiteY36" fmla="*/ 295804 h 572858"/>
                        <a:gd name="connsiteX37" fmla="*/ 164457 w 985171"/>
                        <a:gd name="connsiteY37" fmla="*/ 389592 h 572858"/>
                        <a:gd name="connsiteX38" fmla="*/ 70799 w 985171"/>
                        <a:gd name="connsiteY38" fmla="*/ 477503 h 572858"/>
                        <a:gd name="connsiteX39" fmla="*/ 9274 w 985171"/>
                        <a:gd name="connsiteY39" fmla="*/ 461175 h 57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85171" h="572858">
                          <a:moveTo>
                            <a:pt x="4572" y="572598"/>
                          </a:moveTo>
                          <a:cubicBezTo>
                            <a:pt x="3396" y="572598"/>
                            <a:pt x="2221" y="572075"/>
                            <a:pt x="1306" y="571291"/>
                          </a:cubicBezTo>
                          <a:cubicBezTo>
                            <a:pt x="392" y="570377"/>
                            <a:pt x="0" y="569201"/>
                            <a:pt x="0" y="568026"/>
                          </a:cubicBezTo>
                          <a:cubicBezTo>
                            <a:pt x="0" y="555094"/>
                            <a:pt x="0" y="541770"/>
                            <a:pt x="0" y="528577"/>
                          </a:cubicBezTo>
                          <a:cubicBezTo>
                            <a:pt x="0" y="502844"/>
                            <a:pt x="0" y="476327"/>
                            <a:pt x="0" y="452945"/>
                          </a:cubicBezTo>
                          <a:cubicBezTo>
                            <a:pt x="0" y="451247"/>
                            <a:pt x="914" y="449680"/>
                            <a:pt x="2482" y="448896"/>
                          </a:cubicBezTo>
                          <a:cubicBezTo>
                            <a:pt x="4049" y="448112"/>
                            <a:pt x="5878" y="448243"/>
                            <a:pt x="7184" y="449157"/>
                          </a:cubicBezTo>
                          <a:cubicBezTo>
                            <a:pt x="28868" y="464048"/>
                            <a:pt x="49899" y="470580"/>
                            <a:pt x="69884" y="468620"/>
                          </a:cubicBezTo>
                          <a:cubicBezTo>
                            <a:pt x="110509" y="464571"/>
                            <a:pt x="132845" y="426037"/>
                            <a:pt x="156489" y="385282"/>
                          </a:cubicBezTo>
                          <a:cubicBezTo>
                            <a:pt x="180393" y="344004"/>
                            <a:pt x="205081" y="301290"/>
                            <a:pt x="251583" y="287182"/>
                          </a:cubicBezTo>
                          <a:cubicBezTo>
                            <a:pt x="293122" y="274643"/>
                            <a:pt x="324994" y="293844"/>
                            <a:pt x="355822" y="312263"/>
                          </a:cubicBezTo>
                          <a:cubicBezTo>
                            <a:pt x="386780" y="330811"/>
                            <a:pt x="416040" y="348315"/>
                            <a:pt x="455489" y="338649"/>
                          </a:cubicBezTo>
                          <a:cubicBezTo>
                            <a:pt x="504995" y="326501"/>
                            <a:pt x="530075" y="281174"/>
                            <a:pt x="554241" y="237414"/>
                          </a:cubicBezTo>
                          <a:cubicBezTo>
                            <a:pt x="578015" y="194570"/>
                            <a:pt x="600352" y="153945"/>
                            <a:pt x="643850" y="149765"/>
                          </a:cubicBezTo>
                          <a:cubicBezTo>
                            <a:pt x="680816" y="146108"/>
                            <a:pt x="707072" y="171710"/>
                            <a:pt x="732413" y="196398"/>
                          </a:cubicBezTo>
                          <a:cubicBezTo>
                            <a:pt x="756448" y="219780"/>
                            <a:pt x="779046" y="241725"/>
                            <a:pt x="809874" y="240941"/>
                          </a:cubicBezTo>
                          <a:cubicBezTo>
                            <a:pt x="866304" y="239243"/>
                            <a:pt x="922211" y="159170"/>
                            <a:pt x="976290" y="3074"/>
                          </a:cubicBezTo>
                          <a:cubicBezTo>
                            <a:pt x="977073" y="983"/>
                            <a:pt x="979163" y="-323"/>
                            <a:pt x="981384" y="69"/>
                          </a:cubicBezTo>
                          <a:cubicBezTo>
                            <a:pt x="983604" y="461"/>
                            <a:pt x="985172" y="2421"/>
                            <a:pt x="985172" y="4641"/>
                          </a:cubicBezTo>
                          <a:lnTo>
                            <a:pt x="985172" y="557053"/>
                          </a:lnTo>
                          <a:cubicBezTo>
                            <a:pt x="985172" y="559535"/>
                            <a:pt x="983082" y="561625"/>
                            <a:pt x="980600" y="561625"/>
                          </a:cubicBezTo>
                          <a:cubicBezTo>
                            <a:pt x="808045" y="563454"/>
                            <a:pt x="647638" y="565413"/>
                            <a:pt x="492586" y="567242"/>
                          </a:cubicBezTo>
                          <a:cubicBezTo>
                            <a:pt x="337534" y="569071"/>
                            <a:pt x="177127" y="571030"/>
                            <a:pt x="4572" y="572859"/>
                          </a:cubicBezTo>
                          <a:lnTo>
                            <a:pt x="4572" y="572859"/>
                          </a:lnTo>
                          <a:close/>
                          <a:moveTo>
                            <a:pt x="9274" y="461436"/>
                          </a:moveTo>
                          <a:cubicBezTo>
                            <a:pt x="9274" y="482597"/>
                            <a:pt x="9274" y="505979"/>
                            <a:pt x="9274" y="528577"/>
                          </a:cubicBezTo>
                          <a:cubicBezTo>
                            <a:pt x="9274" y="540203"/>
                            <a:pt x="9274" y="551828"/>
                            <a:pt x="9274" y="563323"/>
                          </a:cubicBezTo>
                          <a:cubicBezTo>
                            <a:pt x="180132" y="561494"/>
                            <a:pt x="338971" y="559535"/>
                            <a:pt x="492586" y="557706"/>
                          </a:cubicBezTo>
                          <a:cubicBezTo>
                            <a:pt x="646331" y="555878"/>
                            <a:pt x="805171" y="554049"/>
                            <a:pt x="976028" y="552089"/>
                          </a:cubicBezTo>
                          <a:lnTo>
                            <a:pt x="976028" y="30897"/>
                          </a:lnTo>
                          <a:cubicBezTo>
                            <a:pt x="922733" y="176282"/>
                            <a:pt x="868393" y="247995"/>
                            <a:pt x="810135" y="249824"/>
                          </a:cubicBezTo>
                          <a:cubicBezTo>
                            <a:pt x="775519" y="250869"/>
                            <a:pt x="750309" y="226442"/>
                            <a:pt x="726012" y="202668"/>
                          </a:cubicBezTo>
                          <a:cubicBezTo>
                            <a:pt x="701063" y="178372"/>
                            <a:pt x="677551" y="155382"/>
                            <a:pt x="644764" y="158648"/>
                          </a:cubicBezTo>
                          <a:cubicBezTo>
                            <a:pt x="606099" y="162436"/>
                            <a:pt x="584938" y="200970"/>
                            <a:pt x="562340" y="241594"/>
                          </a:cubicBezTo>
                          <a:cubicBezTo>
                            <a:pt x="538305" y="285092"/>
                            <a:pt x="511135" y="334338"/>
                            <a:pt x="457709" y="347401"/>
                          </a:cubicBezTo>
                          <a:cubicBezTo>
                            <a:pt x="414472" y="357981"/>
                            <a:pt x="382208" y="338649"/>
                            <a:pt x="351119" y="319969"/>
                          </a:cubicBezTo>
                          <a:cubicBezTo>
                            <a:pt x="320553" y="301682"/>
                            <a:pt x="291816" y="284439"/>
                            <a:pt x="254196" y="295804"/>
                          </a:cubicBezTo>
                          <a:cubicBezTo>
                            <a:pt x="211220" y="308735"/>
                            <a:pt x="187447" y="349883"/>
                            <a:pt x="164457" y="389592"/>
                          </a:cubicBezTo>
                          <a:cubicBezTo>
                            <a:pt x="139638" y="432437"/>
                            <a:pt x="116256" y="472931"/>
                            <a:pt x="70799" y="477503"/>
                          </a:cubicBezTo>
                          <a:cubicBezTo>
                            <a:pt x="50944" y="479462"/>
                            <a:pt x="30174" y="473976"/>
                            <a:pt x="9274" y="46117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43" name="Graphic 717">
                    <a:extLst>
                      <a:ext uri="{FF2B5EF4-FFF2-40B4-BE49-F238E27FC236}">
                        <a16:creationId xmlns:a16="http://schemas.microsoft.com/office/drawing/2014/main" id="{E5D9BACC-B74C-539A-B0CA-3292F4CF2110}"/>
                      </a:ext>
                    </a:extLst>
                  </p:cNvPr>
                  <p:cNvGrpSpPr/>
                  <p:nvPr/>
                </p:nvGrpSpPr>
                <p:grpSpPr>
                  <a:xfrm>
                    <a:off x="1401431" y="5765996"/>
                    <a:ext cx="330088" cy="375591"/>
                    <a:chOff x="1401431" y="5765996"/>
                    <a:chExt cx="330088" cy="375591"/>
                  </a:xfrm>
                  <a:grpFill/>
                </p:grpSpPr>
                <p:sp>
                  <p:nvSpPr>
                    <p:cNvPr id="744" name="Freeform: Shape 743">
                      <a:extLst>
                        <a:ext uri="{FF2B5EF4-FFF2-40B4-BE49-F238E27FC236}">
                          <a16:creationId xmlns:a16="http://schemas.microsoft.com/office/drawing/2014/main" id="{415EF813-77BA-814B-3B3A-2C91339CB3E7}"/>
                        </a:ext>
                      </a:extLst>
                    </p:cNvPr>
                    <p:cNvSpPr/>
                    <p:nvPr/>
                  </p:nvSpPr>
                  <p:spPr>
                    <a:xfrm>
                      <a:off x="1406003" y="5770482"/>
                      <a:ext cx="320945" cy="366402"/>
                    </a:xfrm>
                    <a:custGeom>
                      <a:avLst/>
                      <a:gdLst>
                        <a:gd name="connsiteX0" fmla="*/ 320945 w 320945"/>
                        <a:gd name="connsiteY0" fmla="*/ 131 h 366402"/>
                        <a:gd name="connsiteX1" fmla="*/ 195153 w 320945"/>
                        <a:gd name="connsiteY1" fmla="*/ 144341 h 366402"/>
                        <a:gd name="connsiteX2" fmla="*/ 0 w 320945"/>
                        <a:gd name="connsiteY2" fmla="*/ 90654 h 366402"/>
                        <a:gd name="connsiteX3" fmla="*/ 0 w 320945"/>
                        <a:gd name="connsiteY3" fmla="*/ 366403 h 366402"/>
                        <a:gd name="connsiteX4" fmla="*/ 320945 w 320945"/>
                        <a:gd name="connsiteY4" fmla="*/ 362615 h 366402"/>
                        <a:gd name="connsiteX5" fmla="*/ 320945 w 320945"/>
                        <a:gd name="connsiteY5" fmla="*/ 0 h 36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945" h="366402">
                          <a:moveTo>
                            <a:pt x="320945" y="131"/>
                          </a:moveTo>
                          <a:cubicBezTo>
                            <a:pt x="286721" y="50552"/>
                            <a:pt x="263340" y="127751"/>
                            <a:pt x="195153" y="144341"/>
                          </a:cubicBezTo>
                          <a:cubicBezTo>
                            <a:pt x="115211" y="163934"/>
                            <a:pt x="73411" y="76024"/>
                            <a:pt x="0" y="90654"/>
                          </a:cubicBezTo>
                          <a:lnTo>
                            <a:pt x="0" y="366403"/>
                          </a:lnTo>
                          <a:cubicBezTo>
                            <a:pt x="108810" y="365096"/>
                            <a:pt x="214225" y="363921"/>
                            <a:pt x="320945" y="362615"/>
                          </a:cubicBezTo>
                          <a:lnTo>
                            <a:pt x="320945" y="0"/>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45" name="Freeform: Shape 744">
                      <a:extLst>
                        <a:ext uri="{FF2B5EF4-FFF2-40B4-BE49-F238E27FC236}">
                          <a16:creationId xmlns:a16="http://schemas.microsoft.com/office/drawing/2014/main" id="{22D6AA47-AABB-A281-565D-0B40DC7B794D}"/>
                        </a:ext>
                      </a:extLst>
                    </p:cNvPr>
                    <p:cNvSpPr/>
                    <p:nvPr/>
                  </p:nvSpPr>
                  <p:spPr>
                    <a:xfrm>
                      <a:off x="1401431" y="5765996"/>
                      <a:ext cx="330088" cy="375591"/>
                    </a:xfrm>
                    <a:custGeom>
                      <a:avLst/>
                      <a:gdLst>
                        <a:gd name="connsiteX0" fmla="*/ 4572 w 330088"/>
                        <a:gd name="connsiteY0" fmla="*/ 375591 h 375591"/>
                        <a:gd name="connsiteX1" fmla="*/ 1306 w 330088"/>
                        <a:gd name="connsiteY1" fmla="*/ 374285 h 375591"/>
                        <a:gd name="connsiteX2" fmla="*/ 0 w 330088"/>
                        <a:gd name="connsiteY2" fmla="*/ 371019 h 375591"/>
                        <a:gd name="connsiteX3" fmla="*/ 0 w 330088"/>
                        <a:gd name="connsiteY3" fmla="*/ 95271 h 375591"/>
                        <a:gd name="connsiteX4" fmla="*/ 3657 w 330088"/>
                        <a:gd name="connsiteY4" fmla="*/ 90699 h 375591"/>
                        <a:gd name="connsiteX5" fmla="*/ 98883 w 330088"/>
                        <a:gd name="connsiteY5" fmla="*/ 117999 h 375591"/>
                        <a:gd name="connsiteX6" fmla="*/ 198550 w 330088"/>
                        <a:gd name="connsiteY6" fmla="*/ 144385 h 375591"/>
                        <a:gd name="connsiteX7" fmla="*/ 297302 w 330088"/>
                        <a:gd name="connsiteY7" fmla="*/ 43151 h 375591"/>
                        <a:gd name="connsiteX8" fmla="*/ 321598 w 330088"/>
                        <a:gd name="connsiteY8" fmla="*/ 2004 h 375591"/>
                        <a:gd name="connsiteX9" fmla="*/ 326823 w 330088"/>
                        <a:gd name="connsiteY9" fmla="*/ 176 h 375591"/>
                        <a:gd name="connsiteX10" fmla="*/ 330089 w 330088"/>
                        <a:gd name="connsiteY10" fmla="*/ 4617 h 375591"/>
                        <a:gd name="connsiteX11" fmla="*/ 330089 w 330088"/>
                        <a:gd name="connsiteY11" fmla="*/ 367231 h 375591"/>
                        <a:gd name="connsiteX12" fmla="*/ 325517 w 330088"/>
                        <a:gd name="connsiteY12" fmla="*/ 371803 h 375591"/>
                        <a:gd name="connsiteX13" fmla="*/ 230422 w 330088"/>
                        <a:gd name="connsiteY13" fmla="*/ 372979 h 375591"/>
                        <a:gd name="connsiteX14" fmla="*/ 4572 w 330088"/>
                        <a:gd name="connsiteY14" fmla="*/ 375591 h 375591"/>
                        <a:gd name="connsiteX15" fmla="*/ 4572 w 330088"/>
                        <a:gd name="connsiteY15" fmla="*/ 375591 h 375591"/>
                        <a:gd name="connsiteX16" fmla="*/ 9144 w 330088"/>
                        <a:gd name="connsiteY16" fmla="*/ 99058 h 375591"/>
                        <a:gd name="connsiteX17" fmla="*/ 9144 w 330088"/>
                        <a:gd name="connsiteY17" fmla="*/ 366317 h 375591"/>
                        <a:gd name="connsiteX18" fmla="*/ 230422 w 330088"/>
                        <a:gd name="connsiteY18" fmla="*/ 363704 h 375591"/>
                        <a:gd name="connsiteX19" fmla="*/ 320945 w 330088"/>
                        <a:gd name="connsiteY19" fmla="*/ 362659 h 375591"/>
                        <a:gd name="connsiteX20" fmla="*/ 320945 w 330088"/>
                        <a:gd name="connsiteY20" fmla="*/ 20422 h 375591"/>
                        <a:gd name="connsiteX21" fmla="*/ 305531 w 330088"/>
                        <a:gd name="connsiteY21" fmla="*/ 47593 h 375591"/>
                        <a:gd name="connsiteX22" fmla="*/ 200901 w 330088"/>
                        <a:gd name="connsiteY22" fmla="*/ 153398 h 375591"/>
                        <a:gd name="connsiteX23" fmla="*/ 94311 w 330088"/>
                        <a:gd name="connsiteY23" fmla="*/ 126098 h 375591"/>
                        <a:gd name="connsiteX24" fmla="*/ 9274 w 330088"/>
                        <a:gd name="connsiteY24" fmla="*/ 99189 h 3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0088" h="375591">
                          <a:moveTo>
                            <a:pt x="4572" y="375591"/>
                          </a:moveTo>
                          <a:cubicBezTo>
                            <a:pt x="3396" y="375591"/>
                            <a:pt x="2221" y="375069"/>
                            <a:pt x="1306" y="374285"/>
                          </a:cubicBezTo>
                          <a:cubicBezTo>
                            <a:pt x="392" y="373370"/>
                            <a:pt x="0" y="372195"/>
                            <a:pt x="0" y="371019"/>
                          </a:cubicBezTo>
                          <a:lnTo>
                            <a:pt x="0" y="95271"/>
                          </a:lnTo>
                          <a:cubicBezTo>
                            <a:pt x="0" y="93050"/>
                            <a:pt x="1568" y="91221"/>
                            <a:pt x="3657" y="90699"/>
                          </a:cubicBezTo>
                          <a:cubicBezTo>
                            <a:pt x="40755" y="83253"/>
                            <a:pt x="70276" y="101018"/>
                            <a:pt x="98883" y="117999"/>
                          </a:cubicBezTo>
                          <a:cubicBezTo>
                            <a:pt x="129841" y="136548"/>
                            <a:pt x="159101" y="154052"/>
                            <a:pt x="198550" y="144385"/>
                          </a:cubicBezTo>
                          <a:cubicBezTo>
                            <a:pt x="248056" y="132237"/>
                            <a:pt x="273136" y="86910"/>
                            <a:pt x="297302" y="43151"/>
                          </a:cubicBezTo>
                          <a:cubicBezTo>
                            <a:pt x="305401" y="28521"/>
                            <a:pt x="313108" y="14675"/>
                            <a:pt x="321598" y="2004"/>
                          </a:cubicBezTo>
                          <a:cubicBezTo>
                            <a:pt x="322774" y="306"/>
                            <a:pt x="324864" y="-347"/>
                            <a:pt x="326823" y="176"/>
                          </a:cubicBezTo>
                          <a:cubicBezTo>
                            <a:pt x="328783" y="829"/>
                            <a:pt x="330089" y="2527"/>
                            <a:pt x="330089" y="4617"/>
                          </a:cubicBezTo>
                          <a:lnTo>
                            <a:pt x="330089" y="367231"/>
                          </a:lnTo>
                          <a:cubicBezTo>
                            <a:pt x="330089" y="369713"/>
                            <a:pt x="327999" y="371803"/>
                            <a:pt x="325517" y="371803"/>
                          </a:cubicBezTo>
                          <a:lnTo>
                            <a:pt x="230422" y="372979"/>
                          </a:lnTo>
                          <a:cubicBezTo>
                            <a:pt x="155705" y="373893"/>
                            <a:pt x="80987" y="374807"/>
                            <a:pt x="4572" y="375591"/>
                          </a:cubicBezTo>
                          <a:lnTo>
                            <a:pt x="4572" y="375591"/>
                          </a:lnTo>
                          <a:close/>
                          <a:moveTo>
                            <a:pt x="9144" y="99058"/>
                          </a:moveTo>
                          <a:lnTo>
                            <a:pt x="9144" y="366317"/>
                          </a:lnTo>
                          <a:cubicBezTo>
                            <a:pt x="83861" y="365402"/>
                            <a:pt x="157142" y="364619"/>
                            <a:pt x="230422" y="363704"/>
                          </a:cubicBezTo>
                          <a:lnTo>
                            <a:pt x="320945" y="362659"/>
                          </a:lnTo>
                          <a:lnTo>
                            <a:pt x="320945" y="20422"/>
                          </a:lnTo>
                          <a:cubicBezTo>
                            <a:pt x="315720" y="29044"/>
                            <a:pt x="310756" y="38188"/>
                            <a:pt x="305531" y="47593"/>
                          </a:cubicBezTo>
                          <a:cubicBezTo>
                            <a:pt x="281496" y="91090"/>
                            <a:pt x="254196" y="140336"/>
                            <a:pt x="200901" y="153398"/>
                          </a:cubicBezTo>
                          <a:cubicBezTo>
                            <a:pt x="157664" y="163979"/>
                            <a:pt x="125400" y="144647"/>
                            <a:pt x="94311" y="126098"/>
                          </a:cubicBezTo>
                          <a:cubicBezTo>
                            <a:pt x="67011" y="109770"/>
                            <a:pt x="41277" y="94356"/>
                            <a:pt x="9274" y="991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46" name="Graphic 717">
                    <a:extLst>
                      <a:ext uri="{FF2B5EF4-FFF2-40B4-BE49-F238E27FC236}">
                        <a16:creationId xmlns:a16="http://schemas.microsoft.com/office/drawing/2014/main" id="{E57C1AD1-84B5-CDC7-5ECE-E6271C0F2E1D}"/>
                      </a:ext>
                    </a:extLst>
                  </p:cNvPr>
                  <p:cNvGrpSpPr/>
                  <p:nvPr/>
                </p:nvGrpSpPr>
                <p:grpSpPr>
                  <a:xfrm>
                    <a:off x="1912827" y="5571863"/>
                    <a:ext cx="216706" cy="563976"/>
                    <a:chOff x="1912827" y="5571863"/>
                    <a:chExt cx="216706" cy="563976"/>
                  </a:xfrm>
                  <a:grpFill/>
                </p:grpSpPr>
                <p:sp>
                  <p:nvSpPr>
                    <p:cNvPr id="747" name="Freeform: Shape 746">
                      <a:extLst>
                        <a:ext uri="{FF2B5EF4-FFF2-40B4-BE49-F238E27FC236}">
                          <a16:creationId xmlns:a16="http://schemas.microsoft.com/office/drawing/2014/main" id="{6F69CFA6-1FC5-91C6-1F2E-B2F2BCF26655}"/>
                        </a:ext>
                      </a:extLst>
                    </p:cNvPr>
                    <p:cNvSpPr/>
                    <p:nvPr/>
                  </p:nvSpPr>
                  <p:spPr>
                    <a:xfrm>
                      <a:off x="1917399" y="5576243"/>
                      <a:ext cx="207693" cy="554763"/>
                    </a:xfrm>
                    <a:custGeom>
                      <a:avLst/>
                      <a:gdLst>
                        <a:gd name="connsiteX0" fmla="*/ 37097 w 207693"/>
                        <a:gd name="connsiteY0" fmla="*/ 241003 h 554763"/>
                        <a:gd name="connsiteX1" fmla="*/ 0 w 207693"/>
                        <a:gd name="connsiteY1" fmla="*/ 231336 h 554763"/>
                        <a:gd name="connsiteX2" fmla="*/ 0 w 207693"/>
                        <a:gd name="connsiteY2" fmla="*/ 554763 h 554763"/>
                        <a:gd name="connsiteX3" fmla="*/ 207693 w 207693"/>
                        <a:gd name="connsiteY3" fmla="*/ 552412 h 554763"/>
                        <a:gd name="connsiteX4" fmla="*/ 207693 w 207693"/>
                        <a:gd name="connsiteY4" fmla="*/ 0 h 554763"/>
                        <a:gd name="connsiteX5" fmla="*/ 37097 w 207693"/>
                        <a:gd name="connsiteY5" fmla="*/ 241003 h 5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693" h="554763">
                          <a:moveTo>
                            <a:pt x="37097" y="241003"/>
                          </a:moveTo>
                          <a:cubicBezTo>
                            <a:pt x="23382" y="241395"/>
                            <a:pt x="11234" y="237606"/>
                            <a:pt x="0" y="231336"/>
                          </a:cubicBezTo>
                          <a:lnTo>
                            <a:pt x="0" y="554763"/>
                          </a:lnTo>
                          <a:cubicBezTo>
                            <a:pt x="67402" y="553980"/>
                            <a:pt x="136242" y="553196"/>
                            <a:pt x="207693" y="552412"/>
                          </a:cubicBezTo>
                          <a:lnTo>
                            <a:pt x="207693" y="0"/>
                          </a:lnTo>
                          <a:cubicBezTo>
                            <a:pt x="140291" y="194892"/>
                            <a:pt x="80726" y="239566"/>
                            <a:pt x="37097" y="24100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48" name="Freeform: Shape 747">
                      <a:extLst>
                        <a:ext uri="{FF2B5EF4-FFF2-40B4-BE49-F238E27FC236}">
                          <a16:creationId xmlns:a16="http://schemas.microsoft.com/office/drawing/2014/main" id="{F4BD2F4F-EAEB-9FEE-4808-B95033A9B870}"/>
                        </a:ext>
                      </a:extLst>
                    </p:cNvPr>
                    <p:cNvSpPr/>
                    <p:nvPr/>
                  </p:nvSpPr>
                  <p:spPr>
                    <a:xfrm>
                      <a:off x="1912827" y="5571863"/>
                      <a:ext cx="216706" cy="563976"/>
                    </a:xfrm>
                    <a:custGeom>
                      <a:avLst/>
                      <a:gdLst>
                        <a:gd name="connsiteX0" fmla="*/ 4572 w 216706"/>
                        <a:gd name="connsiteY0" fmla="*/ 563715 h 563976"/>
                        <a:gd name="connsiteX1" fmla="*/ 1306 w 216706"/>
                        <a:gd name="connsiteY1" fmla="*/ 562409 h 563976"/>
                        <a:gd name="connsiteX2" fmla="*/ 0 w 216706"/>
                        <a:gd name="connsiteY2" fmla="*/ 559143 h 563976"/>
                        <a:gd name="connsiteX3" fmla="*/ 0 w 216706"/>
                        <a:gd name="connsiteY3" fmla="*/ 235716 h 563976"/>
                        <a:gd name="connsiteX4" fmla="*/ 2221 w 216706"/>
                        <a:gd name="connsiteY4" fmla="*/ 231798 h 563976"/>
                        <a:gd name="connsiteX5" fmla="*/ 6793 w 216706"/>
                        <a:gd name="connsiteY5" fmla="*/ 231798 h 563976"/>
                        <a:gd name="connsiteX6" fmla="*/ 41408 w 216706"/>
                        <a:gd name="connsiteY6" fmla="*/ 240941 h 563976"/>
                        <a:gd name="connsiteX7" fmla="*/ 41408 w 216706"/>
                        <a:gd name="connsiteY7" fmla="*/ 240941 h 563976"/>
                        <a:gd name="connsiteX8" fmla="*/ 207824 w 216706"/>
                        <a:gd name="connsiteY8" fmla="*/ 3074 h 563976"/>
                        <a:gd name="connsiteX9" fmla="*/ 212918 w 216706"/>
                        <a:gd name="connsiteY9" fmla="*/ 69 h 563976"/>
                        <a:gd name="connsiteX10" fmla="*/ 216706 w 216706"/>
                        <a:gd name="connsiteY10" fmla="*/ 4641 h 563976"/>
                        <a:gd name="connsiteX11" fmla="*/ 216706 w 216706"/>
                        <a:gd name="connsiteY11" fmla="*/ 557053 h 563976"/>
                        <a:gd name="connsiteX12" fmla="*/ 212135 w 216706"/>
                        <a:gd name="connsiteY12" fmla="*/ 561625 h 563976"/>
                        <a:gd name="connsiteX13" fmla="*/ 4441 w 216706"/>
                        <a:gd name="connsiteY13" fmla="*/ 563976 h 563976"/>
                        <a:gd name="connsiteX14" fmla="*/ 4441 w 216706"/>
                        <a:gd name="connsiteY14" fmla="*/ 563976 h 563976"/>
                        <a:gd name="connsiteX15" fmla="*/ 9144 w 216706"/>
                        <a:gd name="connsiteY15" fmla="*/ 243162 h 563976"/>
                        <a:gd name="connsiteX16" fmla="*/ 9144 w 216706"/>
                        <a:gd name="connsiteY16" fmla="*/ 554441 h 563976"/>
                        <a:gd name="connsiteX17" fmla="*/ 207563 w 216706"/>
                        <a:gd name="connsiteY17" fmla="*/ 552220 h 563976"/>
                        <a:gd name="connsiteX18" fmla="*/ 207563 w 216706"/>
                        <a:gd name="connsiteY18" fmla="*/ 31027 h 563976"/>
                        <a:gd name="connsiteX19" fmla="*/ 41669 w 216706"/>
                        <a:gd name="connsiteY19" fmla="*/ 249954 h 563976"/>
                        <a:gd name="connsiteX20" fmla="*/ 41669 w 216706"/>
                        <a:gd name="connsiteY20" fmla="*/ 249954 h 563976"/>
                        <a:gd name="connsiteX21" fmla="*/ 9013 w 216706"/>
                        <a:gd name="connsiteY21" fmla="*/ 243162 h 563976"/>
                        <a:gd name="connsiteX22" fmla="*/ 41539 w 216706"/>
                        <a:gd name="connsiteY22" fmla="*/ 245383 h 563976"/>
                        <a:gd name="connsiteX23" fmla="*/ 41539 w 216706"/>
                        <a:gd name="connsiteY23" fmla="*/ 245383 h 563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6706" h="563976">
                          <a:moveTo>
                            <a:pt x="4572" y="563715"/>
                          </a:moveTo>
                          <a:cubicBezTo>
                            <a:pt x="3396" y="563715"/>
                            <a:pt x="2221" y="563193"/>
                            <a:pt x="1306" y="562409"/>
                          </a:cubicBezTo>
                          <a:cubicBezTo>
                            <a:pt x="392" y="561494"/>
                            <a:pt x="0" y="560319"/>
                            <a:pt x="0" y="559143"/>
                          </a:cubicBezTo>
                          <a:lnTo>
                            <a:pt x="0" y="235716"/>
                          </a:lnTo>
                          <a:cubicBezTo>
                            <a:pt x="0" y="234018"/>
                            <a:pt x="914" y="232581"/>
                            <a:pt x="2221" y="231798"/>
                          </a:cubicBezTo>
                          <a:cubicBezTo>
                            <a:pt x="3657" y="231014"/>
                            <a:pt x="5356" y="231014"/>
                            <a:pt x="6793" y="231798"/>
                          </a:cubicBezTo>
                          <a:cubicBezTo>
                            <a:pt x="18418" y="238329"/>
                            <a:pt x="29782" y="241203"/>
                            <a:pt x="41408" y="240941"/>
                          </a:cubicBezTo>
                          <a:lnTo>
                            <a:pt x="41408" y="240941"/>
                          </a:lnTo>
                          <a:cubicBezTo>
                            <a:pt x="97838" y="239243"/>
                            <a:pt x="153745" y="159170"/>
                            <a:pt x="207824" y="3074"/>
                          </a:cubicBezTo>
                          <a:cubicBezTo>
                            <a:pt x="208608" y="983"/>
                            <a:pt x="210698" y="-323"/>
                            <a:pt x="212918" y="69"/>
                          </a:cubicBezTo>
                          <a:cubicBezTo>
                            <a:pt x="215139" y="461"/>
                            <a:pt x="216706" y="2421"/>
                            <a:pt x="216706" y="4641"/>
                          </a:cubicBezTo>
                          <a:lnTo>
                            <a:pt x="216706" y="557053"/>
                          </a:lnTo>
                          <a:cubicBezTo>
                            <a:pt x="216706" y="559535"/>
                            <a:pt x="214617" y="561625"/>
                            <a:pt x="212135" y="561625"/>
                          </a:cubicBezTo>
                          <a:cubicBezTo>
                            <a:pt x="140683" y="562409"/>
                            <a:pt x="71844" y="563193"/>
                            <a:pt x="4441" y="563976"/>
                          </a:cubicBezTo>
                          <a:lnTo>
                            <a:pt x="4441" y="563976"/>
                          </a:lnTo>
                          <a:close/>
                          <a:moveTo>
                            <a:pt x="9144" y="243162"/>
                          </a:moveTo>
                          <a:lnTo>
                            <a:pt x="9144" y="554441"/>
                          </a:lnTo>
                          <a:cubicBezTo>
                            <a:pt x="73672" y="553657"/>
                            <a:pt x="139507" y="553004"/>
                            <a:pt x="207563" y="552220"/>
                          </a:cubicBezTo>
                          <a:lnTo>
                            <a:pt x="207563" y="31027"/>
                          </a:lnTo>
                          <a:cubicBezTo>
                            <a:pt x="154268" y="176413"/>
                            <a:pt x="99928" y="248126"/>
                            <a:pt x="41669" y="249954"/>
                          </a:cubicBezTo>
                          <a:lnTo>
                            <a:pt x="41669" y="249954"/>
                          </a:lnTo>
                          <a:cubicBezTo>
                            <a:pt x="30566" y="250346"/>
                            <a:pt x="19855" y="248126"/>
                            <a:pt x="9013" y="243162"/>
                          </a:cubicBezTo>
                          <a:close/>
                          <a:moveTo>
                            <a:pt x="41539" y="245383"/>
                          </a:moveTo>
                          <a:lnTo>
                            <a:pt x="41539" y="245383"/>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grpSp>
            <p:nvGrpSpPr>
              <p:cNvPr id="749" name="Graphic 717">
                <a:extLst>
                  <a:ext uri="{FF2B5EF4-FFF2-40B4-BE49-F238E27FC236}">
                    <a16:creationId xmlns:a16="http://schemas.microsoft.com/office/drawing/2014/main" id="{3E162CFB-6E88-ADF2-EB2D-93B851F437B9}"/>
                  </a:ext>
                </a:extLst>
              </p:cNvPr>
              <p:cNvGrpSpPr/>
              <p:nvPr/>
            </p:nvGrpSpPr>
            <p:grpSpPr>
              <a:xfrm>
                <a:off x="6098578" y="959392"/>
                <a:ext cx="1335974" cy="653134"/>
                <a:chOff x="29920" y="2747433"/>
                <a:chExt cx="1047442" cy="497419"/>
              </a:xfrm>
              <a:noFill/>
            </p:grpSpPr>
            <p:grpSp>
              <p:nvGrpSpPr>
                <p:cNvPr id="750" name="Graphic 717">
                  <a:extLst>
                    <a:ext uri="{FF2B5EF4-FFF2-40B4-BE49-F238E27FC236}">
                      <a16:creationId xmlns:a16="http://schemas.microsoft.com/office/drawing/2014/main" id="{F0769801-33E3-0C5F-DC90-A51B6E87197F}"/>
                    </a:ext>
                  </a:extLst>
                </p:cNvPr>
                <p:cNvGrpSpPr/>
                <p:nvPr/>
              </p:nvGrpSpPr>
              <p:grpSpPr>
                <a:xfrm>
                  <a:off x="29920" y="2747433"/>
                  <a:ext cx="1047442" cy="497419"/>
                  <a:chOff x="29920" y="2747433"/>
                  <a:chExt cx="1047442" cy="497419"/>
                </a:xfrm>
                <a:grpFill/>
              </p:grpSpPr>
              <p:sp>
                <p:nvSpPr>
                  <p:cNvPr id="751" name="Freeform: Shape 750">
                    <a:extLst>
                      <a:ext uri="{FF2B5EF4-FFF2-40B4-BE49-F238E27FC236}">
                        <a16:creationId xmlns:a16="http://schemas.microsoft.com/office/drawing/2014/main" id="{5FF31502-31F4-CFB9-E66D-FD49C4B96387}"/>
                      </a:ext>
                    </a:extLst>
                  </p:cNvPr>
                  <p:cNvSpPr/>
                  <p:nvPr/>
                </p:nvSpPr>
                <p:spPr>
                  <a:xfrm>
                    <a:off x="32861" y="2750307"/>
                    <a:ext cx="1041579" cy="491802"/>
                  </a:xfrm>
                  <a:custGeom>
                    <a:avLst/>
                    <a:gdLst>
                      <a:gd name="connsiteX0" fmla="*/ 1039265 w 1041579"/>
                      <a:gd name="connsiteY0" fmla="*/ 491149 h 491802"/>
                      <a:gd name="connsiteX1" fmla="*/ 1040571 w 1041579"/>
                      <a:gd name="connsiteY1" fmla="*/ 0 h 491802"/>
                      <a:gd name="connsiteX2" fmla="*/ 1451 w 1041579"/>
                      <a:gd name="connsiteY2" fmla="*/ 914 h 491802"/>
                      <a:gd name="connsiteX3" fmla="*/ 1451 w 1041579"/>
                      <a:gd name="connsiteY3" fmla="*/ 491802 h 491802"/>
                      <a:gd name="connsiteX4" fmla="*/ 1039396 w 1041579"/>
                      <a:gd name="connsiteY4" fmla="*/ 491280 h 491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579" h="491802">
                        <a:moveTo>
                          <a:pt x="1039265" y="491149"/>
                        </a:moveTo>
                        <a:cubicBezTo>
                          <a:pt x="1039265" y="315067"/>
                          <a:pt x="1043445" y="165371"/>
                          <a:pt x="1040571" y="0"/>
                        </a:cubicBezTo>
                        <a:cubicBezTo>
                          <a:pt x="696114" y="0"/>
                          <a:pt x="348521" y="3527"/>
                          <a:pt x="1451" y="914"/>
                        </a:cubicBezTo>
                        <a:cubicBezTo>
                          <a:pt x="-1814" y="169420"/>
                          <a:pt x="1451" y="327868"/>
                          <a:pt x="1451" y="491802"/>
                        </a:cubicBezTo>
                        <a:cubicBezTo>
                          <a:pt x="348391" y="491802"/>
                          <a:pt x="694155" y="491280"/>
                          <a:pt x="1039396" y="491280"/>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52" name="Freeform: Shape 751">
                    <a:extLst>
                      <a:ext uri="{FF2B5EF4-FFF2-40B4-BE49-F238E27FC236}">
                        <a16:creationId xmlns:a16="http://schemas.microsoft.com/office/drawing/2014/main" id="{E132C398-7F73-9BA6-93AA-2EECAB727EF9}"/>
                      </a:ext>
                    </a:extLst>
                  </p:cNvPr>
                  <p:cNvSpPr/>
                  <p:nvPr/>
                </p:nvSpPr>
                <p:spPr>
                  <a:xfrm>
                    <a:off x="29920" y="2747433"/>
                    <a:ext cx="1047442" cy="497419"/>
                  </a:xfrm>
                  <a:custGeom>
                    <a:avLst/>
                    <a:gdLst>
                      <a:gd name="connsiteX0" fmla="*/ 4393 w 1047442"/>
                      <a:gd name="connsiteY0" fmla="*/ 497419 h 497419"/>
                      <a:gd name="connsiteX1" fmla="*/ 1519 w 1047442"/>
                      <a:gd name="connsiteY1" fmla="*/ 494545 h 497419"/>
                      <a:gd name="connsiteX2" fmla="*/ 735 w 1047442"/>
                      <a:gd name="connsiteY2" fmla="*/ 331918 h 497419"/>
                      <a:gd name="connsiteX3" fmla="*/ 1519 w 1047442"/>
                      <a:gd name="connsiteY3" fmla="*/ 3657 h 497419"/>
                      <a:gd name="connsiteX4" fmla="*/ 4393 w 1047442"/>
                      <a:gd name="connsiteY4" fmla="*/ 914 h 497419"/>
                      <a:gd name="connsiteX5" fmla="*/ 4393 w 1047442"/>
                      <a:gd name="connsiteY5" fmla="*/ 914 h 497419"/>
                      <a:gd name="connsiteX6" fmla="*/ 665746 w 1047442"/>
                      <a:gd name="connsiteY6" fmla="*/ 914 h 497419"/>
                      <a:gd name="connsiteX7" fmla="*/ 1043513 w 1047442"/>
                      <a:gd name="connsiteY7" fmla="*/ 0 h 497419"/>
                      <a:gd name="connsiteX8" fmla="*/ 1046386 w 1047442"/>
                      <a:gd name="connsiteY8" fmla="*/ 2743 h 497419"/>
                      <a:gd name="connsiteX9" fmla="*/ 1046386 w 1047442"/>
                      <a:gd name="connsiteY9" fmla="*/ 302266 h 497419"/>
                      <a:gd name="connsiteX10" fmla="*/ 1045211 w 1047442"/>
                      <a:gd name="connsiteY10" fmla="*/ 494023 h 497419"/>
                      <a:gd name="connsiteX11" fmla="*/ 1042337 w 1047442"/>
                      <a:gd name="connsiteY11" fmla="*/ 496897 h 497419"/>
                      <a:gd name="connsiteX12" fmla="*/ 524671 w 1047442"/>
                      <a:gd name="connsiteY12" fmla="*/ 497158 h 497419"/>
                      <a:gd name="connsiteX13" fmla="*/ 4393 w 1047442"/>
                      <a:gd name="connsiteY13" fmla="*/ 497419 h 497419"/>
                      <a:gd name="connsiteX14" fmla="*/ 7136 w 1047442"/>
                      <a:gd name="connsiteY14" fmla="*/ 6662 h 497419"/>
                      <a:gd name="connsiteX15" fmla="*/ 6483 w 1047442"/>
                      <a:gd name="connsiteY15" fmla="*/ 331918 h 497419"/>
                      <a:gd name="connsiteX16" fmla="*/ 7267 w 1047442"/>
                      <a:gd name="connsiteY16" fmla="*/ 491802 h 497419"/>
                      <a:gd name="connsiteX17" fmla="*/ 524671 w 1047442"/>
                      <a:gd name="connsiteY17" fmla="*/ 491541 h 497419"/>
                      <a:gd name="connsiteX18" fmla="*/ 1039463 w 1047442"/>
                      <a:gd name="connsiteY18" fmla="*/ 491280 h 497419"/>
                      <a:gd name="connsiteX19" fmla="*/ 1040639 w 1047442"/>
                      <a:gd name="connsiteY19" fmla="*/ 302396 h 497419"/>
                      <a:gd name="connsiteX20" fmla="*/ 1040770 w 1047442"/>
                      <a:gd name="connsiteY20" fmla="*/ 5878 h 497419"/>
                      <a:gd name="connsiteX21" fmla="*/ 665746 w 1047442"/>
                      <a:gd name="connsiteY21" fmla="*/ 6792 h 497419"/>
                      <a:gd name="connsiteX22" fmla="*/ 7136 w 1047442"/>
                      <a:gd name="connsiteY22" fmla="*/ 6792 h 497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47442" h="497419">
                        <a:moveTo>
                          <a:pt x="4393" y="497419"/>
                        </a:moveTo>
                        <a:cubicBezTo>
                          <a:pt x="2825" y="497419"/>
                          <a:pt x="1519" y="496113"/>
                          <a:pt x="1519" y="494545"/>
                        </a:cubicBezTo>
                        <a:cubicBezTo>
                          <a:pt x="1519" y="439944"/>
                          <a:pt x="1127" y="384951"/>
                          <a:pt x="735" y="331918"/>
                        </a:cubicBezTo>
                        <a:cubicBezTo>
                          <a:pt x="-48" y="225850"/>
                          <a:pt x="-702" y="115995"/>
                          <a:pt x="1519" y="3657"/>
                        </a:cubicBezTo>
                        <a:cubicBezTo>
                          <a:pt x="1519" y="2090"/>
                          <a:pt x="2825" y="914"/>
                          <a:pt x="4393" y="914"/>
                        </a:cubicBezTo>
                        <a:lnTo>
                          <a:pt x="4393" y="914"/>
                        </a:lnTo>
                        <a:cubicBezTo>
                          <a:pt x="224887" y="2613"/>
                          <a:pt x="449039" y="1698"/>
                          <a:pt x="665746" y="914"/>
                        </a:cubicBezTo>
                        <a:cubicBezTo>
                          <a:pt x="789709" y="392"/>
                          <a:pt x="917982" y="0"/>
                          <a:pt x="1043513" y="0"/>
                        </a:cubicBezTo>
                        <a:cubicBezTo>
                          <a:pt x="1045080" y="0"/>
                          <a:pt x="1046256" y="1176"/>
                          <a:pt x="1046386" y="2743"/>
                        </a:cubicBezTo>
                        <a:cubicBezTo>
                          <a:pt x="1048215" y="105284"/>
                          <a:pt x="1047301" y="200901"/>
                          <a:pt x="1046386" y="302266"/>
                        </a:cubicBezTo>
                        <a:cubicBezTo>
                          <a:pt x="1045864" y="363659"/>
                          <a:pt x="1045211" y="427012"/>
                          <a:pt x="1045211" y="494023"/>
                        </a:cubicBezTo>
                        <a:cubicBezTo>
                          <a:pt x="1045211" y="495590"/>
                          <a:pt x="1043905" y="496897"/>
                          <a:pt x="1042337" y="496897"/>
                        </a:cubicBezTo>
                        <a:cubicBezTo>
                          <a:pt x="869912" y="496897"/>
                          <a:pt x="694483" y="497027"/>
                          <a:pt x="524671" y="497158"/>
                        </a:cubicBezTo>
                        <a:cubicBezTo>
                          <a:pt x="354337" y="497289"/>
                          <a:pt x="178124" y="497419"/>
                          <a:pt x="4393" y="497419"/>
                        </a:cubicBezTo>
                        <a:close/>
                        <a:moveTo>
                          <a:pt x="7136" y="6662"/>
                        </a:moveTo>
                        <a:cubicBezTo>
                          <a:pt x="5046" y="117954"/>
                          <a:pt x="5699" y="226765"/>
                          <a:pt x="6483" y="331918"/>
                        </a:cubicBezTo>
                        <a:cubicBezTo>
                          <a:pt x="6875" y="384167"/>
                          <a:pt x="7267" y="438115"/>
                          <a:pt x="7267" y="491802"/>
                        </a:cubicBezTo>
                        <a:cubicBezTo>
                          <a:pt x="180083" y="491802"/>
                          <a:pt x="355251" y="491672"/>
                          <a:pt x="524671" y="491541"/>
                        </a:cubicBezTo>
                        <a:cubicBezTo>
                          <a:pt x="693438" y="491410"/>
                          <a:pt x="868084" y="491280"/>
                          <a:pt x="1039463" y="491280"/>
                        </a:cubicBezTo>
                        <a:cubicBezTo>
                          <a:pt x="1039463" y="425314"/>
                          <a:pt x="1040117" y="362876"/>
                          <a:pt x="1040639" y="302396"/>
                        </a:cubicBezTo>
                        <a:cubicBezTo>
                          <a:pt x="1041553" y="202076"/>
                          <a:pt x="1042468" y="107243"/>
                          <a:pt x="1040770" y="5878"/>
                        </a:cubicBezTo>
                        <a:cubicBezTo>
                          <a:pt x="916023" y="5878"/>
                          <a:pt x="788795" y="6401"/>
                          <a:pt x="665746" y="6792"/>
                        </a:cubicBezTo>
                        <a:cubicBezTo>
                          <a:pt x="449954" y="7576"/>
                          <a:pt x="226847" y="8491"/>
                          <a:pt x="7136" y="679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53" name="Graphic 717">
                  <a:extLst>
                    <a:ext uri="{FF2B5EF4-FFF2-40B4-BE49-F238E27FC236}">
                      <a16:creationId xmlns:a16="http://schemas.microsoft.com/office/drawing/2014/main" id="{050598FA-F02A-64E1-9790-0D7BC7ABE5D4}"/>
                    </a:ext>
                  </a:extLst>
                </p:cNvPr>
                <p:cNvGrpSpPr/>
                <p:nvPr/>
              </p:nvGrpSpPr>
              <p:grpSpPr>
                <a:xfrm>
                  <a:off x="628133" y="2898566"/>
                  <a:ext cx="302265" cy="152439"/>
                  <a:chOff x="628133" y="2898566"/>
                  <a:chExt cx="302265" cy="152439"/>
                </a:xfrm>
                <a:grpFill/>
              </p:grpSpPr>
              <p:sp>
                <p:nvSpPr>
                  <p:cNvPr id="754" name="Freeform: Shape 753">
                    <a:extLst>
                      <a:ext uri="{FF2B5EF4-FFF2-40B4-BE49-F238E27FC236}">
                        <a16:creationId xmlns:a16="http://schemas.microsoft.com/office/drawing/2014/main" id="{373902A4-686A-1F0C-D7C7-10E8DC6FBD58}"/>
                      </a:ext>
                    </a:extLst>
                  </p:cNvPr>
                  <p:cNvSpPr/>
                  <p:nvPr/>
                </p:nvSpPr>
                <p:spPr>
                  <a:xfrm>
                    <a:off x="628133" y="2898566"/>
                    <a:ext cx="211612" cy="6923"/>
                  </a:xfrm>
                  <a:custGeom>
                    <a:avLst/>
                    <a:gdLst>
                      <a:gd name="connsiteX0" fmla="*/ 208738 w 211612"/>
                      <a:gd name="connsiteY0" fmla="*/ 6923 h 6923"/>
                      <a:gd name="connsiteX1" fmla="*/ 208738 w 211612"/>
                      <a:gd name="connsiteY1" fmla="*/ 6923 h 6923"/>
                      <a:gd name="connsiteX2" fmla="*/ 2874 w 211612"/>
                      <a:gd name="connsiteY2" fmla="*/ 5747 h 6923"/>
                      <a:gd name="connsiteX3" fmla="*/ 0 w 211612"/>
                      <a:gd name="connsiteY3" fmla="*/ 2874 h 6923"/>
                      <a:gd name="connsiteX4" fmla="*/ 2874 w 211612"/>
                      <a:gd name="connsiteY4" fmla="*/ 0 h 6923"/>
                      <a:gd name="connsiteX5" fmla="*/ 2874 w 211612"/>
                      <a:gd name="connsiteY5" fmla="*/ 0 h 6923"/>
                      <a:gd name="connsiteX6" fmla="*/ 208738 w 211612"/>
                      <a:gd name="connsiteY6" fmla="*/ 1176 h 6923"/>
                      <a:gd name="connsiteX7" fmla="*/ 211612 w 211612"/>
                      <a:gd name="connsiteY7" fmla="*/ 4049 h 6923"/>
                      <a:gd name="connsiteX8" fmla="*/ 208738 w 211612"/>
                      <a:gd name="connsiteY8" fmla="*/ 6923 h 6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612" h="6923">
                        <a:moveTo>
                          <a:pt x="208738" y="6923"/>
                        </a:moveTo>
                        <a:lnTo>
                          <a:pt x="208738" y="6923"/>
                        </a:lnTo>
                        <a:lnTo>
                          <a:pt x="2874" y="5747"/>
                        </a:lnTo>
                        <a:cubicBezTo>
                          <a:pt x="1306" y="5747"/>
                          <a:pt x="0" y="4441"/>
                          <a:pt x="0" y="2874"/>
                        </a:cubicBezTo>
                        <a:cubicBezTo>
                          <a:pt x="0" y="1306"/>
                          <a:pt x="1306" y="0"/>
                          <a:pt x="2874" y="0"/>
                        </a:cubicBezTo>
                        <a:lnTo>
                          <a:pt x="2874" y="0"/>
                        </a:lnTo>
                        <a:lnTo>
                          <a:pt x="208738" y="1176"/>
                        </a:lnTo>
                        <a:cubicBezTo>
                          <a:pt x="210306" y="1176"/>
                          <a:pt x="211612" y="2482"/>
                          <a:pt x="211612" y="4049"/>
                        </a:cubicBezTo>
                        <a:cubicBezTo>
                          <a:pt x="211612" y="5617"/>
                          <a:pt x="210306" y="6923"/>
                          <a:pt x="208738" y="692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55" name="Freeform: Shape 754">
                    <a:extLst>
                      <a:ext uri="{FF2B5EF4-FFF2-40B4-BE49-F238E27FC236}">
                        <a16:creationId xmlns:a16="http://schemas.microsoft.com/office/drawing/2014/main" id="{DF745162-3411-2AB9-A589-EB9923C3A1F5}"/>
                      </a:ext>
                    </a:extLst>
                  </p:cNvPr>
                  <p:cNvSpPr/>
                  <p:nvPr/>
                </p:nvSpPr>
                <p:spPr>
                  <a:xfrm>
                    <a:off x="628133" y="2971324"/>
                    <a:ext cx="302265" cy="6923"/>
                  </a:xfrm>
                  <a:custGeom>
                    <a:avLst/>
                    <a:gdLst>
                      <a:gd name="connsiteX0" fmla="*/ 299392 w 302265"/>
                      <a:gd name="connsiteY0" fmla="*/ 6923 h 6923"/>
                      <a:gd name="connsiteX1" fmla="*/ 299392 w 302265"/>
                      <a:gd name="connsiteY1" fmla="*/ 6923 h 6923"/>
                      <a:gd name="connsiteX2" fmla="*/ 2874 w 302265"/>
                      <a:gd name="connsiteY2" fmla="*/ 5747 h 6923"/>
                      <a:gd name="connsiteX3" fmla="*/ 0 w 302265"/>
                      <a:gd name="connsiteY3" fmla="*/ 2874 h 6923"/>
                      <a:gd name="connsiteX4" fmla="*/ 2874 w 302265"/>
                      <a:gd name="connsiteY4" fmla="*/ 0 h 6923"/>
                      <a:gd name="connsiteX5" fmla="*/ 2874 w 302265"/>
                      <a:gd name="connsiteY5" fmla="*/ 0 h 6923"/>
                      <a:gd name="connsiteX6" fmla="*/ 299392 w 302265"/>
                      <a:gd name="connsiteY6" fmla="*/ 1176 h 6923"/>
                      <a:gd name="connsiteX7" fmla="*/ 302266 w 302265"/>
                      <a:gd name="connsiteY7" fmla="*/ 4049 h 6923"/>
                      <a:gd name="connsiteX8" fmla="*/ 299392 w 302265"/>
                      <a:gd name="connsiteY8" fmla="*/ 6923 h 6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265" h="6923">
                        <a:moveTo>
                          <a:pt x="299392" y="6923"/>
                        </a:moveTo>
                        <a:lnTo>
                          <a:pt x="299392" y="6923"/>
                        </a:lnTo>
                        <a:lnTo>
                          <a:pt x="2874" y="5747"/>
                        </a:lnTo>
                        <a:cubicBezTo>
                          <a:pt x="1306" y="5747"/>
                          <a:pt x="0" y="4441"/>
                          <a:pt x="0" y="2874"/>
                        </a:cubicBezTo>
                        <a:cubicBezTo>
                          <a:pt x="0" y="1306"/>
                          <a:pt x="1306" y="0"/>
                          <a:pt x="2874" y="0"/>
                        </a:cubicBezTo>
                        <a:lnTo>
                          <a:pt x="2874" y="0"/>
                        </a:lnTo>
                        <a:lnTo>
                          <a:pt x="299392" y="1176"/>
                        </a:lnTo>
                        <a:cubicBezTo>
                          <a:pt x="300959" y="1176"/>
                          <a:pt x="302266" y="2482"/>
                          <a:pt x="302266" y="4049"/>
                        </a:cubicBezTo>
                        <a:cubicBezTo>
                          <a:pt x="302266" y="5617"/>
                          <a:pt x="300959" y="6923"/>
                          <a:pt x="299392" y="692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56" name="Freeform: Shape 755">
                    <a:extLst>
                      <a:ext uri="{FF2B5EF4-FFF2-40B4-BE49-F238E27FC236}">
                        <a16:creationId xmlns:a16="http://schemas.microsoft.com/office/drawing/2014/main" id="{7666B281-C0F0-39CF-5F7F-1E0C9E70AB13}"/>
                      </a:ext>
                    </a:extLst>
                  </p:cNvPr>
                  <p:cNvSpPr/>
                  <p:nvPr/>
                </p:nvSpPr>
                <p:spPr>
                  <a:xfrm>
                    <a:off x="628133" y="3044082"/>
                    <a:ext cx="231858" cy="6923"/>
                  </a:xfrm>
                  <a:custGeom>
                    <a:avLst/>
                    <a:gdLst>
                      <a:gd name="connsiteX0" fmla="*/ 228985 w 231858"/>
                      <a:gd name="connsiteY0" fmla="*/ 6923 h 6923"/>
                      <a:gd name="connsiteX1" fmla="*/ 228985 w 231858"/>
                      <a:gd name="connsiteY1" fmla="*/ 6923 h 6923"/>
                      <a:gd name="connsiteX2" fmla="*/ 2874 w 231858"/>
                      <a:gd name="connsiteY2" fmla="*/ 5747 h 6923"/>
                      <a:gd name="connsiteX3" fmla="*/ 0 w 231858"/>
                      <a:gd name="connsiteY3" fmla="*/ 2874 h 6923"/>
                      <a:gd name="connsiteX4" fmla="*/ 2874 w 231858"/>
                      <a:gd name="connsiteY4" fmla="*/ 0 h 6923"/>
                      <a:gd name="connsiteX5" fmla="*/ 2874 w 231858"/>
                      <a:gd name="connsiteY5" fmla="*/ 0 h 6923"/>
                      <a:gd name="connsiteX6" fmla="*/ 228985 w 231858"/>
                      <a:gd name="connsiteY6" fmla="*/ 1176 h 6923"/>
                      <a:gd name="connsiteX7" fmla="*/ 231859 w 231858"/>
                      <a:gd name="connsiteY7" fmla="*/ 4049 h 6923"/>
                      <a:gd name="connsiteX8" fmla="*/ 228985 w 231858"/>
                      <a:gd name="connsiteY8" fmla="*/ 6923 h 6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858" h="6923">
                        <a:moveTo>
                          <a:pt x="228985" y="6923"/>
                        </a:moveTo>
                        <a:lnTo>
                          <a:pt x="228985" y="6923"/>
                        </a:lnTo>
                        <a:lnTo>
                          <a:pt x="2874" y="5747"/>
                        </a:lnTo>
                        <a:cubicBezTo>
                          <a:pt x="1306" y="5747"/>
                          <a:pt x="0" y="4441"/>
                          <a:pt x="0" y="2874"/>
                        </a:cubicBezTo>
                        <a:cubicBezTo>
                          <a:pt x="0" y="1306"/>
                          <a:pt x="1306" y="0"/>
                          <a:pt x="2874" y="0"/>
                        </a:cubicBezTo>
                        <a:lnTo>
                          <a:pt x="2874" y="0"/>
                        </a:lnTo>
                        <a:lnTo>
                          <a:pt x="228985" y="1176"/>
                        </a:lnTo>
                        <a:cubicBezTo>
                          <a:pt x="230553" y="1176"/>
                          <a:pt x="231859" y="2482"/>
                          <a:pt x="231859" y="4049"/>
                        </a:cubicBezTo>
                        <a:cubicBezTo>
                          <a:pt x="231859" y="5617"/>
                          <a:pt x="230553" y="6923"/>
                          <a:pt x="228985" y="692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57" name="Graphic 717">
                  <a:extLst>
                    <a:ext uri="{FF2B5EF4-FFF2-40B4-BE49-F238E27FC236}">
                      <a16:creationId xmlns:a16="http://schemas.microsoft.com/office/drawing/2014/main" id="{299CFC4B-7F52-A8E3-67B4-5605AD21920A}"/>
                    </a:ext>
                  </a:extLst>
                </p:cNvPr>
                <p:cNvGrpSpPr/>
                <p:nvPr/>
              </p:nvGrpSpPr>
              <p:grpSpPr>
                <a:xfrm>
                  <a:off x="148870" y="2820321"/>
                  <a:ext cx="350147" cy="351641"/>
                  <a:chOff x="148870" y="2820321"/>
                  <a:chExt cx="350147" cy="351641"/>
                </a:xfrm>
                <a:grpFill/>
              </p:grpSpPr>
              <p:grpSp>
                <p:nvGrpSpPr>
                  <p:cNvPr id="758" name="Graphic 717">
                    <a:extLst>
                      <a:ext uri="{FF2B5EF4-FFF2-40B4-BE49-F238E27FC236}">
                        <a16:creationId xmlns:a16="http://schemas.microsoft.com/office/drawing/2014/main" id="{F9C2830A-0B04-0B9E-A499-C6E8205587F1}"/>
                      </a:ext>
                    </a:extLst>
                  </p:cNvPr>
                  <p:cNvGrpSpPr/>
                  <p:nvPr/>
                </p:nvGrpSpPr>
                <p:grpSpPr>
                  <a:xfrm>
                    <a:off x="171419" y="2820321"/>
                    <a:ext cx="299712" cy="125661"/>
                    <a:chOff x="171419" y="2820321"/>
                    <a:chExt cx="299712" cy="125661"/>
                  </a:xfrm>
                  <a:grpFill/>
                </p:grpSpPr>
                <p:sp>
                  <p:nvSpPr>
                    <p:cNvPr id="759" name="Freeform: Shape 758">
                      <a:extLst>
                        <a:ext uri="{FF2B5EF4-FFF2-40B4-BE49-F238E27FC236}">
                          <a16:creationId xmlns:a16="http://schemas.microsoft.com/office/drawing/2014/main" id="{74B0C2A7-1668-C69A-8DEA-EBC6855184D7}"/>
                        </a:ext>
                      </a:extLst>
                    </p:cNvPr>
                    <p:cNvSpPr/>
                    <p:nvPr/>
                  </p:nvSpPr>
                  <p:spPr>
                    <a:xfrm>
                      <a:off x="174342" y="2822934"/>
                      <a:ext cx="294297" cy="120044"/>
                    </a:xfrm>
                    <a:custGeom>
                      <a:avLst/>
                      <a:gdLst>
                        <a:gd name="connsiteX0" fmla="*/ 14107 w 294297"/>
                        <a:gd name="connsiteY0" fmla="*/ 93005 h 120044"/>
                        <a:gd name="connsiteX1" fmla="*/ 0 w 294297"/>
                        <a:gd name="connsiteY1" fmla="*/ 84122 h 120044"/>
                        <a:gd name="connsiteX2" fmla="*/ 139638 w 294297"/>
                        <a:gd name="connsiteY2" fmla="*/ 0 h 120044"/>
                        <a:gd name="connsiteX3" fmla="*/ 249755 w 294297"/>
                        <a:gd name="connsiteY3" fmla="*/ 27562 h 120044"/>
                        <a:gd name="connsiteX4" fmla="*/ 294298 w 294297"/>
                        <a:gd name="connsiteY4" fmla="*/ 75762 h 120044"/>
                        <a:gd name="connsiteX5" fmla="*/ 277839 w 294297"/>
                        <a:gd name="connsiteY5" fmla="*/ 86343 h 120044"/>
                        <a:gd name="connsiteX6" fmla="*/ 237737 w 294297"/>
                        <a:gd name="connsiteY6" fmla="*/ 112337 h 120044"/>
                        <a:gd name="connsiteX7" fmla="*/ 139507 w 294297"/>
                        <a:gd name="connsiteY7" fmla="*/ 61002 h 120044"/>
                        <a:gd name="connsiteX8" fmla="*/ 52772 w 294297"/>
                        <a:gd name="connsiteY8" fmla="*/ 120044 h 120044"/>
                        <a:gd name="connsiteX9" fmla="*/ 14238 w 294297"/>
                        <a:gd name="connsiteY9" fmla="*/ 92874 h 12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297" h="120044">
                          <a:moveTo>
                            <a:pt x="14107" y="93005"/>
                          </a:moveTo>
                          <a:cubicBezTo>
                            <a:pt x="9405" y="90000"/>
                            <a:pt x="4702" y="86996"/>
                            <a:pt x="0" y="84122"/>
                          </a:cubicBezTo>
                          <a:cubicBezTo>
                            <a:pt x="34224" y="21814"/>
                            <a:pt x="99275" y="2874"/>
                            <a:pt x="139638" y="0"/>
                          </a:cubicBezTo>
                          <a:cubicBezTo>
                            <a:pt x="177911" y="1176"/>
                            <a:pt x="204297" y="1176"/>
                            <a:pt x="249755" y="27562"/>
                          </a:cubicBezTo>
                          <a:cubicBezTo>
                            <a:pt x="261250" y="34224"/>
                            <a:pt x="279145" y="50682"/>
                            <a:pt x="294298" y="75762"/>
                          </a:cubicBezTo>
                          <a:cubicBezTo>
                            <a:pt x="288811" y="79289"/>
                            <a:pt x="283325" y="82816"/>
                            <a:pt x="277839" y="86343"/>
                          </a:cubicBezTo>
                          <a:cubicBezTo>
                            <a:pt x="264515" y="94964"/>
                            <a:pt x="251061" y="103585"/>
                            <a:pt x="237737" y="112337"/>
                          </a:cubicBezTo>
                          <a:cubicBezTo>
                            <a:pt x="219319" y="78375"/>
                            <a:pt x="182744" y="61002"/>
                            <a:pt x="139507" y="61002"/>
                          </a:cubicBezTo>
                          <a:cubicBezTo>
                            <a:pt x="96270" y="61002"/>
                            <a:pt x="68056" y="89478"/>
                            <a:pt x="52772" y="120044"/>
                          </a:cubicBezTo>
                          <a:cubicBezTo>
                            <a:pt x="40232" y="110509"/>
                            <a:pt x="27431" y="101365"/>
                            <a:pt x="14238" y="9287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60" name="Freeform: Shape 759">
                      <a:extLst>
                        <a:ext uri="{FF2B5EF4-FFF2-40B4-BE49-F238E27FC236}">
                          <a16:creationId xmlns:a16="http://schemas.microsoft.com/office/drawing/2014/main" id="{BFF6D1D1-F4DF-1E8E-0EAD-B59406225899}"/>
                        </a:ext>
                      </a:extLst>
                    </p:cNvPr>
                    <p:cNvSpPr/>
                    <p:nvPr/>
                  </p:nvSpPr>
                  <p:spPr>
                    <a:xfrm>
                      <a:off x="171419" y="2820321"/>
                      <a:ext cx="299712" cy="125661"/>
                    </a:xfrm>
                    <a:custGeom>
                      <a:avLst/>
                      <a:gdLst>
                        <a:gd name="connsiteX0" fmla="*/ 55565 w 299712"/>
                        <a:gd name="connsiteY0" fmla="*/ 125661 h 125661"/>
                        <a:gd name="connsiteX1" fmla="*/ 53866 w 299712"/>
                        <a:gd name="connsiteY1" fmla="*/ 125139 h 125661"/>
                        <a:gd name="connsiteX2" fmla="*/ 15463 w 299712"/>
                        <a:gd name="connsiteY2" fmla="*/ 98099 h 125661"/>
                        <a:gd name="connsiteX3" fmla="*/ 1355 w 299712"/>
                        <a:gd name="connsiteY3" fmla="*/ 89347 h 125661"/>
                        <a:gd name="connsiteX4" fmla="*/ 310 w 299712"/>
                        <a:gd name="connsiteY4" fmla="*/ 85559 h 125661"/>
                        <a:gd name="connsiteX5" fmla="*/ 142169 w 299712"/>
                        <a:gd name="connsiteY5" fmla="*/ 0 h 125661"/>
                        <a:gd name="connsiteX6" fmla="*/ 142430 w 299712"/>
                        <a:gd name="connsiteY6" fmla="*/ 0 h 125661"/>
                        <a:gd name="connsiteX7" fmla="*/ 146087 w 299712"/>
                        <a:gd name="connsiteY7" fmla="*/ 0 h 125661"/>
                        <a:gd name="connsiteX8" fmla="*/ 253853 w 299712"/>
                        <a:gd name="connsiteY8" fmla="*/ 27954 h 125661"/>
                        <a:gd name="connsiteX9" fmla="*/ 299310 w 299712"/>
                        <a:gd name="connsiteY9" fmla="*/ 77069 h 125661"/>
                        <a:gd name="connsiteX10" fmla="*/ 298396 w 299712"/>
                        <a:gd name="connsiteY10" fmla="*/ 80857 h 125661"/>
                        <a:gd name="connsiteX11" fmla="*/ 281937 w 299712"/>
                        <a:gd name="connsiteY11" fmla="*/ 91437 h 125661"/>
                        <a:gd name="connsiteX12" fmla="*/ 274361 w 299712"/>
                        <a:gd name="connsiteY12" fmla="*/ 96270 h 125661"/>
                        <a:gd name="connsiteX13" fmla="*/ 241835 w 299712"/>
                        <a:gd name="connsiteY13" fmla="*/ 117432 h 125661"/>
                        <a:gd name="connsiteX14" fmla="*/ 239615 w 299712"/>
                        <a:gd name="connsiteY14" fmla="*/ 117824 h 125661"/>
                        <a:gd name="connsiteX15" fmla="*/ 237786 w 299712"/>
                        <a:gd name="connsiteY15" fmla="*/ 116387 h 125661"/>
                        <a:gd name="connsiteX16" fmla="*/ 142038 w 299712"/>
                        <a:gd name="connsiteY16" fmla="*/ 66619 h 125661"/>
                        <a:gd name="connsiteX17" fmla="*/ 57785 w 299712"/>
                        <a:gd name="connsiteY17" fmla="*/ 124094 h 125661"/>
                        <a:gd name="connsiteX18" fmla="*/ 55956 w 299712"/>
                        <a:gd name="connsiteY18" fmla="*/ 125530 h 125661"/>
                        <a:gd name="connsiteX19" fmla="*/ 55303 w 299712"/>
                        <a:gd name="connsiteY19" fmla="*/ 125530 h 125661"/>
                        <a:gd name="connsiteX20" fmla="*/ 6711 w 299712"/>
                        <a:gd name="connsiteY20" fmla="*/ 85820 h 125661"/>
                        <a:gd name="connsiteX21" fmla="*/ 18598 w 299712"/>
                        <a:gd name="connsiteY21" fmla="*/ 93266 h 125661"/>
                        <a:gd name="connsiteX22" fmla="*/ 18598 w 299712"/>
                        <a:gd name="connsiteY22" fmla="*/ 93266 h 125661"/>
                        <a:gd name="connsiteX23" fmla="*/ 54650 w 299712"/>
                        <a:gd name="connsiteY23" fmla="*/ 118607 h 125661"/>
                        <a:gd name="connsiteX24" fmla="*/ 142299 w 299712"/>
                        <a:gd name="connsiteY24" fmla="*/ 61002 h 125661"/>
                        <a:gd name="connsiteX25" fmla="*/ 241574 w 299712"/>
                        <a:gd name="connsiteY25" fmla="*/ 111162 h 125661"/>
                        <a:gd name="connsiteX26" fmla="*/ 271618 w 299712"/>
                        <a:gd name="connsiteY26" fmla="*/ 91699 h 125661"/>
                        <a:gd name="connsiteX27" fmla="*/ 279194 w 299712"/>
                        <a:gd name="connsiteY27" fmla="*/ 86865 h 125661"/>
                        <a:gd name="connsiteX28" fmla="*/ 293302 w 299712"/>
                        <a:gd name="connsiteY28" fmla="*/ 77722 h 125661"/>
                        <a:gd name="connsiteX29" fmla="*/ 251240 w 299712"/>
                        <a:gd name="connsiteY29" fmla="*/ 32918 h 125661"/>
                        <a:gd name="connsiteX30" fmla="*/ 146087 w 299712"/>
                        <a:gd name="connsiteY30" fmla="*/ 5748 h 125661"/>
                        <a:gd name="connsiteX31" fmla="*/ 142561 w 299712"/>
                        <a:gd name="connsiteY31" fmla="*/ 5748 h 125661"/>
                        <a:gd name="connsiteX32" fmla="*/ 6711 w 299712"/>
                        <a:gd name="connsiteY32" fmla="*/ 85951 h 12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9712" h="125661">
                          <a:moveTo>
                            <a:pt x="55565" y="125661"/>
                          </a:moveTo>
                          <a:cubicBezTo>
                            <a:pt x="55565" y="125661"/>
                            <a:pt x="54389" y="125400"/>
                            <a:pt x="53866" y="125139"/>
                          </a:cubicBezTo>
                          <a:cubicBezTo>
                            <a:pt x="40020" y="114689"/>
                            <a:pt x="27480" y="105806"/>
                            <a:pt x="15463" y="98099"/>
                          </a:cubicBezTo>
                          <a:cubicBezTo>
                            <a:pt x="11152" y="95356"/>
                            <a:pt x="6580" y="92482"/>
                            <a:pt x="1355" y="89347"/>
                          </a:cubicBezTo>
                          <a:cubicBezTo>
                            <a:pt x="49" y="88564"/>
                            <a:pt x="-343" y="86865"/>
                            <a:pt x="310" y="85559"/>
                          </a:cubicBezTo>
                          <a:cubicBezTo>
                            <a:pt x="40281" y="12801"/>
                            <a:pt x="119048" y="1698"/>
                            <a:pt x="142169" y="0"/>
                          </a:cubicBezTo>
                          <a:cubicBezTo>
                            <a:pt x="142169" y="0"/>
                            <a:pt x="142430" y="0"/>
                            <a:pt x="142430" y="0"/>
                          </a:cubicBezTo>
                          <a:lnTo>
                            <a:pt x="146087" y="0"/>
                          </a:lnTo>
                          <a:cubicBezTo>
                            <a:pt x="182793" y="1306"/>
                            <a:pt x="209179" y="2090"/>
                            <a:pt x="253853" y="27954"/>
                          </a:cubicBezTo>
                          <a:cubicBezTo>
                            <a:pt x="265609" y="34746"/>
                            <a:pt x="283766" y="51336"/>
                            <a:pt x="299310" y="77069"/>
                          </a:cubicBezTo>
                          <a:cubicBezTo>
                            <a:pt x="300094" y="78375"/>
                            <a:pt x="299702" y="80073"/>
                            <a:pt x="298396" y="80857"/>
                          </a:cubicBezTo>
                          <a:cubicBezTo>
                            <a:pt x="292910" y="84384"/>
                            <a:pt x="287424" y="87911"/>
                            <a:pt x="281937" y="91437"/>
                          </a:cubicBezTo>
                          <a:lnTo>
                            <a:pt x="274361" y="96270"/>
                          </a:lnTo>
                          <a:cubicBezTo>
                            <a:pt x="263519" y="103324"/>
                            <a:pt x="252677" y="110247"/>
                            <a:pt x="241835" y="117432"/>
                          </a:cubicBezTo>
                          <a:cubicBezTo>
                            <a:pt x="241182" y="117824"/>
                            <a:pt x="240399" y="117954"/>
                            <a:pt x="239615" y="117824"/>
                          </a:cubicBezTo>
                          <a:cubicBezTo>
                            <a:pt x="238831" y="117693"/>
                            <a:pt x="238178" y="117170"/>
                            <a:pt x="237786" y="116387"/>
                          </a:cubicBezTo>
                          <a:cubicBezTo>
                            <a:pt x="220544" y="84776"/>
                            <a:pt x="185667" y="66619"/>
                            <a:pt x="142038" y="66619"/>
                          </a:cubicBezTo>
                          <a:cubicBezTo>
                            <a:pt x="93707" y="66619"/>
                            <a:pt x="68496" y="102671"/>
                            <a:pt x="57785" y="124094"/>
                          </a:cubicBezTo>
                          <a:cubicBezTo>
                            <a:pt x="57393" y="124877"/>
                            <a:pt x="56740" y="125400"/>
                            <a:pt x="55956" y="125530"/>
                          </a:cubicBezTo>
                          <a:cubicBezTo>
                            <a:pt x="55695" y="125530"/>
                            <a:pt x="55565" y="125530"/>
                            <a:pt x="55303" y="125530"/>
                          </a:cubicBezTo>
                          <a:close/>
                          <a:moveTo>
                            <a:pt x="6711" y="85820"/>
                          </a:moveTo>
                          <a:cubicBezTo>
                            <a:pt x="11021" y="88433"/>
                            <a:pt x="14940" y="90915"/>
                            <a:pt x="18598" y="93266"/>
                          </a:cubicBezTo>
                          <a:lnTo>
                            <a:pt x="18598" y="93266"/>
                          </a:lnTo>
                          <a:cubicBezTo>
                            <a:pt x="29962" y="100581"/>
                            <a:pt x="41718" y="108810"/>
                            <a:pt x="54650" y="118607"/>
                          </a:cubicBezTo>
                          <a:cubicBezTo>
                            <a:pt x="66798" y="95748"/>
                            <a:pt x="93184" y="61002"/>
                            <a:pt x="142299" y="61002"/>
                          </a:cubicBezTo>
                          <a:cubicBezTo>
                            <a:pt x="186842" y="61002"/>
                            <a:pt x="222895" y="79159"/>
                            <a:pt x="241574" y="111162"/>
                          </a:cubicBezTo>
                          <a:cubicBezTo>
                            <a:pt x="251502" y="104630"/>
                            <a:pt x="261560" y="98230"/>
                            <a:pt x="271618" y="91699"/>
                          </a:cubicBezTo>
                          <a:lnTo>
                            <a:pt x="279194" y="86865"/>
                          </a:lnTo>
                          <a:cubicBezTo>
                            <a:pt x="283897" y="83861"/>
                            <a:pt x="288599" y="80726"/>
                            <a:pt x="293302" y="77722"/>
                          </a:cubicBezTo>
                          <a:cubicBezTo>
                            <a:pt x="278541" y="54079"/>
                            <a:pt x="261560" y="38926"/>
                            <a:pt x="251240" y="32918"/>
                          </a:cubicBezTo>
                          <a:cubicBezTo>
                            <a:pt x="207873" y="7707"/>
                            <a:pt x="182009" y="6923"/>
                            <a:pt x="146087" y="5748"/>
                          </a:cubicBezTo>
                          <a:lnTo>
                            <a:pt x="142561" y="5748"/>
                          </a:lnTo>
                          <a:cubicBezTo>
                            <a:pt x="120224" y="7315"/>
                            <a:pt x="45506" y="17896"/>
                            <a:pt x="6711" y="8595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61" name="Graphic 717">
                    <a:extLst>
                      <a:ext uri="{FF2B5EF4-FFF2-40B4-BE49-F238E27FC236}">
                        <a16:creationId xmlns:a16="http://schemas.microsoft.com/office/drawing/2014/main" id="{8C91A80D-A9D0-0C7B-00C9-0C0DACF60D36}"/>
                      </a:ext>
                    </a:extLst>
                  </p:cNvPr>
                  <p:cNvGrpSpPr/>
                  <p:nvPr/>
                </p:nvGrpSpPr>
                <p:grpSpPr>
                  <a:xfrm>
                    <a:off x="336792" y="2943279"/>
                    <a:ext cx="162225" cy="225810"/>
                    <a:chOff x="336792" y="2943279"/>
                    <a:chExt cx="162225" cy="225810"/>
                  </a:xfrm>
                  <a:grpFill/>
                </p:grpSpPr>
                <p:sp>
                  <p:nvSpPr>
                    <p:cNvPr id="762" name="Freeform: Shape 761">
                      <a:extLst>
                        <a:ext uri="{FF2B5EF4-FFF2-40B4-BE49-F238E27FC236}">
                          <a16:creationId xmlns:a16="http://schemas.microsoft.com/office/drawing/2014/main" id="{30AED1F5-DCAB-6B7B-AFF6-3DDB65C8362A}"/>
                        </a:ext>
                      </a:extLst>
                    </p:cNvPr>
                    <p:cNvSpPr/>
                    <p:nvPr/>
                  </p:nvSpPr>
                  <p:spPr>
                    <a:xfrm>
                      <a:off x="339452" y="2945852"/>
                      <a:ext cx="156426" cy="220233"/>
                    </a:xfrm>
                    <a:custGeom>
                      <a:avLst/>
                      <a:gdLst>
                        <a:gd name="connsiteX0" fmla="*/ 8360 w 156426"/>
                        <a:gd name="connsiteY0" fmla="*/ 200901 h 220233"/>
                        <a:gd name="connsiteX1" fmla="*/ 0 w 156426"/>
                        <a:gd name="connsiteY1" fmla="*/ 157403 h 220233"/>
                        <a:gd name="connsiteX2" fmla="*/ 32264 w 156426"/>
                        <a:gd name="connsiteY2" fmla="*/ 150218 h 220233"/>
                        <a:gd name="connsiteX3" fmla="*/ 57214 w 156426"/>
                        <a:gd name="connsiteY3" fmla="*/ 132584 h 220233"/>
                        <a:gd name="connsiteX4" fmla="*/ 85298 w 156426"/>
                        <a:gd name="connsiteY4" fmla="*/ 75109 h 220233"/>
                        <a:gd name="connsiteX5" fmla="*/ 85298 w 156426"/>
                        <a:gd name="connsiteY5" fmla="*/ 38142 h 220233"/>
                        <a:gd name="connsiteX6" fmla="*/ 82555 w 156426"/>
                        <a:gd name="connsiteY6" fmla="*/ 17373 h 220233"/>
                        <a:gd name="connsiteX7" fmla="*/ 149304 w 156426"/>
                        <a:gd name="connsiteY7" fmla="*/ 0 h 220233"/>
                        <a:gd name="connsiteX8" fmla="*/ 145385 w 156426"/>
                        <a:gd name="connsiteY8" fmla="*/ 121612 h 220233"/>
                        <a:gd name="connsiteX9" fmla="*/ 12932 w 156426"/>
                        <a:gd name="connsiteY9" fmla="*/ 220233 h 220233"/>
                        <a:gd name="connsiteX10" fmla="*/ 8360 w 156426"/>
                        <a:gd name="connsiteY10" fmla="*/ 200901 h 22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426" h="220233">
                          <a:moveTo>
                            <a:pt x="8360" y="200901"/>
                          </a:moveTo>
                          <a:cubicBezTo>
                            <a:pt x="5878" y="186402"/>
                            <a:pt x="3135" y="171902"/>
                            <a:pt x="0" y="157403"/>
                          </a:cubicBezTo>
                          <a:cubicBezTo>
                            <a:pt x="10842" y="156358"/>
                            <a:pt x="22076" y="154398"/>
                            <a:pt x="32264" y="150218"/>
                          </a:cubicBezTo>
                          <a:cubicBezTo>
                            <a:pt x="41669" y="146430"/>
                            <a:pt x="50029" y="139899"/>
                            <a:pt x="57214" y="132584"/>
                          </a:cubicBezTo>
                          <a:cubicBezTo>
                            <a:pt x="72105" y="117170"/>
                            <a:pt x="82294" y="96793"/>
                            <a:pt x="85298" y="75109"/>
                          </a:cubicBezTo>
                          <a:cubicBezTo>
                            <a:pt x="86996" y="62831"/>
                            <a:pt x="85951" y="50552"/>
                            <a:pt x="85298" y="38142"/>
                          </a:cubicBezTo>
                          <a:cubicBezTo>
                            <a:pt x="84906" y="30827"/>
                            <a:pt x="83992" y="23904"/>
                            <a:pt x="82555" y="17373"/>
                          </a:cubicBezTo>
                          <a:cubicBezTo>
                            <a:pt x="104892" y="12017"/>
                            <a:pt x="126837" y="4964"/>
                            <a:pt x="149304" y="0"/>
                          </a:cubicBezTo>
                          <a:cubicBezTo>
                            <a:pt x="158578" y="33309"/>
                            <a:pt x="160277" y="74195"/>
                            <a:pt x="145385" y="121612"/>
                          </a:cubicBezTo>
                          <a:cubicBezTo>
                            <a:pt x="124485" y="187838"/>
                            <a:pt x="62961" y="212265"/>
                            <a:pt x="12932" y="220233"/>
                          </a:cubicBezTo>
                          <a:cubicBezTo>
                            <a:pt x="11495" y="213702"/>
                            <a:pt x="9927" y="207302"/>
                            <a:pt x="8360" y="20090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63" name="Freeform: Shape 762">
                      <a:extLst>
                        <a:ext uri="{FF2B5EF4-FFF2-40B4-BE49-F238E27FC236}">
                          <a16:creationId xmlns:a16="http://schemas.microsoft.com/office/drawing/2014/main" id="{A32727DD-F343-9A41-DCFA-D765557EAC0E}"/>
                        </a:ext>
                      </a:extLst>
                    </p:cNvPr>
                    <p:cNvSpPr/>
                    <p:nvPr/>
                  </p:nvSpPr>
                  <p:spPr>
                    <a:xfrm>
                      <a:off x="336792" y="2943279"/>
                      <a:ext cx="162225" cy="225810"/>
                    </a:xfrm>
                    <a:custGeom>
                      <a:avLst/>
                      <a:gdLst>
                        <a:gd name="connsiteX0" fmla="*/ 15591 w 162225"/>
                        <a:gd name="connsiteY0" fmla="*/ 225680 h 225810"/>
                        <a:gd name="connsiteX1" fmla="*/ 12848 w 162225"/>
                        <a:gd name="connsiteY1" fmla="*/ 223459 h 225810"/>
                        <a:gd name="connsiteX2" fmla="*/ 8276 w 162225"/>
                        <a:gd name="connsiteY2" fmla="*/ 204258 h 225810"/>
                        <a:gd name="connsiteX3" fmla="*/ 8276 w 162225"/>
                        <a:gd name="connsiteY3" fmla="*/ 203996 h 225810"/>
                        <a:gd name="connsiteX4" fmla="*/ 47 w 162225"/>
                        <a:gd name="connsiteY4" fmla="*/ 160629 h 225810"/>
                        <a:gd name="connsiteX5" fmla="*/ 570 w 162225"/>
                        <a:gd name="connsiteY5" fmla="*/ 158408 h 225810"/>
                        <a:gd name="connsiteX6" fmla="*/ 2529 w 162225"/>
                        <a:gd name="connsiteY6" fmla="*/ 157233 h 225810"/>
                        <a:gd name="connsiteX7" fmla="*/ 34010 w 162225"/>
                        <a:gd name="connsiteY7" fmla="*/ 150310 h 225810"/>
                        <a:gd name="connsiteX8" fmla="*/ 57914 w 162225"/>
                        <a:gd name="connsiteY8" fmla="*/ 133328 h 225810"/>
                        <a:gd name="connsiteX9" fmla="*/ 85214 w 162225"/>
                        <a:gd name="connsiteY9" fmla="*/ 77551 h 225810"/>
                        <a:gd name="connsiteX10" fmla="*/ 85606 w 162225"/>
                        <a:gd name="connsiteY10" fmla="*/ 46855 h 225810"/>
                        <a:gd name="connsiteX11" fmla="*/ 85345 w 162225"/>
                        <a:gd name="connsiteY11" fmla="*/ 41107 h 225810"/>
                        <a:gd name="connsiteX12" fmla="*/ 82733 w 162225"/>
                        <a:gd name="connsiteY12" fmla="*/ 20860 h 225810"/>
                        <a:gd name="connsiteX13" fmla="*/ 84823 w 162225"/>
                        <a:gd name="connsiteY13" fmla="*/ 17464 h 225810"/>
                        <a:gd name="connsiteX14" fmla="*/ 115128 w 162225"/>
                        <a:gd name="connsiteY14" fmla="*/ 9496 h 225810"/>
                        <a:gd name="connsiteX15" fmla="*/ 151572 w 162225"/>
                        <a:gd name="connsiteY15" fmla="*/ 91 h 225810"/>
                        <a:gd name="connsiteX16" fmla="*/ 154968 w 162225"/>
                        <a:gd name="connsiteY16" fmla="*/ 2050 h 225810"/>
                        <a:gd name="connsiteX17" fmla="*/ 151049 w 162225"/>
                        <a:gd name="connsiteY17" fmla="*/ 125230 h 225810"/>
                        <a:gd name="connsiteX18" fmla="*/ 16245 w 162225"/>
                        <a:gd name="connsiteY18" fmla="*/ 225811 h 225810"/>
                        <a:gd name="connsiteX19" fmla="*/ 15853 w 162225"/>
                        <a:gd name="connsiteY19" fmla="*/ 225811 h 225810"/>
                        <a:gd name="connsiteX20" fmla="*/ 13763 w 162225"/>
                        <a:gd name="connsiteY20" fmla="*/ 202951 h 225810"/>
                        <a:gd name="connsiteX21" fmla="*/ 17812 w 162225"/>
                        <a:gd name="connsiteY21" fmla="*/ 219671 h 225810"/>
                        <a:gd name="connsiteX22" fmla="*/ 145432 w 162225"/>
                        <a:gd name="connsiteY22" fmla="*/ 123531 h 225810"/>
                        <a:gd name="connsiteX23" fmla="*/ 150004 w 162225"/>
                        <a:gd name="connsiteY23" fmla="*/ 6230 h 225810"/>
                        <a:gd name="connsiteX24" fmla="*/ 116434 w 162225"/>
                        <a:gd name="connsiteY24" fmla="*/ 14982 h 225810"/>
                        <a:gd name="connsiteX25" fmla="*/ 88611 w 162225"/>
                        <a:gd name="connsiteY25" fmla="*/ 22428 h 225810"/>
                        <a:gd name="connsiteX26" fmla="*/ 90831 w 162225"/>
                        <a:gd name="connsiteY26" fmla="*/ 40977 h 225810"/>
                        <a:gd name="connsiteX27" fmla="*/ 91093 w 162225"/>
                        <a:gd name="connsiteY27" fmla="*/ 46724 h 225810"/>
                        <a:gd name="connsiteX28" fmla="*/ 90701 w 162225"/>
                        <a:gd name="connsiteY28" fmla="*/ 78466 h 225810"/>
                        <a:gd name="connsiteX29" fmla="*/ 61833 w 162225"/>
                        <a:gd name="connsiteY29" fmla="*/ 137508 h 225810"/>
                        <a:gd name="connsiteX30" fmla="*/ 35969 w 162225"/>
                        <a:gd name="connsiteY30" fmla="*/ 155796 h 225810"/>
                        <a:gd name="connsiteX31" fmla="*/ 6056 w 162225"/>
                        <a:gd name="connsiteY31" fmla="*/ 162850 h 225810"/>
                        <a:gd name="connsiteX32" fmla="*/ 13763 w 162225"/>
                        <a:gd name="connsiteY32" fmla="*/ 203213 h 225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2225" h="225810">
                          <a:moveTo>
                            <a:pt x="15591" y="225680"/>
                          </a:moveTo>
                          <a:cubicBezTo>
                            <a:pt x="14285" y="225680"/>
                            <a:pt x="13110" y="224766"/>
                            <a:pt x="12848" y="223459"/>
                          </a:cubicBezTo>
                          <a:cubicBezTo>
                            <a:pt x="11542" y="217320"/>
                            <a:pt x="9975" y="211050"/>
                            <a:pt x="8276" y="204258"/>
                          </a:cubicBezTo>
                          <a:cubicBezTo>
                            <a:pt x="8276" y="204258"/>
                            <a:pt x="8276" y="204127"/>
                            <a:pt x="8276" y="203996"/>
                          </a:cubicBezTo>
                          <a:cubicBezTo>
                            <a:pt x="5925" y="190150"/>
                            <a:pt x="3182" y="175912"/>
                            <a:pt x="47" y="160629"/>
                          </a:cubicBezTo>
                          <a:cubicBezTo>
                            <a:pt x="-84" y="159845"/>
                            <a:pt x="47" y="159061"/>
                            <a:pt x="570" y="158408"/>
                          </a:cubicBezTo>
                          <a:cubicBezTo>
                            <a:pt x="1092" y="157755"/>
                            <a:pt x="1745" y="157363"/>
                            <a:pt x="2529" y="157233"/>
                          </a:cubicBezTo>
                          <a:cubicBezTo>
                            <a:pt x="15591" y="155926"/>
                            <a:pt x="25650" y="153706"/>
                            <a:pt x="34010" y="150310"/>
                          </a:cubicBezTo>
                          <a:cubicBezTo>
                            <a:pt x="42108" y="147044"/>
                            <a:pt x="50468" y="141166"/>
                            <a:pt x="57914" y="133328"/>
                          </a:cubicBezTo>
                          <a:cubicBezTo>
                            <a:pt x="72674" y="118045"/>
                            <a:pt x="82341" y="98321"/>
                            <a:pt x="85214" y="77551"/>
                          </a:cubicBezTo>
                          <a:cubicBezTo>
                            <a:pt x="86651" y="67363"/>
                            <a:pt x="86129" y="57435"/>
                            <a:pt x="85606" y="46855"/>
                          </a:cubicBezTo>
                          <a:cubicBezTo>
                            <a:pt x="85606" y="44895"/>
                            <a:pt x="85345" y="43067"/>
                            <a:pt x="85345" y="41107"/>
                          </a:cubicBezTo>
                          <a:cubicBezTo>
                            <a:pt x="85084" y="34184"/>
                            <a:pt x="84169" y="27392"/>
                            <a:pt x="82733" y="20860"/>
                          </a:cubicBezTo>
                          <a:cubicBezTo>
                            <a:pt x="82471" y="19293"/>
                            <a:pt x="83386" y="17856"/>
                            <a:pt x="84823" y="17464"/>
                          </a:cubicBezTo>
                          <a:cubicBezTo>
                            <a:pt x="95011" y="14982"/>
                            <a:pt x="105200" y="12239"/>
                            <a:pt x="115128" y="9496"/>
                          </a:cubicBezTo>
                          <a:cubicBezTo>
                            <a:pt x="127014" y="6230"/>
                            <a:pt x="139293" y="2834"/>
                            <a:pt x="151572" y="91"/>
                          </a:cubicBezTo>
                          <a:cubicBezTo>
                            <a:pt x="153009" y="-301"/>
                            <a:pt x="154446" y="613"/>
                            <a:pt x="154968" y="2050"/>
                          </a:cubicBezTo>
                          <a:cubicBezTo>
                            <a:pt x="165810" y="40977"/>
                            <a:pt x="164504" y="82385"/>
                            <a:pt x="151049" y="125230"/>
                          </a:cubicBezTo>
                          <a:cubicBezTo>
                            <a:pt x="129235" y="194069"/>
                            <a:pt x="65751" y="217843"/>
                            <a:pt x="16245" y="225811"/>
                          </a:cubicBezTo>
                          <a:cubicBezTo>
                            <a:pt x="16114" y="225811"/>
                            <a:pt x="15983" y="225811"/>
                            <a:pt x="15853" y="225811"/>
                          </a:cubicBezTo>
                          <a:close/>
                          <a:moveTo>
                            <a:pt x="13763" y="202951"/>
                          </a:moveTo>
                          <a:cubicBezTo>
                            <a:pt x="15330" y="208829"/>
                            <a:pt x="16636" y="214316"/>
                            <a:pt x="17812" y="219671"/>
                          </a:cubicBezTo>
                          <a:cubicBezTo>
                            <a:pt x="65359" y="211572"/>
                            <a:pt x="124924" y="188321"/>
                            <a:pt x="145432" y="123531"/>
                          </a:cubicBezTo>
                          <a:cubicBezTo>
                            <a:pt x="158364" y="82776"/>
                            <a:pt x="159932" y="43328"/>
                            <a:pt x="150004" y="6230"/>
                          </a:cubicBezTo>
                          <a:cubicBezTo>
                            <a:pt x="138771" y="8843"/>
                            <a:pt x="127406" y="11978"/>
                            <a:pt x="116434" y="14982"/>
                          </a:cubicBezTo>
                          <a:cubicBezTo>
                            <a:pt x="107290" y="17464"/>
                            <a:pt x="98016" y="20077"/>
                            <a:pt x="88611" y="22428"/>
                          </a:cubicBezTo>
                          <a:cubicBezTo>
                            <a:pt x="89786" y="28437"/>
                            <a:pt x="90570" y="34707"/>
                            <a:pt x="90831" y="40977"/>
                          </a:cubicBezTo>
                          <a:cubicBezTo>
                            <a:pt x="90831" y="42936"/>
                            <a:pt x="90962" y="44765"/>
                            <a:pt x="91093" y="46724"/>
                          </a:cubicBezTo>
                          <a:cubicBezTo>
                            <a:pt x="91615" y="57043"/>
                            <a:pt x="92138" y="67755"/>
                            <a:pt x="90701" y="78466"/>
                          </a:cubicBezTo>
                          <a:cubicBezTo>
                            <a:pt x="87696" y="100411"/>
                            <a:pt x="77377" y="121441"/>
                            <a:pt x="61833" y="137508"/>
                          </a:cubicBezTo>
                          <a:cubicBezTo>
                            <a:pt x="53603" y="145999"/>
                            <a:pt x="44982" y="152138"/>
                            <a:pt x="35969" y="155796"/>
                          </a:cubicBezTo>
                          <a:cubicBezTo>
                            <a:pt x="27740" y="159192"/>
                            <a:pt x="18204" y="161413"/>
                            <a:pt x="6056" y="162850"/>
                          </a:cubicBezTo>
                          <a:cubicBezTo>
                            <a:pt x="9060" y="176957"/>
                            <a:pt x="11542" y="190281"/>
                            <a:pt x="13763" y="20321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64" name="Graphic 717">
                    <a:extLst>
                      <a:ext uri="{FF2B5EF4-FFF2-40B4-BE49-F238E27FC236}">
                        <a16:creationId xmlns:a16="http://schemas.microsoft.com/office/drawing/2014/main" id="{19E579C5-DD12-43B3-904D-31F0E8E65D71}"/>
                      </a:ext>
                    </a:extLst>
                  </p:cNvPr>
                  <p:cNvGrpSpPr/>
                  <p:nvPr/>
                </p:nvGrpSpPr>
                <p:grpSpPr>
                  <a:xfrm>
                    <a:off x="148870" y="2957041"/>
                    <a:ext cx="157010" cy="214922"/>
                    <a:chOff x="148870" y="2957041"/>
                    <a:chExt cx="157010" cy="214922"/>
                  </a:xfrm>
                  <a:grpFill/>
                </p:grpSpPr>
                <p:sp>
                  <p:nvSpPr>
                    <p:cNvPr id="765" name="Freeform: Shape 764">
                      <a:extLst>
                        <a:ext uri="{FF2B5EF4-FFF2-40B4-BE49-F238E27FC236}">
                          <a16:creationId xmlns:a16="http://schemas.microsoft.com/office/drawing/2014/main" id="{B4383D66-3F46-3D1E-26BD-62A7E546D992}"/>
                        </a:ext>
                      </a:extLst>
                    </p:cNvPr>
                    <p:cNvSpPr/>
                    <p:nvPr/>
                  </p:nvSpPr>
                  <p:spPr>
                    <a:xfrm>
                      <a:off x="151875" y="2959829"/>
                      <a:ext cx="151263" cy="209260"/>
                    </a:xfrm>
                    <a:custGeom>
                      <a:avLst/>
                      <a:gdLst>
                        <a:gd name="connsiteX0" fmla="*/ 3919 w 151263"/>
                        <a:gd name="connsiteY0" fmla="*/ 131 h 209260"/>
                        <a:gd name="connsiteX1" fmla="*/ 64529 w 151263"/>
                        <a:gd name="connsiteY1" fmla="*/ 12017 h 209260"/>
                        <a:gd name="connsiteX2" fmla="*/ 61263 w 151263"/>
                        <a:gd name="connsiteY2" fmla="*/ 31481 h 209260"/>
                        <a:gd name="connsiteX3" fmla="*/ 62439 w 151263"/>
                        <a:gd name="connsiteY3" fmla="*/ 50813 h 209260"/>
                        <a:gd name="connsiteX4" fmla="*/ 72497 w 151263"/>
                        <a:gd name="connsiteY4" fmla="*/ 84776 h 209260"/>
                        <a:gd name="connsiteX5" fmla="*/ 111815 w 151263"/>
                        <a:gd name="connsiteY5" fmla="*/ 133107 h 209260"/>
                        <a:gd name="connsiteX6" fmla="*/ 146300 w 151263"/>
                        <a:gd name="connsiteY6" fmla="*/ 142904 h 209260"/>
                        <a:gd name="connsiteX7" fmla="*/ 151263 w 151263"/>
                        <a:gd name="connsiteY7" fmla="*/ 143426 h 209260"/>
                        <a:gd name="connsiteX8" fmla="*/ 148912 w 151263"/>
                        <a:gd name="connsiteY8" fmla="*/ 165894 h 209260"/>
                        <a:gd name="connsiteX9" fmla="*/ 144079 w 151263"/>
                        <a:gd name="connsiteY9" fmla="*/ 209261 h 209260"/>
                        <a:gd name="connsiteX10" fmla="*/ 140422 w 151263"/>
                        <a:gd name="connsiteY10" fmla="*/ 209000 h 209260"/>
                        <a:gd name="connsiteX11" fmla="*/ 0 w 151263"/>
                        <a:gd name="connsiteY11" fmla="*/ 45719 h 209260"/>
                        <a:gd name="connsiteX12" fmla="*/ 4049 w 151263"/>
                        <a:gd name="connsiteY12" fmla="*/ 0 h 209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1263" h="209260">
                          <a:moveTo>
                            <a:pt x="3919" y="131"/>
                          </a:moveTo>
                          <a:cubicBezTo>
                            <a:pt x="24166" y="3657"/>
                            <a:pt x="44412" y="7184"/>
                            <a:pt x="64529" y="12017"/>
                          </a:cubicBezTo>
                          <a:cubicBezTo>
                            <a:pt x="62700" y="18941"/>
                            <a:pt x="61655" y="25602"/>
                            <a:pt x="61263" y="31481"/>
                          </a:cubicBezTo>
                          <a:cubicBezTo>
                            <a:pt x="60871" y="36314"/>
                            <a:pt x="61263" y="44412"/>
                            <a:pt x="62439" y="50813"/>
                          </a:cubicBezTo>
                          <a:cubicBezTo>
                            <a:pt x="64398" y="62439"/>
                            <a:pt x="68056" y="73934"/>
                            <a:pt x="72497" y="84776"/>
                          </a:cubicBezTo>
                          <a:cubicBezTo>
                            <a:pt x="80465" y="104369"/>
                            <a:pt x="92744" y="123571"/>
                            <a:pt x="111815" y="133107"/>
                          </a:cubicBezTo>
                          <a:cubicBezTo>
                            <a:pt x="122657" y="138593"/>
                            <a:pt x="134282" y="141467"/>
                            <a:pt x="146300" y="142904"/>
                          </a:cubicBezTo>
                          <a:cubicBezTo>
                            <a:pt x="147998" y="143165"/>
                            <a:pt x="149565" y="143295"/>
                            <a:pt x="151263" y="143426"/>
                          </a:cubicBezTo>
                          <a:cubicBezTo>
                            <a:pt x="150480" y="150872"/>
                            <a:pt x="149696" y="158448"/>
                            <a:pt x="148912" y="165894"/>
                          </a:cubicBezTo>
                          <a:cubicBezTo>
                            <a:pt x="147345" y="180393"/>
                            <a:pt x="145777" y="194762"/>
                            <a:pt x="144079" y="209261"/>
                          </a:cubicBezTo>
                          <a:cubicBezTo>
                            <a:pt x="142773" y="209261"/>
                            <a:pt x="141597" y="209130"/>
                            <a:pt x="140422" y="209000"/>
                          </a:cubicBezTo>
                          <a:cubicBezTo>
                            <a:pt x="44674" y="200770"/>
                            <a:pt x="0" y="99014"/>
                            <a:pt x="0" y="45719"/>
                          </a:cubicBezTo>
                          <a:cubicBezTo>
                            <a:pt x="0" y="28999"/>
                            <a:pt x="1437" y="13846"/>
                            <a:pt x="4049" y="0"/>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66" name="Freeform: Shape 765">
                      <a:extLst>
                        <a:ext uri="{FF2B5EF4-FFF2-40B4-BE49-F238E27FC236}">
                          <a16:creationId xmlns:a16="http://schemas.microsoft.com/office/drawing/2014/main" id="{9C389414-AB19-83EF-F4C9-2B3D7A223D0D}"/>
                        </a:ext>
                      </a:extLst>
                    </p:cNvPr>
                    <p:cNvSpPr/>
                    <p:nvPr/>
                  </p:nvSpPr>
                  <p:spPr>
                    <a:xfrm>
                      <a:off x="148870" y="2957041"/>
                      <a:ext cx="157010" cy="214922"/>
                    </a:xfrm>
                    <a:custGeom>
                      <a:avLst/>
                      <a:gdLst>
                        <a:gd name="connsiteX0" fmla="*/ 146822 w 157010"/>
                        <a:gd name="connsiteY0" fmla="*/ 214922 h 214922"/>
                        <a:gd name="connsiteX1" fmla="*/ 146692 w 157010"/>
                        <a:gd name="connsiteY1" fmla="*/ 214922 h 214922"/>
                        <a:gd name="connsiteX2" fmla="*/ 143034 w 157010"/>
                        <a:gd name="connsiteY2" fmla="*/ 214661 h 214922"/>
                        <a:gd name="connsiteX3" fmla="*/ 34877 w 157010"/>
                        <a:gd name="connsiteY3" fmla="*/ 148695 h 214922"/>
                        <a:gd name="connsiteX4" fmla="*/ 0 w 157010"/>
                        <a:gd name="connsiteY4" fmla="*/ 48506 h 214922"/>
                        <a:gd name="connsiteX5" fmla="*/ 4180 w 157010"/>
                        <a:gd name="connsiteY5" fmla="*/ 2265 h 214922"/>
                        <a:gd name="connsiteX6" fmla="*/ 7446 w 157010"/>
                        <a:gd name="connsiteY6" fmla="*/ 44 h 214922"/>
                        <a:gd name="connsiteX7" fmla="*/ 68186 w 157010"/>
                        <a:gd name="connsiteY7" fmla="*/ 12062 h 214922"/>
                        <a:gd name="connsiteX8" fmla="*/ 69884 w 157010"/>
                        <a:gd name="connsiteY8" fmla="*/ 13368 h 214922"/>
                        <a:gd name="connsiteX9" fmla="*/ 70145 w 157010"/>
                        <a:gd name="connsiteY9" fmla="*/ 15589 h 214922"/>
                        <a:gd name="connsiteX10" fmla="*/ 67010 w 157010"/>
                        <a:gd name="connsiteY10" fmla="*/ 34529 h 214922"/>
                        <a:gd name="connsiteX11" fmla="*/ 68186 w 157010"/>
                        <a:gd name="connsiteY11" fmla="*/ 53078 h 214922"/>
                        <a:gd name="connsiteX12" fmla="*/ 77983 w 157010"/>
                        <a:gd name="connsiteY12" fmla="*/ 86518 h 214922"/>
                        <a:gd name="connsiteX13" fmla="*/ 115995 w 157010"/>
                        <a:gd name="connsiteY13" fmla="*/ 133412 h 214922"/>
                        <a:gd name="connsiteX14" fmla="*/ 149565 w 157010"/>
                        <a:gd name="connsiteY14" fmla="*/ 142948 h 214922"/>
                        <a:gd name="connsiteX15" fmla="*/ 154398 w 157010"/>
                        <a:gd name="connsiteY15" fmla="*/ 143470 h 214922"/>
                        <a:gd name="connsiteX16" fmla="*/ 156358 w 157010"/>
                        <a:gd name="connsiteY16" fmla="*/ 144515 h 214922"/>
                        <a:gd name="connsiteX17" fmla="*/ 157011 w 157010"/>
                        <a:gd name="connsiteY17" fmla="*/ 146605 h 214922"/>
                        <a:gd name="connsiteX18" fmla="*/ 156619 w 157010"/>
                        <a:gd name="connsiteY18" fmla="*/ 150524 h 214922"/>
                        <a:gd name="connsiteX19" fmla="*/ 154660 w 157010"/>
                        <a:gd name="connsiteY19" fmla="*/ 169073 h 214922"/>
                        <a:gd name="connsiteX20" fmla="*/ 149827 w 157010"/>
                        <a:gd name="connsiteY20" fmla="*/ 212440 h 214922"/>
                        <a:gd name="connsiteX21" fmla="*/ 146953 w 157010"/>
                        <a:gd name="connsiteY21" fmla="*/ 214922 h 214922"/>
                        <a:gd name="connsiteX22" fmla="*/ 9144 w 157010"/>
                        <a:gd name="connsiteY22" fmla="*/ 6053 h 214922"/>
                        <a:gd name="connsiteX23" fmla="*/ 5617 w 157010"/>
                        <a:gd name="connsiteY23" fmla="*/ 48506 h 214922"/>
                        <a:gd name="connsiteX24" fmla="*/ 39449 w 157010"/>
                        <a:gd name="connsiteY24" fmla="*/ 145430 h 214922"/>
                        <a:gd name="connsiteX25" fmla="*/ 143426 w 157010"/>
                        <a:gd name="connsiteY25" fmla="*/ 208913 h 214922"/>
                        <a:gd name="connsiteX26" fmla="*/ 144210 w 157010"/>
                        <a:gd name="connsiteY26" fmla="*/ 208913 h 214922"/>
                        <a:gd name="connsiteX27" fmla="*/ 148782 w 157010"/>
                        <a:gd name="connsiteY27" fmla="*/ 168289 h 214922"/>
                        <a:gd name="connsiteX28" fmla="*/ 150741 w 157010"/>
                        <a:gd name="connsiteY28" fmla="*/ 149740 h 214922"/>
                        <a:gd name="connsiteX29" fmla="*/ 150741 w 157010"/>
                        <a:gd name="connsiteY29" fmla="*/ 148565 h 214922"/>
                        <a:gd name="connsiteX30" fmla="*/ 148651 w 157010"/>
                        <a:gd name="connsiteY30" fmla="*/ 148303 h 214922"/>
                        <a:gd name="connsiteX31" fmla="*/ 113252 w 157010"/>
                        <a:gd name="connsiteY31" fmla="*/ 138115 h 214922"/>
                        <a:gd name="connsiteX32" fmla="*/ 72627 w 157010"/>
                        <a:gd name="connsiteY32" fmla="*/ 88347 h 214922"/>
                        <a:gd name="connsiteX33" fmla="*/ 62439 w 157010"/>
                        <a:gd name="connsiteY33" fmla="*/ 53731 h 214922"/>
                        <a:gd name="connsiteX34" fmla="*/ 61263 w 157010"/>
                        <a:gd name="connsiteY34" fmla="*/ 33745 h 214922"/>
                        <a:gd name="connsiteX35" fmla="*/ 64006 w 157010"/>
                        <a:gd name="connsiteY35" fmla="*/ 16634 h 214922"/>
                        <a:gd name="connsiteX36" fmla="*/ 9144 w 157010"/>
                        <a:gd name="connsiteY36" fmla="*/ 5922 h 214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7010" h="214922">
                          <a:moveTo>
                            <a:pt x="146822" y="214922"/>
                          </a:moveTo>
                          <a:cubicBezTo>
                            <a:pt x="146822" y="214922"/>
                            <a:pt x="146822" y="214922"/>
                            <a:pt x="146692" y="214922"/>
                          </a:cubicBezTo>
                          <a:cubicBezTo>
                            <a:pt x="145385" y="214922"/>
                            <a:pt x="144210" y="214791"/>
                            <a:pt x="143034" y="214661"/>
                          </a:cubicBezTo>
                          <a:cubicBezTo>
                            <a:pt x="88433" y="209958"/>
                            <a:pt x="54079" y="176257"/>
                            <a:pt x="34877" y="148695"/>
                          </a:cubicBezTo>
                          <a:cubicBezTo>
                            <a:pt x="13716" y="118390"/>
                            <a:pt x="0" y="79072"/>
                            <a:pt x="0" y="48506"/>
                          </a:cubicBezTo>
                          <a:cubicBezTo>
                            <a:pt x="0" y="32309"/>
                            <a:pt x="1437" y="16764"/>
                            <a:pt x="4180" y="2265"/>
                          </a:cubicBezTo>
                          <a:cubicBezTo>
                            <a:pt x="4441" y="697"/>
                            <a:pt x="5878" y="-217"/>
                            <a:pt x="7446" y="44"/>
                          </a:cubicBezTo>
                          <a:cubicBezTo>
                            <a:pt x="27039" y="3441"/>
                            <a:pt x="47939" y="7098"/>
                            <a:pt x="68186" y="12062"/>
                          </a:cubicBezTo>
                          <a:cubicBezTo>
                            <a:pt x="68970" y="12192"/>
                            <a:pt x="69492" y="12715"/>
                            <a:pt x="69884" y="13368"/>
                          </a:cubicBezTo>
                          <a:cubicBezTo>
                            <a:pt x="70276" y="14021"/>
                            <a:pt x="70407" y="14805"/>
                            <a:pt x="70145" y="15589"/>
                          </a:cubicBezTo>
                          <a:cubicBezTo>
                            <a:pt x="68447" y="22251"/>
                            <a:pt x="67402" y="28651"/>
                            <a:pt x="67010" y="34529"/>
                          </a:cubicBezTo>
                          <a:cubicBezTo>
                            <a:pt x="66619" y="39493"/>
                            <a:pt x="67141" y="47200"/>
                            <a:pt x="68186" y="53078"/>
                          </a:cubicBezTo>
                          <a:cubicBezTo>
                            <a:pt x="70015" y="63659"/>
                            <a:pt x="73411" y="74892"/>
                            <a:pt x="77983" y="86518"/>
                          </a:cubicBezTo>
                          <a:cubicBezTo>
                            <a:pt x="87388" y="109638"/>
                            <a:pt x="100059" y="125444"/>
                            <a:pt x="115995" y="133412"/>
                          </a:cubicBezTo>
                          <a:cubicBezTo>
                            <a:pt x="125661" y="138245"/>
                            <a:pt x="136242" y="141250"/>
                            <a:pt x="149565" y="142948"/>
                          </a:cubicBezTo>
                          <a:cubicBezTo>
                            <a:pt x="151133" y="143209"/>
                            <a:pt x="152831" y="143340"/>
                            <a:pt x="154398" y="143470"/>
                          </a:cubicBezTo>
                          <a:cubicBezTo>
                            <a:pt x="155182" y="143470"/>
                            <a:pt x="155835" y="143862"/>
                            <a:pt x="156358" y="144515"/>
                          </a:cubicBezTo>
                          <a:cubicBezTo>
                            <a:pt x="156880" y="145038"/>
                            <a:pt x="157011" y="145822"/>
                            <a:pt x="157011" y="146605"/>
                          </a:cubicBezTo>
                          <a:lnTo>
                            <a:pt x="156619" y="150524"/>
                          </a:lnTo>
                          <a:cubicBezTo>
                            <a:pt x="155966" y="156663"/>
                            <a:pt x="155313" y="162933"/>
                            <a:pt x="154660" y="169073"/>
                          </a:cubicBezTo>
                          <a:cubicBezTo>
                            <a:pt x="153092" y="183572"/>
                            <a:pt x="151525" y="197941"/>
                            <a:pt x="149827" y="212440"/>
                          </a:cubicBezTo>
                          <a:cubicBezTo>
                            <a:pt x="149696" y="213877"/>
                            <a:pt x="148390" y="214922"/>
                            <a:pt x="146953" y="214922"/>
                          </a:cubicBezTo>
                          <a:close/>
                          <a:moveTo>
                            <a:pt x="9144" y="6053"/>
                          </a:moveTo>
                          <a:cubicBezTo>
                            <a:pt x="6792" y="19377"/>
                            <a:pt x="5617" y="33615"/>
                            <a:pt x="5617" y="48506"/>
                          </a:cubicBezTo>
                          <a:cubicBezTo>
                            <a:pt x="5617" y="70843"/>
                            <a:pt x="14499" y="109769"/>
                            <a:pt x="39449" y="145430"/>
                          </a:cubicBezTo>
                          <a:cubicBezTo>
                            <a:pt x="57997" y="171947"/>
                            <a:pt x="91045" y="204472"/>
                            <a:pt x="143426" y="208913"/>
                          </a:cubicBezTo>
                          <a:cubicBezTo>
                            <a:pt x="143687" y="208913"/>
                            <a:pt x="143948" y="208913"/>
                            <a:pt x="144210" y="208913"/>
                          </a:cubicBezTo>
                          <a:cubicBezTo>
                            <a:pt x="145777" y="195328"/>
                            <a:pt x="147214" y="181874"/>
                            <a:pt x="148782" y="168289"/>
                          </a:cubicBezTo>
                          <a:cubicBezTo>
                            <a:pt x="149435" y="162150"/>
                            <a:pt x="150088" y="155880"/>
                            <a:pt x="150741" y="149740"/>
                          </a:cubicBezTo>
                          <a:lnTo>
                            <a:pt x="150741" y="148565"/>
                          </a:lnTo>
                          <a:cubicBezTo>
                            <a:pt x="150741" y="148565"/>
                            <a:pt x="149435" y="148434"/>
                            <a:pt x="148651" y="148303"/>
                          </a:cubicBezTo>
                          <a:cubicBezTo>
                            <a:pt x="134674" y="146605"/>
                            <a:pt x="123440" y="143340"/>
                            <a:pt x="113252" y="138115"/>
                          </a:cubicBezTo>
                          <a:cubicBezTo>
                            <a:pt x="96140" y="129493"/>
                            <a:pt x="82555" y="112773"/>
                            <a:pt x="72627" y="88347"/>
                          </a:cubicBezTo>
                          <a:cubicBezTo>
                            <a:pt x="67794" y="76329"/>
                            <a:pt x="64398" y="64704"/>
                            <a:pt x="62439" y="53731"/>
                          </a:cubicBezTo>
                          <a:cubicBezTo>
                            <a:pt x="61394" y="47461"/>
                            <a:pt x="60871" y="39101"/>
                            <a:pt x="61263" y="33745"/>
                          </a:cubicBezTo>
                          <a:cubicBezTo>
                            <a:pt x="61655" y="28390"/>
                            <a:pt x="62569" y="22642"/>
                            <a:pt x="64006" y="16634"/>
                          </a:cubicBezTo>
                          <a:cubicBezTo>
                            <a:pt x="45719" y="12323"/>
                            <a:pt x="27562" y="9057"/>
                            <a:pt x="9144" y="592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grpSp>
            <p:nvGrpSpPr>
              <p:cNvPr id="815" name="Graphic 717">
                <a:extLst>
                  <a:ext uri="{FF2B5EF4-FFF2-40B4-BE49-F238E27FC236}">
                    <a16:creationId xmlns:a16="http://schemas.microsoft.com/office/drawing/2014/main" id="{050EC01B-34FB-6C20-B219-367DE7618A21}"/>
                  </a:ext>
                </a:extLst>
              </p:cNvPr>
              <p:cNvGrpSpPr/>
              <p:nvPr/>
            </p:nvGrpSpPr>
            <p:grpSpPr>
              <a:xfrm>
                <a:off x="6718914" y="2284073"/>
                <a:ext cx="2388314" cy="1335510"/>
                <a:chOff x="568524" y="3539803"/>
                <a:chExt cx="2688582" cy="1460384"/>
              </a:xfrm>
              <a:noFill/>
            </p:grpSpPr>
            <p:grpSp>
              <p:nvGrpSpPr>
                <p:cNvPr id="816" name="Graphic 717">
                  <a:extLst>
                    <a:ext uri="{FF2B5EF4-FFF2-40B4-BE49-F238E27FC236}">
                      <a16:creationId xmlns:a16="http://schemas.microsoft.com/office/drawing/2014/main" id="{0006EC94-B59E-DF37-5BF0-D77A5147FB57}"/>
                    </a:ext>
                  </a:extLst>
                </p:cNvPr>
                <p:cNvGrpSpPr/>
                <p:nvPr/>
              </p:nvGrpSpPr>
              <p:grpSpPr>
                <a:xfrm>
                  <a:off x="568524" y="3539803"/>
                  <a:ext cx="2688582" cy="1460384"/>
                  <a:chOff x="568524" y="3539803"/>
                  <a:chExt cx="2688582" cy="1460384"/>
                </a:xfrm>
                <a:grpFill/>
              </p:grpSpPr>
              <p:sp>
                <p:nvSpPr>
                  <p:cNvPr id="818" name="Freeform: Shape 817">
                    <a:extLst>
                      <a:ext uri="{FF2B5EF4-FFF2-40B4-BE49-F238E27FC236}">
                        <a16:creationId xmlns:a16="http://schemas.microsoft.com/office/drawing/2014/main" id="{C6A1E132-C570-E65A-F3FD-BF10D6AFA0FF}"/>
                      </a:ext>
                    </a:extLst>
                  </p:cNvPr>
                  <p:cNvSpPr/>
                  <p:nvPr/>
                </p:nvSpPr>
                <p:spPr>
                  <a:xfrm>
                    <a:off x="568524" y="3545289"/>
                    <a:ext cx="2688582" cy="1454898"/>
                  </a:xfrm>
                  <a:custGeom>
                    <a:avLst/>
                    <a:gdLst>
                      <a:gd name="connsiteX0" fmla="*/ 2682684 w 2688582"/>
                      <a:gd name="connsiteY0" fmla="*/ 1453201 h 1454898"/>
                      <a:gd name="connsiteX1" fmla="*/ 2685950 w 2688582"/>
                      <a:gd name="connsiteY1" fmla="*/ 0 h 1454898"/>
                      <a:gd name="connsiteX2" fmla="*/ 3832 w 2688582"/>
                      <a:gd name="connsiteY2" fmla="*/ 2743 h 1454898"/>
                      <a:gd name="connsiteX3" fmla="*/ 3832 w 2688582"/>
                      <a:gd name="connsiteY3" fmla="*/ 1454899 h 1454898"/>
                      <a:gd name="connsiteX4" fmla="*/ 2682684 w 2688582"/>
                      <a:gd name="connsiteY4" fmla="*/ 1453201 h 1454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582" h="1454898">
                        <a:moveTo>
                          <a:pt x="2682684" y="1453201"/>
                        </a:moveTo>
                        <a:cubicBezTo>
                          <a:pt x="2682684" y="932139"/>
                          <a:pt x="2693396" y="489190"/>
                          <a:pt x="2685950" y="0"/>
                        </a:cubicBezTo>
                        <a:cubicBezTo>
                          <a:pt x="1796787" y="0"/>
                          <a:pt x="899656" y="10450"/>
                          <a:pt x="3832" y="2743"/>
                        </a:cubicBezTo>
                        <a:cubicBezTo>
                          <a:pt x="-4790" y="501338"/>
                          <a:pt x="3832" y="970150"/>
                          <a:pt x="3832" y="1454899"/>
                        </a:cubicBezTo>
                        <a:cubicBezTo>
                          <a:pt x="899264" y="1454899"/>
                          <a:pt x="1791823" y="1453201"/>
                          <a:pt x="2682684" y="145320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21" name="Freeform: Shape 820">
                    <a:extLst>
                      <a:ext uri="{FF2B5EF4-FFF2-40B4-BE49-F238E27FC236}">
                        <a16:creationId xmlns:a16="http://schemas.microsoft.com/office/drawing/2014/main" id="{DD62F54F-479E-12B3-69CB-0623534BC1AB}"/>
                      </a:ext>
                    </a:extLst>
                  </p:cNvPr>
                  <p:cNvSpPr/>
                  <p:nvPr/>
                </p:nvSpPr>
                <p:spPr>
                  <a:xfrm>
                    <a:off x="570788" y="3539803"/>
                    <a:ext cx="2684076" cy="97445"/>
                  </a:xfrm>
                  <a:custGeom>
                    <a:avLst/>
                    <a:gdLst>
                      <a:gd name="connsiteX0" fmla="*/ 0 w 2684077"/>
                      <a:gd name="connsiteY0" fmla="*/ 0 h 97446"/>
                      <a:gd name="connsiteX1" fmla="*/ 2684078 w 2684077"/>
                      <a:gd name="connsiteY1" fmla="*/ 0 h 97446"/>
                      <a:gd name="connsiteX2" fmla="*/ 2684078 w 2684077"/>
                      <a:gd name="connsiteY2" fmla="*/ 97446 h 97446"/>
                      <a:gd name="connsiteX3" fmla="*/ 0 w 2684077"/>
                      <a:gd name="connsiteY3" fmla="*/ 97446 h 97446"/>
                    </a:gdLst>
                    <a:ahLst/>
                    <a:cxnLst>
                      <a:cxn ang="0">
                        <a:pos x="connsiteX0" y="connsiteY0"/>
                      </a:cxn>
                      <a:cxn ang="0">
                        <a:pos x="connsiteX1" y="connsiteY1"/>
                      </a:cxn>
                      <a:cxn ang="0">
                        <a:pos x="connsiteX2" y="connsiteY2"/>
                      </a:cxn>
                      <a:cxn ang="0">
                        <a:pos x="connsiteX3" y="connsiteY3"/>
                      </a:cxn>
                    </a:cxnLst>
                    <a:rect l="l" t="t" r="r" b="b"/>
                    <a:pathLst>
                      <a:path w="2684077" h="97446">
                        <a:moveTo>
                          <a:pt x="0" y="0"/>
                        </a:moveTo>
                        <a:lnTo>
                          <a:pt x="2684078" y="0"/>
                        </a:lnTo>
                        <a:lnTo>
                          <a:pt x="2684078" y="97446"/>
                        </a:lnTo>
                        <a:lnTo>
                          <a:pt x="0" y="97446"/>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23" name="Graphic 717">
                  <a:extLst>
                    <a:ext uri="{FF2B5EF4-FFF2-40B4-BE49-F238E27FC236}">
                      <a16:creationId xmlns:a16="http://schemas.microsoft.com/office/drawing/2014/main" id="{A8FE810B-3300-A2DA-71AC-749903C81B94}"/>
                    </a:ext>
                  </a:extLst>
                </p:cNvPr>
                <p:cNvGrpSpPr/>
                <p:nvPr/>
              </p:nvGrpSpPr>
              <p:grpSpPr>
                <a:xfrm>
                  <a:off x="2865081" y="3563315"/>
                  <a:ext cx="329305" cy="52772"/>
                  <a:chOff x="2865081" y="3563315"/>
                  <a:chExt cx="329305" cy="52772"/>
                </a:xfrm>
                <a:grpFill/>
              </p:grpSpPr>
              <p:grpSp>
                <p:nvGrpSpPr>
                  <p:cNvPr id="824" name="Graphic 717">
                    <a:extLst>
                      <a:ext uri="{FF2B5EF4-FFF2-40B4-BE49-F238E27FC236}">
                        <a16:creationId xmlns:a16="http://schemas.microsoft.com/office/drawing/2014/main" id="{AF9C7DC3-F714-75C4-82B2-C940E29173F1}"/>
                      </a:ext>
                    </a:extLst>
                  </p:cNvPr>
                  <p:cNvGrpSpPr/>
                  <p:nvPr/>
                </p:nvGrpSpPr>
                <p:grpSpPr>
                  <a:xfrm>
                    <a:off x="3141614" y="3563315"/>
                    <a:ext cx="52772" cy="52772"/>
                    <a:chOff x="3141614" y="3563315"/>
                    <a:chExt cx="52772" cy="52772"/>
                  </a:xfrm>
                  <a:grpFill/>
                </p:grpSpPr>
                <p:sp>
                  <p:nvSpPr>
                    <p:cNvPr id="825" name="Freeform: Shape 824">
                      <a:extLst>
                        <a:ext uri="{FF2B5EF4-FFF2-40B4-BE49-F238E27FC236}">
                          <a16:creationId xmlns:a16="http://schemas.microsoft.com/office/drawing/2014/main" id="{D217E3E1-C52F-848D-DD7A-7601C0796C4B}"/>
                        </a:ext>
                      </a:extLst>
                    </p:cNvPr>
                    <p:cNvSpPr/>
                    <p:nvPr/>
                  </p:nvSpPr>
                  <p:spPr>
                    <a:xfrm>
                      <a:off x="3146186" y="3568018"/>
                      <a:ext cx="43628" cy="43628"/>
                    </a:xfrm>
                    <a:custGeom>
                      <a:avLst/>
                      <a:gdLst>
                        <a:gd name="connsiteX0" fmla="*/ 0 w 43628"/>
                        <a:gd name="connsiteY0" fmla="*/ 21814 h 43628"/>
                        <a:gd name="connsiteX1" fmla="*/ 21814 w 43628"/>
                        <a:gd name="connsiteY1" fmla="*/ 0 h 43628"/>
                        <a:gd name="connsiteX2" fmla="*/ 43629 w 43628"/>
                        <a:gd name="connsiteY2" fmla="*/ 21814 h 43628"/>
                        <a:gd name="connsiteX3" fmla="*/ 21814 w 43628"/>
                        <a:gd name="connsiteY3" fmla="*/ 43629 h 43628"/>
                        <a:gd name="connsiteX4" fmla="*/ 0 w 43628"/>
                        <a:gd name="connsiteY4" fmla="*/ 21814 h 43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28" h="43628">
                          <a:moveTo>
                            <a:pt x="0" y="21814"/>
                          </a:moveTo>
                          <a:cubicBezTo>
                            <a:pt x="0" y="9797"/>
                            <a:pt x="9797" y="0"/>
                            <a:pt x="21814" y="0"/>
                          </a:cubicBezTo>
                          <a:cubicBezTo>
                            <a:pt x="33832" y="0"/>
                            <a:pt x="43629" y="9797"/>
                            <a:pt x="43629" y="21814"/>
                          </a:cubicBezTo>
                          <a:cubicBezTo>
                            <a:pt x="43629" y="33832"/>
                            <a:pt x="33832" y="43629"/>
                            <a:pt x="21814" y="43629"/>
                          </a:cubicBezTo>
                          <a:cubicBezTo>
                            <a:pt x="9797" y="43629"/>
                            <a:pt x="0" y="33832"/>
                            <a:pt x="0" y="2181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26" name="Freeform: Shape 825">
                      <a:extLst>
                        <a:ext uri="{FF2B5EF4-FFF2-40B4-BE49-F238E27FC236}">
                          <a16:creationId xmlns:a16="http://schemas.microsoft.com/office/drawing/2014/main" id="{EF619867-071E-3320-7C58-AB7B93A2983D}"/>
                        </a:ext>
                      </a:extLst>
                    </p:cNvPr>
                    <p:cNvSpPr/>
                    <p:nvPr/>
                  </p:nvSpPr>
                  <p:spPr>
                    <a:xfrm>
                      <a:off x="3141614" y="3563315"/>
                      <a:ext cx="52772" cy="52772"/>
                    </a:xfrm>
                    <a:custGeom>
                      <a:avLst/>
                      <a:gdLst>
                        <a:gd name="connsiteX0" fmla="*/ 26386 w 52772"/>
                        <a:gd name="connsiteY0" fmla="*/ 52772 h 52772"/>
                        <a:gd name="connsiteX1" fmla="*/ 0 w 52772"/>
                        <a:gd name="connsiteY1" fmla="*/ 26386 h 52772"/>
                        <a:gd name="connsiteX2" fmla="*/ 26386 w 52772"/>
                        <a:gd name="connsiteY2" fmla="*/ 0 h 52772"/>
                        <a:gd name="connsiteX3" fmla="*/ 52772 w 52772"/>
                        <a:gd name="connsiteY3" fmla="*/ 26386 h 52772"/>
                        <a:gd name="connsiteX4" fmla="*/ 26386 w 52772"/>
                        <a:gd name="connsiteY4" fmla="*/ 52772 h 52772"/>
                        <a:gd name="connsiteX5" fmla="*/ 26386 w 52772"/>
                        <a:gd name="connsiteY5" fmla="*/ 9013 h 52772"/>
                        <a:gd name="connsiteX6" fmla="*/ 9013 w 52772"/>
                        <a:gd name="connsiteY6" fmla="*/ 26386 h 52772"/>
                        <a:gd name="connsiteX7" fmla="*/ 26386 w 52772"/>
                        <a:gd name="connsiteY7" fmla="*/ 43759 h 52772"/>
                        <a:gd name="connsiteX8" fmla="*/ 43759 w 52772"/>
                        <a:gd name="connsiteY8" fmla="*/ 26386 h 52772"/>
                        <a:gd name="connsiteX9" fmla="*/ 26386 w 52772"/>
                        <a:gd name="connsiteY9" fmla="*/ 9013 h 52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72" h="52772">
                          <a:moveTo>
                            <a:pt x="26386" y="52772"/>
                          </a:moveTo>
                          <a:cubicBezTo>
                            <a:pt x="11887" y="52772"/>
                            <a:pt x="0" y="40886"/>
                            <a:pt x="0" y="26386"/>
                          </a:cubicBezTo>
                          <a:cubicBezTo>
                            <a:pt x="0" y="11887"/>
                            <a:pt x="11887" y="0"/>
                            <a:pt x="26386" y="0"/>
                          </a:cubicBezTo>
                          <a:cubicBezTo>
                            <a:pt x="40885" y="0"/>
                            <a:pt x="52772" y="11887"/>
                            <a:pt x="52772" y="26386"/>
                          </a:cubicBezTo>
                          <a:cubicBezTo>
                            <a:pt x="52772" y="40886"/>
                            <a:pt x="41016" y="52772"/>
                            <a:pt x="26386" y="52772"/>
                          </a:cubicBezTo>
                          <a:close/>
                          <a:moveTo>
                            <a:pt x="26386" y="9013"/>
                          </a:moveTo>
                          <a:cubicBezTo>
                            <a:pt x="16851" y="9013"/>
                            <a:pt x="9013" y="16851"/>
                            <a:pt x="9013" y="26386"/>
                          </a:cubicBezTo>
                          <a:cubicBezTo>
                            <a:pt x="9013" y="35922"/>
                            <a:pt x="16851" y="43759"/>
                            <a:pt x="26386" y="43759"/>
                          </a:cubicBezTo>
                          <a:cubicBezTo>
                            <a:pt x="35922" y="43759"/>
                            <a:pt x="43759" y="35922"/>
                            <a:pt x="43759" y="26386"/>
                          </a:cubicBezTo>
                          <a:cubicBezTo>
                            <a:pt x="43759" y="16851"/>
                            <a:pt x="35922" y="9013"/>
                            <a:pt x="26386" y="901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27" name="Graphic 717">
                    <a:extLst>
                      <a:ext uri="{FF2B5EF4-FFF2-40B4-BE49-F238E27FC236}">
                        <a16:creationId xmlns:a16="http://schemas.microsoft.com/office/drawing/2014/main" id="{3E3ADED1-78A8-8536-52CD-DBD710B4057A}"/>
                      </a:ext>
                    </a:extLst>
                  </p:cNvPr>
                  <p:cNvGrpSpPr/>
                  <p:nvPr/>
                </p:nvGrpSpPr>
                <p:grpSpPr>
                  <a:xfrm>
                    <a:off x="3003413" y="3563315"/>
                    <a:ext cx="52772" cy="52772"/>
                    <a:chOff x="3003413" y="3563315"/>
                    <a:chExt cx="52772" cy="52772"/>
                  </a:xfrm>
                  <a:grpFill/>
                </p:grpSpPr>
                <p:sp>
                  <p:nvSpPr>
                    <p:cNvPr id="828" name="Freeform: Shape 827">
                      <a:extLst>
                        <a:ext uri="{FF2B5EF4-FFF2-40B4-BE49-F238E27FC236}">
                          <a16:creationId xmlns:a16="http://schemas.microsoft.com/office/drawing/2014/main" id="{314735E1-22DC-85EE-17B2-B2F4EEFDCEB6}"/>
                        </a:ext>
                      </a:extLst>
                    </p:cNvPr>
                    <p:cNvSpPr/>
                    <p:nvPr/>
                  </p:nvSpPr>
                  <p:spPr>
                    <a:xfrm>
                      <a:off x="3007854" y="3568018"/>
                      <a:ext cx="43628" cy="43628"/>
                    </a:xfrm>
                    <a:custGeom>
                      <a:avLst/>
                      <a:gdLst>
                        <a:gd name="connsiteX0" fmla="*/ 0 w 43628"/>
                        <a:gd name="connsiteY0" fmla="*/ 21814 h 43628"/>
                        <a:gd name="connsiteX1" fmla="*/ 21814 w 43628"/>
                        <a:gd name="connsiteY1" fmla="*/ 0 h 43628"/>
                        <a:gd name="connsiteX2" fmla="*/ 43629 w 43628"/>
                        <a:gd name="connsiteY2" fmla="*/ 21814 h 43628"/>
                        <a:gd name="connsiteX3" fmla="*/ 21814 w 43628"/>
                        <a:gd name="connsiteY3" fmla="*/ 43629 h 43628"/>
                        <a:gd name="connsiteX4" fmla="*/ 0 w 43628"/>
                        <a:gd name="connsiteY4" fmla="*/ 21814 h 43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28" h="43628">
                          <a:moveTo>
                            <a:pt x="0" y="21814"/>
                          </a:moveTo>
                          <a:cubicBezTo>
                            <a:pt x="0" y="9797"/>
                            <a:pt x="9797" y="0"/>
                            <a:pt x="21814" y="0"/>
                          </a:cubicBezTo>
                          <a:cubicBezTo>
                            <a:pt x="33832" y="0"/>
                            <a:pt x="43629" y="9797"/>
                            <a:pt x="43629" y="21814"/>
                          </a:cubicBezTo>
                          <a:cubicBezTo>
                            <a:pt x="43629" y="33832"/>
                            <a:pt x="33832" y="43629"/>
                            <a:pt x="21814" y="43629"/>
                          </a:cubicBezTo>
                          <a:cubicBezTo>
                            <a:pt x="9797" y="43629"/>
                            <a:pt x="0" y="33832"/>
                            <a:pt x="0" y="2181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29" name="Freeform: Shape 828">
                      <a:extLst>
                        <a:ext uri="{FF2B5EF4-FFF2-40B4-BE49-F238E27FC236}">
                          <a16:creationId xmlns:a16="http://schemas.microsoft.com/office/drawing/2014/main" id="{71E48EF8-B361-9B4F-5365-5B7CD76528C2}"/>
                        </a:ext>
                      </a:extLst>
                    </p:cNvPr>
                    <p:cNvSpPr/>
                    <p:nvPr/>
                  </p:nvSpPr>
                  <p:spPr>
                    <a:xfrm>
                      <a:off x="3003413" y="3563315"/>
                      <a:ext cx="52772" cy="52772"/>
                    </a:xfrm>
                    <a:custGeom>
                      <a:avLst/>
                      <a:gdLst>
                        <a:gd name="connsiteX0" fmla="*/ 26386 w 52772"/>
                        <a:gd name="connsiteY0" fmla="*/ 52772 h 52772"/>
                        <a:gd name="connsiteX1" fmla="*/ 0 w 52772"/>
                        <a:gd name="connsiteY1" fmla="*/ 26386 h 52772"/>
                        <a:gd name="connsiteX2" fmla="*/ 26386 w 52772"/>
                        <a:gd name="connsiteY2" fmla="*/ 0 h 52772"/>
                        <a:gd name="connsiteX3" fmla="*/ 52772 w 52772"/>
                        <a:gd name="connsiteY3" fmla="*/ 26386 h 52772"/>
                        <a:gd name="connsiteX4" fmla="*/ 26386 w 52772"/>
                        <a:gd name="connsiteY4" fmla="*/ 52772 h 52772"/>
                        <a:gd name="connsiteX5" fmla="*/ 26386 w 52772"/>
                        <a:gd name="connsiteY5" fmla="*/ 9013 h 52772"/>
                        <a:gd name="connsiteX6" fmla="*/ 9013 w 52772"/>
                        <a:gd name="connsiteY6" fmla="*/ 26386 h 52772"/>
                        <a:gd name="connsiteX7" fmla="*/ 26386 w 52772"/>
                        <a:gd name="connsiteY7" fmla="*/ 43759 h 52772"/>
                        <a:gd name="connsiteX8" fmla="*/ 43759 w 52772"/>
                        <a:gd name="connsiteY8" fmla="*/ 26386 h 52772"/>
                        <a:gd name="connsiteX9" fmla="*/ 26386 w 52772"/>
                        <a:gd name="connsiteY9" fmla="*/ 9013 h 52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72" h="52772">
                          <a:moveTo>
                            <a:pt x="26386" y="52772"/>
                          </a:moveTo>
                          <a:cubicBezTo>
                            <a:pt x="11887" y="52772"/>
                            <a:pt x="0" y="40886"/>
                            <a:pt x="0" y="26386"/>
                          </a:cubicBezTo>
                          <a:cubicBezTo>
                            <a:pt x="0" y="11887"/>
                            <a:pt x="11887" y="0"/>
                            <a:pt x="26386" y="0"/>
                          </a:cubicBezTo>
                          <a:cubicBezTo>
                            <a:pt x="40885" y="0"/>
                            <a:pt x="52772" y="11887"/>
                            <a:pt x="52772" y="26386"/>
                          </a:cubicBezTo>
                          <a:cubicBezTo>
                            <a:pt x="52772" y="40886"/>
                            <a:pt x="40885" y="52772"/>
                            <a:pt x="26386" y="52772"/>
                          </a:cubicBezTo>
                          <a:close/>
                          <a:moveTo>
                            <a:pt x="26386" y="9013"/>
                          </a:moveTo>
                          <a:cubicBezTo>
                            <a:pt x="16851" y="9013"/>
                            <a:pt x="9013" y="16851"/>
                            <a:pt x="9013" y="26386"/>
                          </a:cubicBezTo>
                          <a:cubicBezTo>
                            <a:pt x="9013" y="35922"/>
                            <a:pt x="16851" y="43759"/>
                            <a:pt x="26386" y="43759"/>
                          </a:cubicBezTo>
                          <a:cubicBezTo>
                            <a:pt x="35922" y="43759"/>
                            <a:pt x="43759" y="35922"/>
                            <a:pt x="43759" y="26386"/>
                          </a:cubicBezTo>
                          <a:cubicBezTo>
                            <a:pt x="43759" y="16851"/>
                            <a:pt x="35922" y="9013"/>
                            <a:pt x="26386" y="901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30" name="Graphic 717">
                    <a:extLst>
                      <a:ext uri="{FF2B5EF4-FFF2-40B4-BE49-F238E27FC236}">
                        <a16:creationId xmlns:a16="http://schemas.microsoft.com/office/drawing/2014/main" id="{FE68AB7E-466C-8045-813E-1ED370ADEC57}"/>
                      </a:ext>
                    </a:extLst>
                  </p:cNvPr>
                  <p:cNvGrpSpPr/>
                  <p:nvPr/>
                </p:nvGrpSpPr>
                <p:grpSpPr>
                  <a:xfrm>
                    <a:off x="2865081" y="3563315"/>
                    <a:ext cx="52772" cy="52772"/>
                    <a:chOff x="2865081" y="3563315"/>
                    <a:chExt cx="52772" cy="52772"/>
                  </a:xfrm>
                  <a:grpFill/>
                </p:grpSpPr>
                <p:sp>
                  <p:nvSpPr>
                    <p:cNvPr id="831" name="Freeform: Shape 830">
                      <a:extLst>
                        <a:ext uri="{FF2B5EF4-FFF2-40B4-BE49-F238E27FC236}">
                          <a16:creationId xmlns:a16="http://schemas.microsoft.com/office/drawing/2014/main" id="{50611366-8ABC-572C-F846-3495293151CA}"/>
                        </a:ext>
                      </a:extLst>
                    </p:cNvPr>
                    <p:cNvSpPr/>
                    <p:nvPr/>
                  </p:nvSpPr>
                  <p:spPr>
                    <a:xfrm>
                      <a:off x="2869653" y="3568018"/>
                      <a:ext cx="43628" cy="43628"/>
                    </a:xfrm>
                    <a:custGeom>
                      <a:avLst/>
                      <a:gdLst>
                        <a:gd name="connsiteX0" fmla="*/ 0 w 43628"/>
                        <a:gd name="connsiteY0" fmla="*/ 21814 h 43628"/>
                        <a:gd name="connsiteX1" fmla="*/ 21814 w 43628"/>
                        <a:gd name="connsiteY1" fmla="*/ 0 h 43628"/>
                        <a:gd name="connsiteX2" fmla="*/ 43629 w 43628"/>
                        <a:gd name="connsiteY2" fmla="*/ 21814 h 43628"/>
                        <a:gd name="connsiteX3" fmla="*/ 21814 w 43628"/>
                        <a:gd name="connsiteY3" fmla="*/ 43629 h 43628"/>
                        <a:gd name="connsiteX4" fmla="*/ 0 w 43628"/>
                        <a:gd name="connsiteY4" fmla="*/ 21814 h 43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28" h="43628">
                          <a:moveTo>
                            <a:pt x="0" y="21814"/>
                          </a:moveTo>
                          <a:cubicBezTo>
                            <a:pt x="0" y="9797"/>
                            <a:pt x="9797" y="0"/>
                            <a:pt x="21814" y="0"/>
                          </a:cubicBezTo>
                          <a:cubicBezTo>
                            <a:pt x="33832" y="0"/>
                            <a:pt x="43629" y="9797"/>
                            <a:pt x="43629" y="21814"/>
                          </a:cubicBezTo>
                          <a:cubicBezTo>
                            <a:pt x="43629" y="33832"/>
                            <a:pt x="33832" y="43629"/>
                            <a:pt x="21814" y="43629"/>
                          </a:cubicBezTo>
                          <a:cubicBezTo>
                            <a:pt x="9797" y="43629"/>
                            <a:pt x="0" y="33832"/>
                            <a:pt x="0" y="2181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32" name="Freeform: Shape 831">
                      <a:extLst>
                        <a:ext uri="{FF2B5EF4-FFF2-40B4-BE49-F238E27FC236}">
                          <a16:creationId xmlns:a16="http://schemas.microsoft.com/office/drawing/2014/main" id="{510BD7BC-5DCC-6B52-5C17-D29F146F72D9}"/>
                        </a:ext>
                      </a:extLst>
                    </p:cNvPr>
                    <p:cNvSpPr/>
                    <p:nvPr/>
                  </p:nvSpPr>
                  <p:spPr>
                    <a:xfrm>
                      <a:off x="2865081" y="3563315"/>
                      <a:ext cx="52772" cy="52772"/>
                    </a:xfrm>
                    <a:custGeom>
                      <a:avLst/>
                      <a:gdLst>
                        <a:gd name="connsiteX0" fmla="*/ 26386 w 52772"/>
                        <a:gd name="connsiteY0" fmla="*/ 52772 h 52772"/>
                        <a:gd name="connsiteX1" fmla="*/ 0 w 52772"/>
                        <a:gd name="connsiteY1" fmla="*/ 26386 h 52772"/>
                        <a:gd name="connsiteX2" fmla="*/ 26386 w 52772"/>
                        <a:gd name="connsiteY2" fmla="*/ 0 h 52772"/>
                        <a:gd name="connsiteX3" fmla="*/ 52773 w 52772"/>
                        <a:gd name="connsiteY3" fmla="*/ 26386 h 52772"/>
                        <a:gd name="connsiteX4" fmla="*/ 26386 w 52772"/>
                        <a:gd name="connsiteY4" fmla="*/ 52772 h 52772"/>
                        <a:gd name="connsiteX5" fmla="*/ 26386 w 52772"/>
                        <a:gd name="connsiteY5" fmla="*/ 9013 h 52772"/>
                        <a:gd name="connsiteX6" fmla="*/ 9013 w 52772"/>
                        <a:gd name="connsiteY6" fmla="*/ 26386 h 52772"/>
                        <a:gd name="connsiteX7" fmla="*/ 26386 w 52772"/>
                        <a:gd name="connsiteY7" fmla="*/ 43759 h 52772"/>
                        <a:gd name="connsiteX8" fmla="*/ 43759 w 52772"/>
                        <a:gd name="connsiteY8" fmla="*/ 26386 h 52772"/>
                        <a:gd name="connsiteX9" fmla="*/ 26386 w 52772"/>
                        <a:gd name="connsiteY9" fmla="*/ 9013 h 52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72" h="52772">
                          <a:moveTo>
                            <a:pt x="26386" y="52772"/>
                          </a:moveTo>
                          <a:cubicBezTo>
                            <a:pt x="11887" y="52772"/>
                            <a:pt x="0" y="40886"/>
                            <a:pt x="0" y="26386"/>
                          </a:cubicBezTo>
                          <a:cubicBezTo>
                            <a:pt x="0" y="11887"/>
                            <a:pt x="11887" y="0"/>
                            <a:pt x="26386" y="0"/>
                          </a:cubicBezTo>
                          <a:cubicBezTo>
                            <a:pt x="40886" y="0"/>
                            <a:pt x="52773" y="11887"/>
                            <a:pt x="52773" y="26386"/>
                          </a:cubicBezTo>
                          <a:cubicBezTo>
                            <a:pt x="52773" y="40886"/>
                            <a:pt x="41016" y="52772"/>
                            <a:pt x="26386" y="52772"/>
                          </a:cubicBezTo>
                          <a:close/>
                          <a:moveTo>
                            <a:pt x="26386" y="9013"/>
                          </a:moveTo>
                          <a:cubicBezTo>
                            <a:pt x="16851" y="9013"/>
                            <a:pt x="9013" y="16851"/>
                            <a:pt x="9013" y="26386"/>
                          </a:cubicBezTo>
                          <a:cubicBezTo>
                            <a:pt x="9013" y="35922"/>
                            <a:pt x="16851" y="43759"/>
                            <a:pt x="26386" y="43759"/>
                          </a:cubicBezTo>
                          <a:cubicBezTo>
                            <a:pt x="35922" y="43759"/>
                            <a:pt x="43759" y="35922"/>
                            <a:pt x="43759" y="26386"/>
                          </a:cubicBezTo>
                          <a:cubicBezTo>
                            <a:pt x="43759" y="16851"/>
                            <a:pt x="35922" y="9013"/>
                            <a:pt x="26386" y="901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nvGrpSpPr>
                <p:cNvPr id="833" name="Graphic 717">
                  <a:extLst>
                    <a:ext uri="{FF2B5EF4-FFF2-40B4-BE49-F238E27FC236}">
                      <a16:creationId xmlns:a16="http://schemas.microsoft.com/office/drawing/2014/main" id="{11A2C2E2-C190-DD9E-0C76-09CA1F34B3E8}"/>
                    </a:ext>
                  </a:extLst>
                </p:cNvPr>
                <p:cNvGrpSpPr/>
                <p:nvPr/>
              </p:nvGrpSpPr>
              <p:grpSpPr>
                <a:xfrm>
                  <a:off x="1008381" y="3907753"/>
                  <a:ext cx="1722156" cy="924973"/>
                  <a:chOff x="1008381" y="3907753"/>
                  <a:chExt cx="1722156" cy="924973"/>
                </a:xfrm>
                <a:grpFill/>
              </p:grpSpPr>
              <p:sp>
                <p:nvSpPr>
                  <p:cNvPr id="834" name="Freeform: Shape 833">
                    <a:extLst>
                      <a:ext uri="{FF2B5EF4-FFF2-40B4-BE49-F238E27FC236}">
                        <a16:creationId xmlns:a16="http://schemas.microsoft.com/office/drawing/2014/main" id="{3B243FE6-0823-8C34-3F69-299809E8AEF6}"/>
                      </a:ext>
                    </a:extLst>
                  </p:cNvPr>
                  <p:cNvSpPr/>
                  <p:nvPr/>
                </p:nvSpPr>
                <p:spPr>
                  <a:xfrm>
                    <a:off x="1046210" y="3907753"/>
                    <a:ext cx="1622254" cy="798398"/>
                  </a:xfrm>
                  <a:custGeom>
                    <a:avLst/>
                    <a:gdLst>
                      <a:gd name="connsiteX0" fmla="*/ 4494 w 1622254"/>
                      <a:gd name="connsiteY0" fmla="*/ 798398 h 798398"/>
                      <a:gd name="connsiteX1" fmla="*/ 1751 w 1622254"/>
                      <a:gd name="connsiteY1" fmla="*/ 797484 h 798398"/>
                      <a:gd name="connsiteX2" fmla="*/ 967 w 1622254"/>
                      <a:gd name="connsiteY2" fmla="*/ 791214 h 798398"/>
                      <a:gd name="connsiteX3" fmla="*/ 186716 w 1622254"/>
                      <a:gd name="connsiteY3" fmla="*/ 548644 h 798398"/>
                      <a:gd name="connsiteX4" fmla="*/ 189720 w 1622254"/>
                      <a:gd name="connsiteY4" fmla="*/ 546946 h 798398"/>
                      <a:gd name="connsiteX5" fmla="*/ 193116 w 1622254"/>
                      <a:gd name="connsiteY5" fmla="*/ 547860 h 798398"/>
                      <a:gd name="connsiteX6" fmla="*/ 313552 w 1622254"/>
                      <a:gd name="connsiteY6" fmla="*/ 645306 h 798398"/>
                      <a:gd name="connsiteX7" fmla="*/ 578982 w 1622254"/>
                      <a:gd name="connsiteY7" fmla="*/ 176102 h 798398"/>
                      <a:gd name="connsiteX8" fmla="*/ 581986 w 1622254"/>
                      <a:gd name="connsiteY8" fmla="*/ 173881 h 798398"/>
                      <a:gd name="connsiteX9" fmla="*/ 585644 w 1622254"/>
                      <a:gd name="connsiteY9" fmla="*/ 174795 h 798398"/>
                      <a:gd name="connsiteX10" fmla="*/ 720710 w 1622254"/>
                      <a:gd name="connsiteY10" fmla="*/ 281385 h 798398"/>
                      <a:gd name="connsiteX11" fmla="*/ 868054 w 1622254"/>
                      <a:gd name="connsiteY11" fmla="*/ 2371 h 798398"/>
                      <a:gd name="connsiteX12" fmla="*/ 871581 w 1622254"/>
                      <a:gd name="connsiteY12" fmla="*/ 20 h 798398"/>
                      <a:gd name="connsiteX13" fmla="*/ 875500 w 1622254"/>
                      <a:gd name="connsiteY13" fmla="*/ 1587 h 798398"/>
                      <a:gd name="connsiteX14" fmla="*/ 1068825 w 1622254"/>
                      <a:gd name="connsiteY14" fmla="*/ 229266 h 798398"/>
                      <a:gd name="connsiteX15" fmla="*/ 1125777 w 1622254"/>
                      <a:gd name="connsiteY15" fmla="*/ 179629 h 798398"/>
                      <a:gd name="connsiteX16" fmla="*/ 1129304 w 1622254"/>
                      <a:gd name="connsiteY16" fmla="*/ 178584 h 798398"/>
                      <a:gd name="connsiteX17" fmla="*/ 1132439 w 1622254"/>
                      <a:gd name="connsiteY17" fmla="*/ 180543 h 798398"/>
                      <a:gd name="connsiteX18" fmla="*/ 1331380 w 1622254"/>
                      <a:gd name="connsiteY18" fmla="*/ 485291 h 798398"/>
                      <a:gd name="connsiteX19" fmla="*/ 1614314 w 1622254"/>
                      <a:gd name="connsiteY19" fmla="*/ 144099 h 798398"/>
                      <a:gd name="connsiteX20" fmla="*/ 1620584 w 1622254"/>
                      <a:gd name="connsiteY20" fmla="*/ 143446 h 798398"/>
                      <a:gd name="connsiteX21" fmla="*/ 1621237 w 1622254"/>
                      <a:gd name="connsiteY21" fmla="*/ 149716 h 798398"/>
                      <a:gd name="connsiteX22" fmla="*/ 1334516 w 1622254"/>
                      <a:gd name="connsiteY22" fmla="*/ 495610 h 798398"/>
                      <a:gd name="connsiteX23" fmla="*/ 1330858 w 1622254"/>
                      <a:gd name="connsiteY23" fmla="*/ 497177 h 798398"/>
                      <a:gd name="connsiteX24" fmla="*/ 1327331 w 1622254"/>
                      <a:gd name="connsiteY24" fmla="*/ 495218 h 798398"/>
                      <a:gd name="connsiteX25" fmla="*/ 1127867 w 1622254"/>
                      <a:gd name="connsiteY25" fmla="*/ 189687 h 798398"/>
                      <a:gd name="connsiteX26" fmla="*/ 1071307 w 1622254"/>
                      <a:gd name="connsiteY26" fmla="*/ 238932 h 798398"/>
                      <a:gd name="connsiteX27" fmla="*/ 1068041 w 1622254"/>
                      <a:gd name="connsiteY27" fmla="*/ 239977 h 798398"/>
                      <a:gd name="connsiteX28" fmla="*/ 1064906 w 1622254"/>
                      <a:gd name="connsiteY28" fmla="*/ 238410 h 798398"/>
                      <a:gd name="connsiteX29" fmla="*/ 873018 w 1622254"/>
                      <a:gd name="connsiteY29" fmla="*/ 12298 h 798398"/>
                      <a:gd name="connsiteX30" fmla="*/ 726326 w 1622254"/>
                      <a:gd name="connsiteY30" fmla="*/ 290268 h 798398"/>
                      <a:gd name="connsiteX31" fmla="*/ 723322 w 1622254"/>
                      <a:gd name="connsiteY31" fmla="*/ 292619 h 798398"/>
                      <a:gd name="connsiteX32" fmla="*/ 719665 w 1622254"/>
                      <a:gd name="connsiteY32" fmla="*/ 291705 h 798398"/>
                      <a:gd name="connsiteX33" fmla="*/ 584468 w 1622254"/>
                      <a:gd name="connsiteY33" fmla="*/ 185115 h 798398"/>
                      <a:gd name="connsiteX34" fmla="*/ 319039 w 1622254"/>
                      <a:gd name="connsiteY34" fmla="*/ 654319 h 798398"/>
                      <a:gd name="connsiteX35" fmla="*/ 316034 w 1622254"/>
                      <a:gd name="connsiteY35" fmla="*/ 656540 h 798398"/>
                      <a:gd name="connsiteX36" fmla="*/ 312377 w 1622254"/>
                      <a:gd name="connsiteY36" fmla="*/ 655625 h 798398"/>
                      <a:gd name="connsiteX37" fmla="*/ 191418 w 1622254"/>
                      <a:gd name="connsiteY37" fmla="*/ 557787 h 798398"/>
                      <a:gd name="connsiteX38" fmla="*/ 8543 w 1622254"/>
                      <a:gd name="connsiteY38" fmla="*/ 796700 h 798398"/>
                      <a:gd name="connsiteX39" fmla="*/ 5017 w 1622254"/>
                      <a:gd name="connsiteY39" fmla="*/ 798398 h 79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622254" h="798398">
                        <a:moveTo>
                          <a:pt x="4494" y="798398"/>
                        </a:moveTo>
                        <a:cubicBezTo>
                          <a:pt x="3580" y="798398"/>
                          <a:pt x="2535" y="798137"/>
                          <a:pt x="1751" y="797484"/>
                        </a:cubicBezTo>
                        <a:cubicBezTo>
                          <a:pt x="-208" y="795916"/>
                          <a:pt x="-600" y="793173"/>
                          <a:pt x="967" y="791214"/>
                        </a:cubicBezTo>
                        <a:lnTo>
                          <a:pt x="186716" y="548644"/>
                        </a:lnTo>
                        <a:cubicBezTo>
                          <a:pt x="187499" y="547729"/>
                          <a:pt x="188544" y="547076"/>
                          <a:pt x="189720" y="546946"/>
                        </a:cubicBezTo>
                        <a:cubicBezTo>
                          <a:pt x="190896" y="546815"/>
                          <a:pt x="192071" y="547207"/>
                          <a:pt x="193116" y="547860"/>
                        </a:cubicBezTo>
                        <a:lnTo>
                          <a:pt x="313552" y="645306"/>
                        </a:lnTo>
                        <a:lnTo>
                          <a:pt x="578982" y="176102"/>
                        </a:lnTo>
                        <a:cubicBezTo>
                          <a:pt x="579635" y="174926"/>
                          <a:pt x="580680" y="174142"/>
                          <a:pt x="581986" y="173881"/>
                        </a:cubicBezTo>
                        <a:cubicBezTo>
                          <a:pt x="583292" y="173620"/>
                          <a:pt x="584599" y="173881"/>
                          <a:pt x="585644" y="174795"/>
                        </a:cubicBezTo>
                        <a:lnTo>
                          <a:pt x="720710" y="281385"/>
                        </a:lnTo>
                        <a:lnTo>
                          <a:pt x="868054" y="2371"/>
                        </a:lnTo>
                        <a:cubicBezTo>
                          <a:pt x="868708" y="1065"/>
                          <a:pt x="870014" y="150"/>
                          <a:pt x="871581" y="20"/>
                        </a:cubicBezTo>
                        <a:cubicBezTo>
                          <a:pt x="873018" y="-111"/>
                          <a:pt x="874455" y="411"/>
                          <a:pt x="875500" y="1587"/>
                        </a:cubicBezTo>
                        <a:lnTo>
                          <a:pt x="1068825" y="229266"/>
                        </a:lnTo>
                        <a:lnTo>
                          <a:pt x="1125777" y="179629"/>
                        </a:lnTo>
                        <a:cubicBezTo>
                          <a:pt x="1126691" y="178845"/>
                          <a:pt x="1127998" y="178453"/>
                          <a:pt x="1129304" y="178584"/>
                        </a:cubicBezTo>
                        <a:cubicBezTo>
                          <a:pt x="1130610" y="178714"/>
                          <a:pt x="1131786" y="179498"/>
                          <a:pt x="1132439" y="180543"/>
                        </a:cubicBezTo>
                        <a:lnTo>
                          <a:pt x="1331380" y="485291"/>
                        </a:lnTo>
                        <a:lnTo>
                          <a:pt x="1614314" y="144099"/>
                        </a:lnTo>
                        <a:cubicBezTo>
                          <a:pt x="1615881" y="142139"/>
                          <a:pt x="1618755" y="141878"/>
                          <a:pt x="1620584" y="143446"/>
                        </a:cubicBezTo>
                        <a:cubicBezTo>
                          <a:pt x="1622543" y="145013"/>
                          <a:pt x="1622804" y="147887"/>
                          <a:pt x="1621237" y="149716"/>
                        </a:cubicBezTo>
                        <a:lnTo>
                          <a:pt x="1334516" y="495610"/>
                        </a:lnTo>
                        <a:cubicBezTo>
                          <a:pt x="1333601" y="496655"/>
                          <a:pt x="1332295" y="497308"/>
                          <a:pt x="1330858" y="497177"/>
                        </a:cubicBezTo>
                        <a:cubicBezTo>
                          <a:pt x="1329421" y="497177"/>
                          <a:pt x="1328115" y="496394"/>
                          <a:pt x="1327331" y="495218"/>
                        </a:cubicBezTo>
                        <a:lnTo>
                          <a:pt x="1127867" y="189687"/>
                        </a:lnTo>
                        <a:lnTo>
                          <a:pt x="1071307" y="238932"/>
                        </a:lnTo>
                        <a:cubicBezTo>
                          <a:pt x="1070392" y="239716"/>
                          <a:pt x="1069216" y="240108"/>
                          <a:pt x="1068041" y="239977"/>
                        </a:cubicBezTo>
                        <a:cubicBezTo>
                          <a:pt x="1066865" y="239977"/>
                          <a:pt x="1065690" y="239324"/>
                          <a:pt x="1064906" y="238410"/>
                        </a:cubicBezTo>
                        <a:lnTo>
                          <a:pt x="873018" y="12298"/>
                        </a:lnTo>
                        <a:lnTo>
                          <a:pt x="726326" y="290268"/>
                        </a:lnTo>
                        <a:cubicBezTo>
                          <a:pt x="725673" y="291443"/>
                          <a:pt x="724628" y="292227"/>
                          <a:pt x="723322" y="292619"/>
                        </a:cubicBezTo>
                        <a:cubicBezTo>
                          <a:pt x="722016" y="292880"/>
                          <a:pt x="720710" y="292619"/>
                          <a:pt x="719665" y="291705"/>
                        </a:cubicBezTo>
                        <a:lnTo>
                          <a:pt x="584468" y="185115"/>
                        </a:lnTo>
                        <a:lnTo>
                          <a:pt x="319039" y="654319"/>
                        </a:lnTo>
                        <a:cubicBezTo>
                          <a:pt x="318385" y="655495"/>
                          <a:pt x="317210" y="656278"/>
                          <a:pt x="316034" y="656540"/>
                        </a:cubicBezTo>
                        <a:cubicBezTo>
                          <a:pt x="314728" y="656801"/>
                          <a:pt x="313422" y="656540"/>
                          <a:pt x="312377" y="655625"/>
                        </a:cubicBezTo>
                        <a:lnTo>
                          <a:pt x="191418" y="557787"/>
                        </a:lnTo>
                        <a:lnTo>
                          <a:pt x="8543" y="796700"/>
                        </a:lnTo>
                        <a:cubicBezTo>
                          <a:pt x="7629" y="797876"/>
                          <a:pt x="6323" y="798398"/>
                          <a:pt x="5017" y="79839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35" name="Freeform: Shape 834">
                    <a:extLst>
                      <a:ext uri="{FF2B5EF4-FFF2-40B4-BE49-F238E27FC236}">
                        <a16:creationId xmlns:a16="http://schemas.microsoft.com/office/drawing/2014/main" id="{4F3FD97A-39FC-C6AE-4E31-3915F28BFC46}"/>
                      </a:ext>
                    </a:extLst>
                  </p:cNvPr>
                  <p:cNvSpPr/>
                  <p:nvPr/>
                </p:nvSpPr>
                <p:spPr>
                  <a:xfrm>
                    <a:off x="1232141" y="4456789"/>
                    <a:ext cx="10058" cy="375938"/>
                  </a:xfrm>
                  <a:custGeom>
                    <a:avLst/>
                    <a:gdLst>
                      <a:gd name="connsiteX0" fmla="*/ 5748 w 10058"/>
                      <a:gd name="connsiteY0" fmla="*/ 375938 h 375938"/>
                      <a:gd name="connsiteX1" fmla="*/ 1306 w 10058"/>
                      <a:gd name="connsiteY1" fmla="*/ 371497 h 375938"/>
                      <a:gd name="connsiteX2" fmla="*/ 1306 w 10058"/>
                      <a:gd name="connsiteY2" fmla="*/ 335706 h 375938"/>
                      <a:gd name="connsiteX3" fmla="*/ 5617 w 10058"/>
                      <a:gd name="connsiteY3" fmla="*/ 331264 h 375938"/>
                      <a:gd name="connsiteX4" fmla="*/ 5617 w 10058"/>
                      <a:gd name="connsiteY4" fmla="*/ 331264 h 375938"/>
                      <a:gd name="connsiteX5" fmla="*/ 10058 w 10058"/>
                      <a:gd name="connsiteY5" fmla="*/ 335706 h 375938"/>
                      <a:gd name="connsiteX6" fmla="*/ 10058 w 10058"/>
                      <a:gd name="connsiteY6" fmla="*/ 371497 h 375938"/>
                      <a:gd name="connsiteX7" fmla="*/ 5748 w 10058"/>
                      <a:gd name="connsiteY7" fmla="*/ 375938 h 375938"/>
                      <a:gd name="connsiteX8" fmla="*/ 5748 w 10058"/>
                      <a:gd name="connsiteY8" fmla="*/ 375938 h 375938"/>
                      <a:gd name="connsiteX9" fmla="*/ 5486 w 10058"/>
                      <a:gd name="connsiteY9" fmla="*/ 304356 h 375938"/>
                      <a:gd name="connsiteX10" fmla="*/ 1045 w 10058"/>
                      <a:gd name="connsiteY10" fmla="*/ 299914 h 375938"/>
                      <a:gd name="connsiteX11" fmla="*/ 1045 w 10058"/>
                      <a:gd name="connsiteY11" fmla="*/ 264123 h 375938"/>
                      <a:gd name="connsiteX12" fmla="*/ 5356 w 10058"/>
                      <a:gd name="connsiteY12" fmla="*/ 259682 h 375938"/>
                      <a:gd name="connsiteX13" fmla="*/ 5356 w 10058"/>
                      <a:gd name="connsiteY13" fmla="*/ 259682 h 375938"/>
                      <a:gd name="connsiteX14" fmla="*/ 9797 w 10058"/>
                      <a:gd name="connsiteY14" fmla="*/ 264123 h 375938"/>
                      <a:gd name="connsiteX15" fmla="*/ 9797 w 10058"/>
                      <a:gd name="connsiteY15" fmla="*/ 299914 h 375938"/>
                      <a:gd name="connsiteX16" fmla="*/ 5486 w 10058"/>
                      <a:gd name="connsiteY16" fmla="*/ 304356 h 375938"/>
                      <a:gd name="connsiteX17" fmla="*/ 5486 w 10058"/>
                      <a:gd name="connsiteY17" fmla="*/ 304356 h 375938"/>
                      <a:gd name="connsiteX18" fmla="*/ 5225 w 10058"/>
                      <a:gd name="connsiteY18" fmla="*/ 232773 h 375938"/>
                      <a:gd name="connsiteX19" fmla="*/ 784 w 10058"/>
                      <a:gd name="connsiteY19" fmla="*/ 228332 h 375938"/>
                      <a:gd name="connsiteX20" fmla="*/ 784 w 10058"/>
                      <a:gd name="connsiteY20" fmla="*/ 192541 h 375938"/>
                      <a:gd name="connsiteX21" fmla="*/ 5094 w 10058"/>
                      <a:gd name="connsiteY21" fmla="*/ 188100 h 375938"/>
                      <a:gd name="connsiteX22" fmla="*/ 5094 w 10058"/>
                      <a:gd name="connsiteY22" fmla="*/ 188100 h 375938"/>
                      <a:gd name="connsiteX23" fmla="*/ 9536 w 10058"/>
                      <a:gd name="connsiteY23" fmla="*/ 192541 h 375938"/>
                      <a:gd name="connsiteX24" fmla="*/ 9536 w 10058"/>
                      <a:gd name="connsiteY24" fmla="*/ 228332 h 375938"/>
                      <a:gd name="connsiteX25" fmla="*/ 5225 w 10058"/>
                      <a:gd name="connsiteY25" fmla="*/ 232773 h 375938"/>
                      <a:gd name="connsiteX26" fmla="*/ 5225 w 10058"/>
                      <a:gd name="connsiteY26" fmla="*/ 232773 h 375938"/>
                      <a:gd name="connsiteX27" fmla="*/ 4964 w 10058"/>
                      <a:gd name="connsiteY27" fmla="*/ 161191 h 375938"/>
                      <a:gd name="connsiteX28" fmla="*/ 523 w 10058"/>
                      <a:gd name="connsiteY28" fmla="*/ 156750 h 375938"/>
                      <a:gd name="connsiteX29" fmla="*/ 523 w 10058"/>
                      <a:gd name="connsiteY29" fmla="*/ 120958 h 375938"/>
                      <a:gd name="connsiteX30" fmla="*/ 4833 w 10058"/>
                      <a:gd name="connsiteY30" fmla="*/ 116517 h 375938"/>
                      <a:gd name="connsiteX31" fmla="*/ 4833 w 10058"/>
                      <a:gd name="connsiteY31" fmla="*/ 116517 h 375938"/>
                      <a:gd name="connsiteX32" fmla="*/ 9274 w 10058"/>
                      <a:gd name="connsiteY32" fmla="*/ 120958 h 375938"/>
                      <a:gd name="connsiteX33" fmla="*/ 9274 w 10058"/>
                      <a:gd name="connsiteY33" fmla="*/ 156750 h 375938"/>
                      <a:gd name="connsiteX34" fmla="*/ 4964 w 10058"/>
                      <a:gd name="connsiteY34" fmla="*/ 161191 h 375938"/>
                      <a:gd name="connsiteX35" fmla="*/ 4964 w 10058"/>
                      <a:gd name="connsiteY35" fmla="*/ 161191 h 375938"/>
                      <a:gd name="connsiteX36" fmla="*/ 4702 w 10058"/>
                      <a:gd name="connsiteY36" fmla="*/ 89609 h 375938"/>
                      <a:gd name="connsiteX37" fmla="*/ 261 w 10058"/>
                      <a:gd name="connsiteY37" fmla="*/ 85167 h 375938"/>
                      <a:gd name="connsiteX38" fmla="*/ 261 w 10058"/>
                      <a:gd name="connsiteY38" fmla="*/ 49376 h 375938"/>
                      <a:gd name="connsiteX39" fmla="*/ 4572 w 10058"/>
                      <a:gd name="connsiteY39" fmla="*/ 44935 h 375938"/>
                      <a:gd name="connsiteX40" fmla="*/ 4572 w 10058"/>
                      <a:gd name="connsiteY40" fmla="*/ 44935 h 375938"/>
                      <a:gd name="connsiteX41" fmla="*/ 9013 w 10058"/>
                      <a:gd name="connsiteY41" fmla="*/ 49376 h 375938"/>
                      <a:gd name="connsiteX42" fmla="*/ 9013 w 10058"/>
                      <a:gd name="connsiteY42" fmla="*/ 85167 h 375938"/>
                      <a:gd name="connsiteX43" fmla="*/ 4702 w 10058"/>
                      <a:gd name="connsiteY43" fmla="*/ 89609 h 375938"/>
                      <a:gd name="connsiteX44" fmla="*/ 4702 w 10058"/>
                      <a:gd name="connsiteY44" fmla="*/ 89609 h 375938"/>
                      <a:gd name="connsiteX45" fmla="*/ 4441 w 10058"/>
                      <a:gd name="connsiteY45" fmla="*/ 18026 h 375938"/>
                      <a:gd name="connsiteX46" fmla="*/ 0 w 10058"/>
                      <a:gd name="connsiteY46" fmla="*/ 13585 h 375938"/>
                      <a:gd name="connsiteX47" fmla="*/ 0 w 10058"/>
                      <a:gd name="connsiteY47" fmla="*/ 4441 h 375938"/>
                      <a:gd name="connsiteX48" fmla="*/ 4441 w 10058"/>
                      <a:gd name="connsiteY48" fmla="*/ 0 h 375938"/>
                      <a:gd name="connsiteX49" fmla="*/ 4441 w 10058"/>
                      <a:gd name="connsiteY49" fmla="*/ 0 h 375938"/>
                      <a:gd name="connsiteX50" fmla="*/ 8882 w 10058"/>
                      <a:gd name="connsiteY50" fmla="*/ 4441 h 375938"/>
                      <a:gd name="connsiteX51" fmla="*/ 8882 w 10058"/>
                      <a:gd name="connsiteY51" fmla="*/ 13585 h 375938"/>
                      <a:gd name="connsiteX52" fmla="*/ 4441 w 10058"/>
                      <a:gd name="connsiteY52" fmla="*/ 18026 h 375938"/>
                      <a:gd name="connsiteX53" fmla="*/ 4441 w 10058"/>
                      <a:gd name="connsiteY53" fmla="*/ 18026 h 37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58" h="375938">
                        <a:moveTo>
                          <a:pt x="5748" y="375938"/>
                        </a:moveTo>
                        <a:cubicBezTo>
                          <a:pt x="3266" y="375938"/>
                          <a:pt x="1306" y="373979"/>
                          <a:pt x="1306" y="371497"/>
                        </a:cubicBezTo>
                        <a:lnTo>
                          <a:pt x="1306" y="335706"/>
                        </a:lnTo>
                        <a:cubicBezTo>
                          <a:pt x="1176" y="333224"/>
                          <a:pt x="3135" y="331264"/>
                          <a:pt x="5617" y="331264"/>
                        </a:cubicBezTo>
                        <a:lnTo>
                          <a:pt x="5617" y="331264"/>
                        </a:lnTo>
                        <a:cubicBezTo>
                          <a:pt x="8099" y="331264"/>
                          <a:pt x="10058" y="333224"/>
                          <a:pt x="10058" y="335706"/>
                        </a:cubicBezTo>
                        <a:lnTo>
                          <a:pt x="10058" y="371497"/>
                        </a:lnTo>
                        <a:cubicBezTo>
                          <a:pt x="10058" y="373979"/>
                          <a:pt x="8229" y="375938"/>
                          <a:pt x="5748" y="375938"/>
                        </a:cubicBezTo>
                        <a:lnTo>
                          <a:pt x="5748" y="375938"/>
                        </a:lnTo>
                        <a:close/>
                        <a:moveTo>
                          <a:pt x="5486" y="304356"/>
                        </a:moveTo>
                        <a:cubicBezTo>
                          <a:pt x="3004" y="304356"/>
                          <a:pt x="1045" y="302396"/>
                          <a:pt x="1045" y="299914"/>
                        </a:cubicBezTo>
                        <a:lnTo>
                          <a:pt x="1045" y="264123"/>
                        </a:lnTo>
                        <a:cubicBezTo>
                          <a:pt x="1045" y="261641"/>
                          <a:pt x="2874" y="259682"/>
                          <a:pt x="5356" y="259682"/>
                        </a:cubicBezTo>
                        <a:lnTo>
                          <a:pt x="5356" y="259682"/>
                        </a:lnTo>
                        <a:cubicBezTo>
                          <a:pt x="7837" y="259682"/>
                          <a:pt x="9797" y="261641"/>
                          <a:pt x="9797" y="264123"/>
                        </a:cubicBezTo>
                        <a:lnTo>
                          <a:pt x="9797" y="299914"/>
                        </a:lnTo>
                        <a:cubicBezTo>
                          <a:pt x="9797" y="302396"/>
                          <a:pt x="7968" y="304356"/>
                          <a:pt x="5486" y="304356"/>
                        </a:cubicBezTo>
                        <a:lnTo>
                          <a:pt x="5486" y="304356"/>
                        </a:lnTo>
                        <a:close/>
                        <a:moveTo>
                          <a:pt x="5225" y="232773"/>
                        </a:moveTo>
                        <a:cubicBezTo>
                          <a:pt x="2743" y="232773"/>
                          <a:pt x="784" y="230814"/>
                          <a:pt x="784" y="228332"/>
                        </a:cubicBezTo>
                        <a:lnTo>
                          <a:pt x="784" y="192541"/>
                        </a:lnTo>
                        <a:cubicBezTo>
                          <a:pt x="653" y="190059"/>
                          <a:pt x="2613" y="188100"/>
                          <a:pt x="5094" y="188100"/>
                        </a:cubicBezTo>
                        <a:lnTo>
                          <a:pt x="5094" y="188100"/>
                        </a:lnTo>
                        <a:cubicBezTo>
                          <a:pt x="7576" y="188100"/>
                          <a:pt x="9536" y="190059"/>
                          <a:pt x="9536" y="192541"/>
                        </a:cubicBezTo>
                        <a:lnTo>
                          <a:pt x="9536" y="228332"/>
                        </a:lnTo>
                        <a:cubicBezTo>
                          <a:pt x="9536" y="230814"/>
                          <a:pt x="7707" y="232773"/>
                          <a:pt x="5225" y="232773"/>
                        </a:cubicBezTo>
                        <a:lnTo>
                          <a:pt x="5225" y="232773"/>
                        </a:lnTo>
                        <a:close/>
                        <a:moveTo>
                          <a:pt x="4964" y="161191"/>
                        </a:moveTo>
                        <a:cubicBezTo>
                          <a:pt x="2482" y="161191"/>
                          <a:pt x="523" y="159232"/>
                          <a:pt x="523" y="156750"/>
                        </a:cubicBezTo>
                        <a:lnTo>
                          <a:pt x="523" y="120958"/>
                        </a:lnTo>
                        <a:cubicBezTo>
                          <a:pt x="523" y="118477"/>
                          <a:pt x="2351" y="116517"/>
                          <a:pt x="4833" y="116517"/>
                        </a:cubicBezTo>
                        <a:lnTo>
                          <a:pt x="4833" y="116517"/>
                        </a:lnTo>
                        <a:cubicBezTo>
                          <a:pt x="7315" y="116517"/>
                          <a:pt x="9274" y="118477"/>
                          <a:pt x="9274" y="120958"/>
                        </a:cubicBezTo>
                        <a:lnTo>
                          <a:pt x="9274" y="156750"/>
                        </a:lnTo>
                        <a:cubicBezTo>
                          <a:pt x="9274" y="159232"/>
                          <a:pt x="7446" y="161191"/>
                          <a:pt x="4964" y="161191"/>
                        </a:cubicBezTo>
                        <a:lnTo>
                          <a:pt x="4964" y="161191"/>
                        </a:lnTo>
                        <a:close/>
                        <a:moveTo>
                          <a:pt x="4702" y="89609"/>
                        </a:moveTo>
                        <a:cubicBezTo>
                          <a:pt x="2221" y="89609"/>
                          <a:pt x="261" y="87649"/>
                          <a:pt x="261" y="85167"/>
                        </a:cubicBezTo>
                        <a:lnTo>
                          <a:pt x="261" y="49376"/>
                        </a:lnTo>
                        <a:cubicBezTo>
                          <a:pt x="131" y="46894"/>
                          <a:pt x="2090" y="44935"/>
                          <a:pt x="4572" y="44935"/>
                        </a:cubicBezTo>
                        <a:lnTo>
                          <a:pt x="4572" y="44935"/>
                        </a:lnTo>
                        <a:cubicBezTo>
                          <a:pt x="7054" y="44935"/>
                          <a:pt x="9013" y="46894"/>
                          <a:pt x="9013" y="49376"/>
                        </a:cubicBezTo>
                        <a:lnTo>
                          <a:pt x="9013" y="85167"/>
                        </a:lnTo>
                        <a:cubicBezTo>
                          <a:pt x="9013" y="87649"/>
                          <a:pt x="7184" y="89609"/>
                          <a:pt x="4702" y="89609"/>
                        </a:cubicBezTo>
                        <a:lnTo>
                          <a:pt x="4702" y="89609"/>
                        </a:lnTo>
                        <a:close/>
                        <a:moveTo>
                          <a:pt x="4441" y="18026"/>
                        </a:moveTo>
                        <a:cubicBezTo>
                          <a:pt x="1959" y="18026"/>
                          <a:pt x="0" y="16067"/>
                          <a:pt x="0" y="13585"/>
                        </a:cubicBezTo>
                        <a:lnTo>
                          <a:pt x="0" y="4441"/>
                        </a:lnTo>
                        <a:cubicBezTo>
                          <a:pt x="0" y="1959"/>
                          <a:pt x="1959" y="0"/>
                          <a:pt x="4441" y="0"/>
                        </a:cubicBezTo>
                        <a:lnTo>
                          <a:pt x="4441" y="0"/>
                        </a:lnTo>
                        <a:cubicBezTo>
                          <a:pt x="6923" y="0"/>
                          <a:pt x="8882" y="1959"/>
                          <a:pt x="8882" y="4441"/>
                        </a:cubicBezTo>
                        <a:lnTo>
                          <a:pt x="8882" y="13585"/>
                        </a:lnTo>
                        <a:cubicBezTo>
                          <a:pt x="8882" y="16067"/>
                          <a:pt x="6923" y="18026"/>
                          <a:pt x="4441" y="18026"/>
                        </a:cubicBezTo>
                        <a:lnTo>
                          <a:pt x="4441" y="18026"/>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36" name="Freeform: Shape 835">
                    <a:extLst>
                      <a:ext uri="{FF2B5EF4-FFF2-40B4-BE49-F238E27FC236}">
                        <a16:creationId xmlns:a16="http://schemas.microsoft.com/office/drawing/2014/main" id="{8FE3FE93-CE12-45D6-2500-406C4CB786E8}"/>
                      </a:ext>
                    </a:extLst>
                  </p:cNvPr>
                  <p:cNvSpPr/>
                  <p:nvPr/>
                </p:nvSpPr>
                <p:spPr>
                  <a:xfrm>
                    <a:off x="1625061" y="4081896"/>
                    <a:ext cx="8882" cy="742993"/>
                  </a:xfrm>
                  <a:custGeom>
                    <a:avLst/>
                    <a:gdLst>
                      <a:gd name="connsiteX0" fmla="*/ 4441 w 8882"/>
                      <a:gd name="connsiteY0" fmla="*/ 742994 h 742993"/>
                      <a:gd name="connsiteX1" fmla="*/ 0 w 8882"/>
                      <a:gd name="connsiteY1" fmla="*/ 738552 h 742993"/>
                      <a:gd name="connsiteX2" fmla="*/ 0 w 8882"/>
                      <a:gd name="connsiteY2" fmla="*/ 702761 h 742993"/>
                      <a:gd name="connsiteX3" fmla="*/ 4441 w 8882"/>
                      <a:gd name="connsiteY3" fmla="*/ 698320 h 742993"/>
                      <a:gd name="connsiteX4" fmla="*/ 4441 w 8882"/>
                      <a:gd name="connsiteY4" fmla="*/ 698320 h 742993"/>
                      <a:gd name="connsiteX5" fmla="*/ 8882 w 8882"/>
                      <a:gd name="connsiteY5" fmla="*/ 702761 h 742993"/>
                      <a:gd name="connsiteX6" fmla="*/ 8882 w 8882"/>
                      <a:gd name="connsiteY6" fmla="*/ 738552 h 742993"/>
                      <a:gd name="connsiteX7" fmla="*/ 4441 w 8882"/>
                      <a:gd name="connsiteY7" fmla="*/ 742994 h 742993"/>
                      <a:gd name="connsiteX8" fmla="*/ 4441 w 8882"/>
                      <a:gd name="connsiteY8" fmla="*/ 742994 h 742993"/>
                      <a:gd name="connsiteX9" fmla="*/ 4441 w 8882"/>
                      <a:gd name="connsiteY9" fmla="*/ 671411 h 742993"/>
                      <a:gd name="connsiteX10" fmla="*/ 0 w 8882"/>
                      <a:gd name="connsiteY10" fmla="*/ 666970 h 742993"/>
                      <a:gd name="connsiteX11" fmla="*/ 0 w 8882"/>
                      <a:gd name="connsiteY11" fmla="*/ 631179 h 742993"/>
                      <a:gd name="connsiteX12" fmla="*/ 4441 w 8882"/>
                      <a:gd name="connsiteY12" fmla="*/ 626738 h 742993"/>
                      <a:gd name="connsiteX13" fmla="*/ 4441 w 8882"/>
                      <a:gd name="connsiteY13" fmla="*/ 626738 h 742993"/>
                      <a:gd name="connsiteX14" fmla="*/ 8882 w 8882"/>
                      <a:gd name="connsiteY14" fmla="*/ 631179 h 742993"/>
                      <a:gd name="connsiteX15" fmla="*/ 8882 w 8882"/>
                      <a:gd name="connsiteY15" fmla="*/ 666970 h 742993"/>
                      <a:gd name="connsiteX16" fmla="*/ 4441 w 8882"/>
                      <a:gd name="connsiteY16" fmla="*/ 671411 h 742993"/>
                      <a:gd name="connsiteX17" fmla="*/ 4441 w 8882"/>
                      <a:gd name="connsiteY17" fmla="*/ 671411 h 742993"/>
                      <a:gd name="connsiteX18" fmla="*/ 4441 w 8882"/>
                      <a:gd name="connsiteY18" fmla="*/ 599829 h 742993"/>
                      <a:gd name="connsiteX19" fmla="*/ 0 w 8882"/>
                      <a:gd name="connsiteY19" fmla="*/ 595388 h 742993"/>
                      <a:gd name="connsiteX20" fmla="*/ 0 w 8882"/>
                      <a:gd name="connsiteY20" fmla="*/ 559597 h 742993"/>
                      <a:gd name="connsiteX21" fmla="*/ 4441 w 8882"/>
                      <a:gd name="connsiteY21" fmla="*/ 555155 h 742993"/>
                      <a:gd name="connsiteX22" fmla="*/ 4441 w 8882"/>
                      <a:gd name="connsiteY22" fmla="*/ 555155 h 742993"/>
                      <a:gd name="connsiteX23" fmla="*/ 8882 w 8882"/>
                      <a:gd name="connsiteY23" fmla="*/ 559597 h 742993"/>
                      <a:gd name="connsiteX24" fmla="*/ 8882 w 8882"/>
                      <a:gd name="connsiteY24" fmla="*/ 595388 h 742993"/>
                      <a:gd name="connsiteX25" fmla="*/ 4441 w 8882"/>
                      <a:gd name="connsiteY25" fmla="*/ 599829 h 742993"/>
                      <a:gd name="connsiteX26" fmla="*/ 4441 w 8882"/>
                      <a:gd name="connsiteY26" fmla="*/ 599829 h 742993"/>
                      <a:gd name="connsiteX27" fmla="*/ 4441 w 8882"/>
                      <a:gd name="connsiteY27" fmla="*/ 528246 h 742993"/>
                      <a:gd name="connsiteX28" fmla="*/ 0 w 8882"/>
                      <a:gd name="connsiteY28" fmla="*/ 523805 h 742993"/>
                      <a:gd name="connsiteX29" fmla="*/ 0 w 8882"/>
                      <a:gd name="connsiteY29" fmla="*/ 488014 h 742993"/>
                      <a:gd name="connsiteX30" fmla="*/ 4441 w 8882"/>
                      <a:gd name="connsiteY30" fmla="*/ 483573 h 742993"/>
                      <a:gd name="connsiteX31" fmla="*/ 4441 w 8882"/>
                      <a:gd name="connsiteY31" fmla="*/ 483573 h 742993"/>
                      <a:gd name="connsiteX32" fmla="*/ 8882 w 8882"/>
                      <a:gd name="connsiteY32" fmla="*/ 488014 h 742993"/>
                      <a:gd name="connsiteX33" fmla="*/ 8882 w 8882"/>
                      <a:gd name="connsiteY33" fmla="*/ 523805 h 742993"/>
                      <a:gd name="connsiteX34" fmla="*/ 4441 w 8882"/>
                      <a:gd name="connsiteY34" fmla="*/ 528246 h 742993"/>
                      <a:gd name="connsiteX35" fmla="*/ 4441 w 8882"/>
                      <a:gd name="connsiteY35" fmla="*/ 528246 h 742993"/>
                      <a:gd name="connsiteX36" fmla="*/ 4441 w 8882"/>
                      <a:gd name="connsiteY36" fmla="*/ 456664 h 742993"/>
                      <a:gd name="connsiteX37" fmla="*/ 0 w 8882"/>
                      <a:gd name="connsiteY37" fmla="*/ 452223 h 742993"/>
                      <a:gd name="connsiteX38" fmla="*/ 0 w 8882"/>
                      <a:gd name="connsiteY38" fmla="*/ 416432 h 742993"/>
                      <a:gd name="connsiteX39" fmla="*/ 4441 w 8882"/>
                      <a:gd name="connsiteY39" fmla="*/ 411990 h 742993"/>
                      <a:gd name="connsiteX40" fmla="*/ 4441 w 8882"/>
                      <a:gd name="connsiteY40" fmla="*/ 411990 h 742993"/>
                      <a:gd name="connsiteX41" fmla="*/ 8882 w 8882"/>
                      <a:gd name="connsiteY41" fmla="*/ 416432 h 742993"/>
                      <a:gd name="connsiteX42" fmla="*/ 8882 w 8882"/>
                      <a:gd name="connsiteY42" fmla="*/ 452223 h 742993"/>
                      <a:gd name="connsiteX43" fmla="*/ 4441 w 8882"/>
                      <a:gd name="connsiteY43" fmla="*/ 456664 h 742993"/>
                      <a:gd name="connsiteX44" fmla="*/ 4441 w 8882"/>
                      <a:gd name="connsiteY44" fmla="*/ 456664 h 742993"/>
                      <a:gd name="connsiteX45" fmla="*/ 4441 w 8882"/>
                      <a:gd name="connsiteY45" fmla="*/ 385082 h 742993"/>
                      <a:gd name="connsiteX46" fmla="*/ 0 w 8882"/>
                      <a:gd name="connsiteY46" fmla="*/ 380641 h 742993"/>
                      <a:gd name="connsiteX47" fmla="*/ 0 w 8882"/>
                      <a:gd name="connsiteY47" fmla="*/ 344849 h 742993"/>
                      <a:gd name="connsiteX48" fmla="*/ 4441 w 8882"/>
                      <a:gd name="connsiteY48" fmla="*/ 340408 h 742993"/>
                      <a:gd name="connsiteX49" fmla="*/ 4441 w 8882"/>
                      <a:gd name="connsiteY49" fmla="*/ 340408 h 742993"/>
                      <a:gd name="connsiteX50" fmla="*/ 8882 w 8882"/>
                      <a:gd name="connsiteY50" fmla="*/ 344849 h 742993"/>
                      <a:gd name="connsiteX51" fmla="*/ 8882 w 8882"/>
                      <a:gd name="connsiteY51" fmla="*/ 380641 h 742993"/>
                      <a:gd name="connsiteX52" fmla="*/ 4441 w 8882"/>
                      <a:gd name="connsiteY52" fmla="*/ 385082 h 742993"/>
                      <a:gd name="connsiteX53" fmla="*/ 4441 w 8882"/>
                      <a:gd name="connsiteY53" fmla="*/ 385082 h 742993"/>
                      <a:gd name="connsiteX54" fmla="*/ 4441 w 8882"/>
                      <a:gd name="connsiteY54" fmla="*/ 313499 h 742993"/>
                      <a:gd name="connsiteX55" fmla="*/ 0 w 8882"/>
                      <a:gd name="connsiteY55" fmla="*/ 309058 h 742993"/>
                      <a:gd name="connsiteX56" fmla="*/ 0 w 8882"/>
                      <a:gd name="connsiteY56" fmla="*/ 273267 h 742993"/>
                      <a:gd name="connsiteX57" fmla="*/ 4441 w 8882"/>
                      <a:gd name="connsiteY57" fmla="*/ 268826 h 742993"/>
                      <a:gd name="connsiteX58" fmla="*/ 4441 w 8882"/>
                      <a:gd name="connsiteY58" fmla="*/ 268826 h 742993"/>
                      <a:gd name="connsiteX59" fmla="*/ 8882 w 8882"/>
                      <a:gd name="connsiteY59" fmla="*/ 273267 h 742993"/>
                      <a:gd name="connsiteX60" fmla="*/ 8882 w 8882"/>
                      <a:gd name="connsiteY60" fmla="*/ 309058 h 742993"/>
                      <a:gd name="connsiteX61" fmla="*/ 4441 w 8882"/>
                      <a:gd name="connsiteY61" fmla="*/ 313499 h 742993"/>
                      <a:gd name="connsiteX62" fmla="*/ 4441 w 8882"/>
                      <a:gd name="connsiteY62" fmla="*/ 313499 h 742993"/>
                      <a:gd name="connsiteX63" fmla="*/ 4441 w 8882"/>
                      <a:gd name="connsiteY63" fmla="*/ 241917 h 742993"/>
                      <a:gd name="connsiteX64" fmla="*/ 0 w 8882"/>
                      <a:gd name="connsiteY64" fmla="*/ 237476 h 742993"/>
                      <a:gd name="connsiteX65" fmla="*/ 0 w 8882"/>
                      <a:gd name="connsiteY65" fmla="*/ 201684 h 742993"/>
                      <a:gd name="connsiteX66" fmla="*/ 4441 w 8882"/>
                      <a:gd name="connsiteY66" fmla="*/ 197243 h 742993"/>
                      <a:gd name="connsiteX67" fmla="*/ 4441 w 8882"/>
                      <a:gd name="connsiteY67" fmla="*/ 197243 h 742993"/>
                      <a:gd name="connsiteX68" fmla="*/ 8882 w 8882"/>
                      <a:gd name="connsiteY68" fmla="*/ 201684 h 742993"/>
                      <a:gd name="connsiteX69" fmla="*/ 8882 w 8882"/>
                      <a:gd name="connsiteY69" fmla="*/ 237476 h 742993"/>
                      <a:gd name="connsiteX70" fmla="*/ 4441 w 8882"/>
                      <a:gd name="connsiteY70" fmla="*/ 241917 h 742993"/>
                      <a:gd name="connsiteX71" fmla="*/ 4441 w 8882"/>
                      <a:gd name="connsiteY71" fmla="*/ 241917 h 742993"/>
                      <a:gd name="connsiteX72" fmla="*/ 4441 w 8882"/>
                      <a:gd name="connsiteY72" fmla="*/ 170335 h 742993"/>
                      <a:gd name="connsiteX73" fmla="*/ 0 w 8882"/>
                      <a:gd name="connsiteY73" fmla="*/ 165893 h 742993"/>
                      <a:gd name="connsiteX74" fmla="*/ 0 w 8882"/>
                      <a:gd name="connsiteY74" fmla="*/ 130102 h 742993"/>
                      <a:gd name="connsiteX75" fmla="*/ 4441 w 8882"/>
                      <a:gd name="connsiteY75" fmla="*/ 125661 h 742993"/>
                      <a:gd name="connsiteX76" fmla="*/ 4441 w 8882"/>
                      <a:gd name="connsiteY76" fmla="*/ 125661 h 742993"/>
                      <a:gd name="connsiteX77" fmla="*/ 8882 w 8882"/>
                      <a:gd name="connsiteY77" fmla="*/ 130102 h 742993"/>
                      <a:gd name="connsiteX78" fmla="*/ 8882 w 8882"/>
                      <a:gd name="connsiteY78" fmla="*/ 165893 h 742993"/>
                      <a:gd name="connsiteX79" fmla="*/ 4441 w 8882"/>
                      <a:gd name="connsiteY79" fmla="*/ 170335 h 742993"/>
                      <a:gd name="connsiteX80" fmla="*/ 4441 w 8882"/>
                      <a:gd name="connsiteY80" fmla="*/ 170335 h 742993"/>
                      <a:gd name="connsiteX81" fmla="*/ 4441 w 8882"/>
                      <a:gd name="connsiteY81" fmla="*/ 98752 h 742993"/>
                      <a:gd name="connsiteX82" fmla="*/ 0 w 8882"/>
                      <a:gd name="connsiteY82" fmla="*/ 94311 h 742993"/>
                      <a:gd name="connsiteX83" fmla="*/ 0 w 8882"/>
                      <a:gd name="connsiteY83" fmla="*/ 58520 h 742993"/>
                      <a:gd name="connsiteX84" fmla="*/ 4441 w 8882"/>
                      <a:gd name="connsiteY84" fmla="*/ 54079 h 742993"/>
                      <a:gd name="connsiteX85" fmla="*/ 4441 w 8882"/>
                      <a:gd name="connsiteY85" fmla="*/ 54079 h 742993"/>
                      <a:gd name="connsiteX86" fmla="*/ 8882 w 8882"/>
                      <a:gd name="connsiteY86" fmla="*/ 58520 h 742993"/>
                      <a:gd name="connsiteX87" fmla="*/ 8882 w 8882"/>
                      <a:gd name="connsiteY87" fmla="*/ 94311 h 742993"/>
                      <a:gd name="connsiteX88" fmla="*/ 4441 w 8882"/>
                      <a:gd name="connsiteY88" fmla="*/ 98752 h 742993"/>
                      <a:gd name="connsiteX89" fmla="*/ 4441 w 8882"/>
                      <a:gd name="connsiteY89" fmla="*/ 98752 h 742993"/>
                      <a:gd name="connsiteX90" fmla="*/ 4441 w 8882"/>
                      <a:gd name="connsiteY90" fmla="*/ 27170 h 742993"/>
                      <a:gd name="connsiteX91" fmla="*/ 0 w 8882"/>
                      <a:gd name="connsiteY91" fmla="*/ 22729 h 742993"/>
                      <a:gd name="connsiteX92" fmla="*/ 0 w 8882"/>
                      <a:gd name="connsiteY92" fmla="*/ 4441 h 742993"/>
                      <a:gd name="connsiteX93" fmla="*/ 4441 w 8882"/>
                      <a:gd name="connsiteY93" fmla="*/ 0 h 742993"/>
                      <a:gd name="connsiteX94" fmla="*/ 4441 w 8882"/>
                      <a:gd name="connsiteY94" fmla="*/ 0 h 742993"/>
                      <a:gd name="connsiteX95" fmla="*/ 8882 w 8882"/>
                      <a:gd name="connsiteY95" fmla="*/ 4441 h 742993"/>
                      <a:gd name="connsiteX96" fmla="*/ 8882 w 8882"/>
                      <a:gd name="connsiteY96" fmla="*/ 22729 h 742993"/>
                      <a:gd name="connsiteX97" fmla="*/ 4441 w 8882"/>
                      <a:gd name="connsiteY97" fmla="*/ 27170 h 742993"/>
                      <a:gd name="connsiteX98" fmla="*/ 4441 w 8882"/>
                      <a:gd name="connsiteY98" fmla="*/ 27170 h 74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8882" h="742993">
                        <a:moveTo>
                          <a:pt x="4441" y="742994"/>
                        </a:moveTo>
                        <a:cubicBezTo>
                          <a:pt x="1959" y="742994"/>
                          <a:pt x="0" y="741034"/>
                          <a:pt x="0" y="738552"/>
                        </a:cubicBezTo>
                        <a:lnTo>
                          <a:pt x="0" y="702761"/>
                        </a:lnTo>
                        <a:cubicBezTo>
                          <a:pt x="0" y="700279"/>
                          <a:pt x="1959" y="698320"/>
                          <a:pt x="4441" y="698320"/>
                        </a:cubicBezTo>
                        <a:lnTo>
                          <a:pt x="4441" y="698320"/>
                        </a:lnTo>
                        <a:cubicBezTo>
                          <a:pt x="6923" y="698320"/>
                          <a:pt x="8882" y="700279"/>
                          <a:pt x="8882" y="702761"/>
                        </a:cubicBezTo>
                        <a:lnTo>
                          <a:pt x="8882" y="738552"/>
                        </a:lnTo>
                        <a:cubicBezTo>
                          <a:pt x="8882" y="741034"/>
                          <a:pt x="6923" y="742994"/>
                          <a:pt x="4441" y="742994"/>
                        </a:cubicBezTo>
                        <a:lnTo>
                          <a:pt x="4441" y="742994"/>
                        </a:lnTo>
                        <a:close/>
                        <a:moveTo>
                          <a:pt x="4441" y="671411"/>
                        </a:moveTo>
                        <a:cubicBezTo>
                          <a:pt x="1959" y="671411"/>
                          <a:pt x="0" y="669452"/>
                          <a:pt x="0" y="666970"/>
                        </a:cubicBezTo>
                        <a:lnTo>
                          <a:pt x="0" y="631179"/>
                        </a:lnTo>
                        <a:cubicBezTo>
                          <a:pt x="0" y="628697"/>
                          <a:pt x="1959" y="626738"/>
                          <a:pt x="4441" y="626738"/>
                        </a:cubicBezTo>
                        <a:lnTo>
                          <a:pt x="4441" y="626738"/>
                        </a:lnTo>
                        <a:cubicBezTo>
                          <a:pt x="6923" y="626738"/>
                          <a:pt x="8882" y="628697"/>
                          <a:pt x="8882" y="631179"/>
                        </a:cubicBezTo>
                        <a:lnTo>
                          <a:pt x="8882" y="666970"/>
                        </a:lnTo>
                        <a:cubicBezTo>
                          <a:pt x="8882" y="669452"/>
                          <a:pt x="6923" y="671411"/>
                          <a:pt x="4441" y="671411"/>
                        </a:cubicBezTo>
                        <a:lnTo>
                          <a:pt x="4441" y="671411"/>
                        </a:lnTo>
                        <a:close/>
                        <a:moveTo>
                          <a:pt x="4441" y="599829"/>
                        </a:moveTo>
                        <a:cubicBezTo>
                          <a:pt x="1959" y="599829"/>
                          <a:pt x="0" y="597869"/>
                          <a:pt x="0" y="595388"/>
                        </a:cubicBezTo>
                        <a:lnTo>
                          <a:pt x="0" y="559597"/>
                        </a:lnTo>
                        <a:cubicBezTo>
                          <a:pt x="0" y="557115"/>
                          <a:pt x="1959" y="555155"/>
                          <a:pt x="4441" y="555155"/>
                        </a:cubicBezTo>
                        <a:lnTo>
                          <a:pt x="4441" y="555155"/>
                        </a:lnTo>
                        <a:cubicBezTo>
                          <a:pt x="6923" y="555155"/>
                          <a:pt x="8882" y="557115"/>
                          <a:pt x="8882" y="559597"/>
                        </a:cubicBezTo>
                        <a:lnTo>
                          <a:pt x="8882" y="595388"/>
                        </a:lnTo>
                        <a:cubicBezTo>
                          <a:pt x="8882" y="597869"/>
                          <a:pt x="6923" y="599829"/>
                          <a:pt x="4441" y="599829"/>
                        </a:cubicBezTo>
                        <a:lnTo>
                          <a:pt x="4441" y="599829"/>
                        </a:lnTo>
                        <a:close/>
                        <a:moveTo>
                          <a:pt x="4441" y="528246"/>
                        </a:moveTo>
                        <a:cubicBezTo>
                          <a:pt x="1959" y="528246"/>
                          <a:pt x="0" y="526287"/>
                          <a:pt x="0" y="523805"/>
                        </a:cubicBezTo>
                        <a:lnTo>
                          <a:pt x="0" y="488014"/>
                        </a:lnTo>
                        <a:cubicBezTo>
                          <a:pt x="0" y="485532"/>
                          <a:pt x="1959" y="483573"/>
                          <a:pt x="4441" y="483573"/>
                        </a:cubicBezTo>
                        <a:lnTo>
                          <a:pt x="4441" y="483573"/>
                        </a:lnTo>
                        <a:cubicBezTo>
                          <a:pt x="6923" y="483573"/>
                          <a:pt x="8882" y="485532"/>
                          <a:pt x="8882" y="488014"/>
                        </a:cubicBezTo>
                        <a:lnTo>
                          <a:pt x="8882" y="523805"/>
                        </a:lnTo>
                        <a:cubicBezTo>
                          <a:pt x="8882" y="526287"/>
                          <a:pt x="6923" y="528246"/>
                          <a:pt x="4441" y="528246"/>
                        </a:cubicBezTo>
                        <a:lnTo>
                          <a:pt x="4441" y="528246"/>
                        </a:lnTo>
                        <a:close/>
                        <a:moveTo>
                          <a:pt x="4441" y="456664"/>
                        </a:moveTo>
                        <a:cubicBezTo>
                          <a:pt x="1959" y="456664"/>
                          <a:pt x="0" y="454705"/>
                          <a:pt x="0" y="452223"/>
                        </a:cubicBezTo>
                        <a:lnTo>
                          <a:pt x="0" y="416432"/>
                        </a:lnTo>
                        <a:cubicBezTo>
                          <a:pt x="0" y="413950"/>
                          <a:pt x="1959" y="411990"/>
                          <a:pt x="4441" y="411990"/>
                        </a:cubicBezTo>
                        <a:lnTo>
                          <a:pt x="4441" y="411990"/>
                        </a:lnTo>
                        <a:cubicBezTo>
                          <a:pt x="6923" y="411990"/>
                          <a:pt x="8882" y="413950"/>
                          <a:pt x="8882" y="416432"/>
                        </a:cubicBezTo>
                        <a:lnTo>
                          <a:pt x="8882" y="452223"/>
                        </a:lnTo>
                        <a:cubicBezTo>
                          <a:pt x="8882" y="454705"/>
                          <a:pt x="6923" y="456664"/>
                          <a:pt x="4441" y="456664"/>
                        </a:cubicBezTo>
                        <a:lnTo>
                          <a:pt x="4441" y="456664"/>
                        </a:lnTo>
                        <a:close/>
                        <a:moveTo>
                          <a:pt x="4441" y="385082"/>
                        </a:moveTo>
                        <a:cubicBezTo>
                          <a:pt x="1959" y="385082"/>
                          <a:pt x="0" y="383122"/>
                          <a:pt x="0" y="380641"/>
                        </a:cubicBezTo>
                        <a:lnTo>
                          <a:pt x="0" y="344849"/>
                        </a:lnTo>
                        <a:cubicBezTo>
                          <a:pt x="0" y="342367"/>
                          <a:pt x="1959" y="340408"/>
                          <a:pt x="4441" y="340408"/>
                        </a:cubicBezTo>
                        <a:lnTo>
                          <a:pt x="4441" y="340408"/>
                        </a:lnTo>
                        <a:cubicBezTo>
                          <a:pt x="6923" y="340408"/>
                          <a:pt x="8882" y="342367"/>
                          <a:pt x="8882" y="344849"/>
                        </a:cubicBezTo>
                        <a:lnTo>
                          <a:pt x="8882" y="380641"/>
                        </a:lnTo>
                        <a:cubicBezTo>
                          <a:pt x="8882" y="383122"/>
                          <a:pt x="6923" y="385082"/>
                          <a:pt x="4441" y="385082"/>
                        </a:cubicBezTo>
                        <a:lnTo>
                          <a:pt x="4441" y="385082"/>
                        </a:lnTo>
                        <a:close/>
                        <a:moveTo>
                          <a:pt x="4441" y="313499"/>
                        </a:moveTo>
                        <a:cubicBezTo>
                          <a:pt x="1959" y="313499"/>
                          <a:pt x="0" y="311540"/>
                          <a:pt x="0" y="309058"/>
                        </a:cubicBezTo>
                        <a:lnTo>
                          <a:pt x="0" y="273267"/>
                        </a:lnTo>
                        <a:cubicBezTo>
                          <a:pt x="0" y="270785"/>
                          <a:pt x="1959" y="268826"/>
                          <a:pt x="4441" y="268826"/>
                        </a:cubicBezTo>
                        <a:lnTo>
                          <a:pt x="4441" y="268826"/>
                        </a:lnTo>
                        <a:cubicBezTo>
                          <a:pt x="6923" y="268826"/>
                          <a:pt x="8882" y="270785"/>
                          <a:pt x="8882" y="273267"/>
                        </a:cubicBezTo>
                        <a:lnTo>
                          <a:pt x="8882" y="309058"/>
                        </a:lnTo>
                        <a:cubicBezTo>
                          <a:pt x="8882" y="311540"/>
                          <a:pt x="6923" y="313499"/>
                          <a:pt x="4441" y="313499"/>
                        </a:cubicBezTo>
                        <a:lnTo>
                          <a:pt x="4441" y="313499"/>
                        </a:lnTo>
                        <a:close/>
                        <a:moveTo>
                          <a:pt x="4441" y="241917"/>
                        </a:moveTo>
                        <a:cubicBezTo>
                          <a:pt x="1959" y="241917"/>
                          <a:pt x="0" y="239958"/>
                          <a:pt x="0" y="237476"/>
                        </a:cubicBezTo>
                        <a:lnTo>
                          <a:pt x="0" y="201684"/>
                        </a:lnTo>
                        <a:cubicBezTo>
                          <a:pt x="0" y="199203"/>
                          <a:pt x="1959" y="197243"/>
                          <a:pt x="4441" y="197243"/>
                        </a:cubicBezTo>
                        <a:lnTo>
                          <a:pt x="4441" y="197243"/>
                        </a:lnTo>
                        <a:cubicBezTo>
                          <a:pt x="6923" y="197243"/>
                          <a:pt x="8882" y="199203"/>
                          <a:pt x="8882" y="201684"/>
                        </a:cubicBezTo>
                        <a:lnTo>
                          <a:pt x="8882" y="237476"/>
                        </a:lnTo>
                        <a:cubicBezTo>
                          <a:pt x="8882" y="239958"/>
                          <a:pt x="6923" y="241917"/>
                          <a:pt x="4441" y="241917"/>
                        </a:cubicBezTo>
                        <a:lnTo>
                          <a:pt x="4441" y="241917"/>
                        </a:lnTo>
                        <a:close/>
                        <a:moveTo>
                          <a:pt x="4441" y="170335"/>
                        </a:moveTo>
                        <a:cubicBezTo>
                          <a:pt x="1959" y="170335"/>
                          <a:pt x="0" y="168375"/>
                          <a:pt x="0" y="165893"/>
                        </a:cubicBezTo>
                        <a:lnTo>
                          <a:pt x="0" y="130102"/>
                        </a:lnTo>
                        <a:cubicBezTo>
                          <a:pt x="0" y="127620"/>
                          <a:pt x="1959" y="125661"/>
                          <a:pt x="4441" y="125661"/>
                        </a:cubicBezTo>
                        <a:lnTo>
                          <a:pt x="4441" y="125661"/>
                        </a:lnTo>
                        <a:cubicBezTo>
                          <a:pt x="6923" y="125661"/>
                          <a:pt x="8882" y="127620"/>
                          <a:pt x="8882" y="130102"/>
                        </a:cubicBezTo>
                        <a:lnTo>
                          <a:pt x="8882" y="165893"/>
                        </a:lnTo>
                        <a:cubicBezTo>
                          <a:pt x="8882" y="168375"/>
                          <a:pt x="6923" y="170335"/>
                          <a:pt x="4441" y="170335"/>
                        </a:cubicBezTo>
                        <a:lnTo>
                          <a:pt x="4441" y="170335"/>
                        </a:lnTo>
                        <a:close/>
                        <a:moveTo>
                          <a:pt x="4441" y="98752"/>
                        </a:moveTo>
                        <a:cubicBezTo>
                          <a:pt x="1959" y="98752"/>
                          <a:pt x="0" y="96793"/>
                          <a:pt x="0" y="94311"/>
                        </a:cubicBezTo>
                        <a:lnTo>
                          <a:pt x="0" y="58520"/>
                        </a:lnTo>
                        <a:cubicBezTo>
                          <a:pt x="0" y="56038"/>
                          <a:pt x="1959" y="54079"/>
                          <a:pt x="4441" y="54079"/>
                        </a:cubicBezTo>
                        <a:lnTo>
                          <a:pt x="4441" y="54079"/>
                        </a:lnTo>
                        <a:cubicBezTo>
                          <a:pt x="6923" y="54079"/>
                          <a:pt x="8882" y="56038"/>
                          <a:pt x="8882" y="58520"/>
                        </a:cubicBezTo>
                        <a:lnTo>
                          <a:pt x="8882" y="94311"/>
                        </a:lnTo>
                        <a:cubicBezTo>
                          <a:pt x="8882" y="96793"/>
                          <a:pt x="6923" y="98752"/>
                          <a:pt x="4441" y="98752"/>
                        </a:cubicBezTo>
                        <a:lnTo>
                          <a:pt x="4441" y="98752"/>
                        </a:lnTo>
                        <a:close/>
                        <a:moveTo>
                          <a:pt x="4441" y="27170"/>
                        </a:moveTo>
                        <a:cubicBezTo>
                          <a:pt x="1959" y="27170"/>
                          <a:pt x="0" y="25210"/>
                          <a:pt x="0" y="22729"/>
                        </a:cubicBezTo>
                        <a:lnTo>
                          <a:pt x="0" y="4441"/>
                        </a:lnTo>
                        <a:cubicBezTo>
                          <a:pt x="0" y="1959"/>
                          <a:pt x="1959" y="0"/>
                          <a:pt x="4441" y="0"/>
                        </a:cubicBezTo>
                        <a:lnTo>
                          <a:pt x="4441" y="0"/>
                        </a:lnTo>
                        <a:cubicBezTo>
                          <a:pt x="6923" y="0"/>
                          <a:pt x="8882" y="1959"/>
                          <a:pt x="8882" y="4441"/>
                        </a:cubicBezTo>
                        <a:lnTo>
                          <a:pt x="8882" y="22729"/>
                        </a:lnTo>
                        <a:cubicBezTo>
                          <a:pt x="8882" y="25210"/>
                          <a:pt x="6923" y="27170"/>
                          <a:pt x="4441" y="27170"/>
                        </a:cubicBezTo>
                        <a:lnTo>
                          <a:pt x="4441" y="27170"/>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37" name="Freeform: Shape 836">
                    <a:extLst>
                      <a:ext uri="{FF2B5EF4-FFF2-40B4-BE49-F238E27FC236}">
                        <a16:creationId xmlns:a16="http://schemas.microsoft.com/office/drawing/2014/main" id="{CEEBFEC9-ED0A-B198-ADDD-8278ACC4570C}"/>
                      </a:ext>
                    </a:extLst>
                  </p:cNvPr>
                  <p:cNvSpPr/>
                  <p:nvPr/>
                </p:nvSpPr>
                <p:spPr>
                  <a:xfrm>
                    <a:off x="1921056" y="3921227"/>
                    <a:ext cx="8882" cy="903662"/>
                  </a:xfrm>
                  <a:custGeom>
                    <a:avLst/>
                    <a:gdLst>
                      <a:gd name="connsiteX0" fmla="*/ 4441 w 8882"/>
                      <a:gd name="connsiteY0" fmla="*/ 903662 h 903662"/>
                      <a:gd name="connsiteX1" fmla="*/ 0 w 8882"/>
                      <a:gd name="connsiteY1" fmla="*/ 899221 h 903662"/>
                      <a:gd name="connsiteX2" fmla="*/ 0 w 8882"/>
                      <a:gd name="connsiteY2" fmla="*/ 863430 h 903662"/>
                      <a:gd name="connsiteX3" fmla="*/ 4441 w 8882"/>
                      <a:gd name="connsiteY3" fmla="*/ 858988 h 903662"/>
                      <a:gd name="connsiteX4" fmla="*/ 4441 w 8882"/>
                      <a:gd name="connsiteY4" fmla="*/ 858988 h 903662"/>
                      <a:gd name="connsiteX5" fmla="*/ 8882 w 8882"/>
                      <a:gd name="connsiteY5" fmla="*/ 863430 h 903662"/>
                      <a:gd name="connsiteX6" fmla="*/ 8882 w 8882"/>
                      <a:gd name="connsiteY6" fmla="*/ 899221 h 903662"/>
                      <a:gd name="connsiteX7" fmla="*/ 4441 w 8882"/>
                      <a:gd name="connsiteY7" fmla="*/ 903662 h 903662"/>
                      <a:gd name="connsiteX8" fmla="*/ 4441 w 8882"/>
                      <a:gd name="connsiteY8" fmla="*/ 903662 h 903662"/>
                      <a:gd name="connsiteX9" fmla="*/ 4441 w 8882"/>
                      <a:gd name="connsiteY9" fmla="*/ 832080 h 903662"/>
                      <a:gd name="connsiteX10" fmla="*/ 0 w 8882"/>
                      <a:gd name="connsiteY10" fmla="*/ 827639 h 903662"/>
                      <a:gd name="connsiteX11" fmla="*/ 0 w 8882"/>
                      <a:gd name="connsiteY11" fmla="*/ 791847 h 903662"/>
                      <a:gd name="connsiteX12" fmla="*/ 4441 w 8882"/>
                      <a:gd name="connsiteY12" fmla="*/ 787406 h 903662"/>
                      <a:gd name="connsiteX13" fmla="*/ 4441 w 8882"/>
                      <a:gd name="connsiteY13" fmla="*/ 787406 h 903662"/>
                      <a:gd name="connsiteX14" fmla="*/ 8882 w 8882"/>
                      <a:gd name="connsiteY14" fmla="*/ 791847 h 903662"/>
                      <a:gd name="connsiteX15" fmla="*/ 8882 w 8882"/>
                      <a:gd name="connsiteY15" fmla="*/ 827639 h 903662"/>
                      <a:gd name="connsiteX16" fmla="*/ 4441 w 8882"/>
                      <a:gd name="connsiteY16" fmla="*/ 832080 h 903662"/>
                      <a:gd name="connsiteX17" fmla="*/ 4441 w 8882"/>
                      <a:gd name="connsiteY17" fmla="*/ 832080 h 903662"/>
                      <a:gd name="connsiteX18" fmla="*/ 4441 w 8882"/>
                      <a:gd name="connsiteY18" fmla="*/ 760497 h 903662"/>
                      <a:gd name="connsiteX19" fmla="*/ 0 w 8882"/>
                      <a:gd name="connsiteY19" fmla="*/ 756056 h 903662"/>
                      <a:gd name="connsiteX20" fmla="*/ 0 w 8882"/>
                      <a:gd name="connsiteY20" fmla="*/ 720265 h 903662"/>
                      <a:gd name="connsiteX21" fmla="*/ 4441 w 8882"/>
                      <a:gd name="connsiteY21" fmla="*/ 715824 h 903662"/>
                      <a:gd name="connsiteX22" fmla="*/ 4441 w 8882"/>
                      <a:gd name="connsiteY22" fmla="*/ 715824 h 903662"/>
                      <a:gd name="connsiteX23" fmla="*/ 8882 w 8882"/>
                      <a:gd name="connsiteY23" fmla="*/ 720265 h 903662"/>
                      <a:gd name="connsiteX24" fmla="*/ 8882 w 8882"/>
                      <a:gd name="connsiteY24" fmla="*/ 756056 h 903662"/>
                      <a:gd name="connsiteX25" fmla="*/ 4441 w 8882"/>
                      <a:gd name="connsiteY25" fmla="*/ 760497 h 903662"/>
                      <a:gd name="connsiteX26" fmla="*/ 4441 w 8882"/>
                      <a:gd name="connsiteY26" fmla="*/ 760497 h 903662"/>
                      <a:gd name="connsiteX27" fmla="*/ 4441 w 8882"/>
                      <a:gd name="connsiteY27" fmla="*/ 688915 h 903662"/>
                      <a:gd name="connsiteX28" fmla="*/ 0 w 8882"/>
                      <a:gd name="connsiteY28" fmla="*/ 684474 h 903662"/>
                      <a:gd name="connsiteX29" fmla="*/ 0 w 8882"/>
                      <a:gd name="connsiteY29" fmla="*/ 648682 h 903662"/>
                      <a:gd name="connsiteX30" fmla="*/ 4441 w 8882"/>
                      <a:gd name="connsiteY30" fmla="*/ 644241 h 903662"/>
                      <a:gd name="connsiteX31" fmla="*/ 4441 w 8882"/>
                      <a:gd name="connsiteY31" fmla="*/ 644241 h 903662"/>
                      <a:gd name="connsiteX32" fmla="*/ 8882 w 8882"/>
                      <a:gd name="connsiteY32" fmla="*/ 648682 h 903662"/>
                      <a:gd name="connsiteX33" fmla="*/ 8882 w 8882"/>
                      <a:gd name="connsiteY33" fmla="*/ 684474 h 903662"/>
                      <a:gd name="connsiteX34" fmla="*/ 4441 w 8882"/>
                      <a:gd name="connsiteY34" fmla="*/ 688915 h 903662"/>
                      <a:gd name="connsiteX35" fmla="*/ 4441 w 8882"/>
                      <a:gd name="connsiteY35" fmla="*/ 688915 h 903662"/>
                      <a:gd name="connsiteX36" fmla="*/ 4441 w 8882"/>
                      <a:gd name="connsiteY36" fmla="*/ 617333 h 903662"/>
                      <a:gd name="connsiteX37" fmla="*/ 0 w 8882"/>
                      <a:gd name="connsiteY37" fmla="*/ 612891 h 903662"/>
                      <a:gd name="connsiteX38" fmla="*/ 0 w 8882"/>
                      <a:gd name="connsiteY38" fmla="*/ 577100 h 903662"/>
                      <a:gd name="connsiteX39" fmla="*/ 4441 w 8882"/>
                      <a:gd name="connsiteY39" fmla="*/ 572659 h 903662"/>
                      <a:gd name="connsiteX40" fmla="*/ 4441 w 8882"/>
                      <a:gd name="connsiteY40" fmla="*/ 572659 h 903662"/>
                      <a:gd name="connsiteX41" fmla="*/ 8882 w 8882"/>
                      <a:gd name="connsiteY41" fmla="*/ 577100 h 903662"/>
                      <a:gd name="connsiteX42" fmla="*/ 8882 w 8882"/>
                      <a:gd name="connsiteY42" fmla="*/ 612891 h 903662"/>
                      <a:gd name="connsiteX43" fmla="*/ 4441 w 8882"/>
                      <a:gd name="connsiteY43" fmla="*/ 617333 h 903662"/>
                      <a:gd name="connsiteX44" fmla="*/ 4441 w 8882"/>
                      <a:gd name="connsiteY44" fmla="*/ 617333 h 903662"/>
                      <a:gd name="connsiteX45" fmla="*/ 4441 w 8882"/>
                      <a:gd name="connsiteY45" fmla="*/ 545750 h 903662"/>
                      <a:gd name="connsiteX46" fmla="*/ 0 w 8882"/>
                      <a:gd name="connsiteY46" fmla="*/ 541309 h 903662"/>
                      <a:gd name="connsiteX47" fmla="*/ 0 w 8882"/>
                      <a:gd name="connsiteY47" fmla="*/ 505518 h 903662"/>
                      <a:gd name="connsiteX48" fmla="*/ 4441 w 8882"/>
                      <a:gd name="connsiteY48" fmla="*/ 501077 h 903662"/>
                      <a:gd name="connsiteX49" fmla="*/ 4441 w 8882"/>
                      <a:gd name="connsiteY49" fmla="*/ 501077 h 903662"/>
                      <a:gd name="connsiteX50" fmla="*/ 8882 w 8882"/>
                      <a:gd name="connsiteY50" fmla="*/ 505518 h 903662"/>
                      <a:gd name="connsiteX51" fmla="*/ 8882 w 8882"/>
                      <a:gd name="connsiteY51" fmla="*/ 541309 h 903662"/>
                      <a:gd name="connsiteX52" fmla="*/ 4441 w 8882"/>
                      <a:gd name="connsiteY52" fmla="*/ 545750 h 903662"/>
                      <a:gd name="connsiteX53" fmla="*/ 4441 w 8882"/>
                      <a:gd name="connsiteY53" fmla="*/ 545750 h 903662"/>
                      <a:gd name="connsiteX54" fmla="*/ 4441 w 8882"/>
                      <a:gd name="connsiteY54" fmla="*/ 474168 h 903662"/>
                      <a:gd name="connsiteX55" fmla="*/ 0 w 8882"/>
                      <a:gd name="connsiteY55" fmla="*/ 469727 h 903662"/>
                      <a:gd name="connsiteX56" fmla="*/ 0 w 8882"/>
                      <a:gd name="connsiteY56" fmla="*/ 433936 h 903662"/>
                      <a:gd name="connsiteX57" fmla="*/ 4441 w 8882"/>
                      <a:gd name="connsiteY57" fmla="*/ 429494 h 903662"/>
                      <a:gd name="connsiteX58" fmla="*/ 4441 w 8882"/>
                      <a:gd name="connsiteY58" fmla="*/ 429494 h 903662"/>
                      <a:gd name="connsiteX59" fmla="*/ 8882 w 8882"/>
                      <a:gd name="connsiteY59" fmla="*/ 433936 h 903662"/>
                      <a:gd name="connsiteX60" fmla="*/ 8882 w 8882"/>
                      <a:gd name="connsiteY60" fmla="*/ 469727 h 903662"/>
                      <a:gd name="connsiteX61" fmla="*/ 4441 w 8882"/>
                      <a:gd name="connsiteY61" fmla="*/ 474168 h 903662"/>
                      <a:gd name="connsiteX62" fmla="*/ 4441 w 8882"/>
                      <a:gd name="connsiteY62" fmla="*/ 474168 h 903662"/>
                      <a:gd name="connsiteX63" fmla="*/ 4441 w 8882"/>
                      <a:gd name="connsiteY63" fmla="*/ 402585 h 903662"/>
                      <a:gd name="connsiteX64" fmla="*/ 0 w 8882"/>
                      <a:gd name="connsiteY64" fmla="*/ 398144 h 903662"/>
                      <a:gd name="connsiteX65" fmla="*/ 0 w 8882"/>
                      <a:gd name="connsiteY65" fmla="*/ 362353 h 903662"/>
                      <a:gd name="connsiteX66" fmla="*/ 4441 w 8882"/>
                      <a:gd name="connsiteY66" fmla="*/ 357912 h 903662"/>
                      <a:gd name="connsiteX67" fmla="*/ 4441 w 8882"/>
                      <a:gd name="connsiteY67" fmla="*/ 357912 h 903662"/>
                      <a:gd name="connsiteX68" fmla="*/ 8882 w 8882"/>
                      <a:gd name="connsiteY68" fmla="*/ 362353 h 903662"/>
                      <a:gd name="connsiteX69" fmla="*/ 8882 w 8882"/>
                      <a:gd name="connsiteY69" fmla="*/ 398144 h 903662"/>
                      <a:gd name="connsiteX70" fmla="*/ 4441 w 8882"/>
                      <a:gd name="connsiteY70" fmla="*/ 402585 h 903662"/>
                      <a:gd name="connsiteX71" fmla="*/ 4441 w 8882"/>
                      <a:gd name="connsiteY71" fmla="*/ 402585 h 903662"/>
                      <a:gd name="connsiteX72" fmla="*/ 4441 w 8882"/>
                      <a:gd name="connsiteY72" fmla="*/ 331003 h 903662"/>
                      <a:gd name="connsiteX73" fmla="*/ 0 w 8882"/>
                      <a:gd name="connsiteY73" fmla="*/ 326562 h 903662"/>
                      <a:gd name="connsiteX74" fmla="*/ 0 w 8882"/>
                      <a:gd name="connsiteY74" fmla="*/ 290771 h 903662"/>
                      <a:gd name="connsiteX75" fmla="*/ 4441 w 8882"/>
                      <a:gd name="connsiteY75" fmla="*/ 286329 h 903662"/>
                      <a:gd name="connsiteX76" fmla="*/ 4441 w 8882"/>
                      <a:gd name="connsiteY76" fmla="*/ 286329 h 903662"/>
                      <a:gd name="connsiteX77" fmla="*/ 8882 w 8882"/>
                      <a:gd name="connsiteY77" fmla="*/ 290771 h 903662"/>
                      <a:gd name="connsiteX78" fmla="*/ 8882 w 8882"/>
                      <a:gd name="connsiteY78" fmla="*/ 326562 h 903662"/>
                      <a:gd name="connsiteX79" fmla="*/ 4441 w 8882"/>
                      <a:gd name="connsiteY79" fmla="*/ 331003 h 903662"/>
                      <a:gd name="connsiteX80" fmla="*/ 4441 w 8882"/>
                      <a:gd name="connsiteY80" fmla="*/ 331003 h 903662"/>
                      <a:gd name="connsiteX81" fmla="*/ 4441 w 8882"/>
                      <a:gd name="connsiteY81" fmla="*/ 259421 h 903662"/>
                      <a:gd name="connsiteX82" fmla="*/ 0 w 8882"/>
                      <a:gd name="connsiteY82" fmla="*/ 254979 h 903662"/>
                      <a:gd name="connsiteX83" fmla="*/ 0 w 8882"/>
                      <a:gd name="connsiteY83" fmla="*/ 219188 h 903662"/>
                      <a:gd name="connsiteX84" fmla="*/ 4441 w 8882"/>
                      <a:gd name="connsiteY84" fmla="*/ 214747 h 903662"/>
                      <a:gd name="connsiteX85" fmla="*/ 4441 w 8882"/>
                      <a:gd name="connsiteY85" fmla="*/ 214747 h 903662"/>
                      <a:gd name="connsiteX86" fmla="*/ 8882 w 8882"/>
                      <a:gd name="connsiteY86" fmla="*/ 219188 h 903662"/>
                      <a:gd name="connsiteX87" fmla="*/ 8882 w 8882"/>
                      <a:gd name="connsiteY87" fmla="*/ 254979 h 903662"/>
                      <a:gd name="connsiteX88" fmla="*/ 4441 w 8882"/>
                      <a:gd name="connsiteY88" fmla="*/ 259421 h 903662"/>
                      <a:gd name="connsiteX89" fmla="*/ 4441 w 8882"/>
                      <a:gd name="connsiteY89" fmla="*/ 259421 h 903662"/>
                      <a:gd name="connsiteX90" fmla="*/ 4441 w 8882"/>
                      <a:gd name="connsiteY90" fmla="*/ 187838 h 903662"/>
                      <a:gd name="connsiteX91" fmla="*/ 0 w 8882"/>
                      <a:gd name="connsiteY91" fmla="*/ 183397 h 903662"/>
                      <a:gd name="connsiteX92" fmla="*/ 0 w 8882"/>
                      <a:gd name="connsiteY92" fmla="*/ 147606 h 903662"/>
                      <a:gd name="connsiteX93" fmla="*/ 4441 w 8882"/>
                      <a:gd name="connsiteY93" fmla="*/ 143165 h 903662"/>
                      <a:gd name="connsiteX94" fmla="*/ 4441 w 8882"/>
                      <a:gd name="connsiteY94" fmla="*/ 143165 h 903662"/>
                      <a:gd name="connsiteX95" fmla="*/ 8882 w 8882"/>
                      <a:gd name="connsiteY95" fmla="*/ 147606 h 903662"/>
                      <a:gd name="connsiteX96" fmla="*/ 8882 w 8882"/>
                      <a:gd name="connsiteY96" fmla="*/ 183397 h 903662"/>
                      <a:gd name="connsiteX97" fmla="*/ 4441 w 8882"/>
                      <a:gd name="connsiteY97" fmla="*/ 187838 h 903662"/>
                      <a:gd name="connsiteX98" fmla="*/ 4441 w 8882"/>
                      <a:gd name="connsiteY98" fmla="*/ 187838 h 903662"/>
                      <a:gd name="connsiteX99" fmla="*/ 4441 w 8882"/>
                      <a:gd name="connsiteY99" fmla="*/ 116256 h 903662"/>
                      <a:gd name="connsiteX100" fmla="*/ 0 w 8882"/>
                      <a:gd name="connsiteY100" fmla="*/ 111815 h 903662"/>
                      <a:gd name="connsiteX101" fmla="*/ 0 w 8882"/>
                      <a:gd name="connsiteY101" fmla="*/ 76024 h 903662"/>
                      <a:gd name="connsiteX102" fmla="*/ 4441 w 8882"/>
                      <a:gd name="connsiteY102" fmla="*/ 71582 h 903662"/>
                      <a:gd name="connsiteX103" fmla="*/ 4441 w 8882"/>
                      <a:gd name="connsiteY103" fmla="*/ 71582 h 903662"/>
                      <a:gd name="connsiteX104" fmla="*/ 8882 w 8882"/>
                      <a:gd name="connsiteY104" fmla="*/ 76024 h 903662"/>
                      <a:gd name="connsiteX105" fmla="*/ 8882 w 8882"/>
                      <a:gd name="connsiteY105" fmla="*/ 111815 h 903662"/>
                      <a:gd name="connsiteX106" fmla="*/ 4441 w 8882"/>
                      <a:gd name="connsiteY106" fmla="*/ 116256 h 903662"/>
                      <a:gd name="connsiteX107" fmla="*/ 4441 w 8882"/>
                      <a:gd name="connsiteY107" fmla="*/ 116256 h 903662"/>
                      <a:gd name="connsiteX108" fmla="*/ 4441 w 8882"/>
                      <a:gd name="connsiteY108" fmla="*/ 44674 h 903662"/>
                      <a:gd name="connsiteX109" fmla="*/ 0 w 8882"/>
                      <a:gd name="connsiteY109" fmla="*/ 40232 h 903662"/>
                      <a:gd name="connsiteX110" fmla="*/ 0 w 8882"/>
                      <a:gd name="connsiteY110" fmla="*/ 4441 h 903662"/>
                      <a:gd name="connsiteX111" fmla="*/ 4441 w 8882"/>
                      <a:gd name="connsiteY111" fmla="*/ 0 h 903662"/>
                      <a:gd name="connsiteX112" fmla="*/ 4441 w 8882"/>
                      <a:gd name="connsiteY112" fmla="*/ 0 h 903662"/>
                      <a:gd name="connsiteX113" fmla="*/ 8882 w 8882"/>
                      <a:gd name="connsiteY113" fmla="*/ 4441 h 903662"/>
                      <a:gd name="connsiteX114" fmla="*/ 8882 w 8882"/>
                      <a:gd name="connsiteY114" fmla="*/ 40232 h 903662"/>
                      <a:gd name="connsiteX115" fmla="*/ 4441 w 8882"/>
                      <a:gd name="connsiteY115" fmla="*/ 44674 h 903662"/>
                      <a:gd name="connsiteX116" fmla="*/ 4441 w 8882"/>
                      <a:gd name="connsiteY116" fmla="*/ 44674 h 903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8882" h="903662">
                        <a:moveTo>
                          <a:pt x="4441" y="903662"/>
                        </a:moveTo>
                        <a:cubicBezTo>
                          <a:pt x="1959" y="903662"/>
                          <a:pt x="0" y="901703"/>
                          <a:pt x="0" y="899221"/>
                        </a:cubicBezTo>
                        <a:lnTo>
                          <a:pt x="0" y="863430"/>
                        </a:lnTo>
                        <a:cubicBezTo>
                          <a:pt x="0" y="860948"/>
                          <a:pt x="1959" y="858988"/>
                          <a:pt x="4441" y="858988"/>
                        </a:cubicBezTo>
                        <a:lnTo>
                          <a:pt x="4441" y="858988"/>
                        </a:lnTo>
                        <a:cubicBezTo>
                          <a:pt x="6923" y="858988"/>
                          <a:pt x="8882" y="860948"/>
                          <a:pt x="8882" y="863430"/>
                        </a:cubicBezTo>
                        <a:lnTo>
                          <a:pt x="8882" y="899221"/>
                        </a:lnTo>
                        <a:cubicBezTo>
                          <a:pt x="8882" y="901703"/>
                          <a:pt x="6923" y="903662"/>
                          <a:pt x="4441" y="903662"/>
                        </a:cubicBezTo>
                        <a:lnTo>
                          <a:pt x="4441" y="903662"/>
                        </a:lnTo>
                        <a:close/>
                        <a:moveTo>
                          <a:pt x="4441" y="832080"/>
                        </a:moveTo>
                        <a:cubicBezTo>
                          <a:pt x="1959" y="832080"/>
                          <a:pt x="0" y="830120"/>
                          <a:pt x="0" y="827639"/>
                        </a:cubicBezTo>
                        <a:lnTo>
                          <a:pt x="0" y="791847"/>
                        </a:lnTo>
                        <a:cubicBezTo>
                          <a:pt x="0" y="789365"/>
                          <a:pt x="1959" y="787406"/>
                          <a:pt x="4441" y="787406"/>
                        </a:cubicBezTo>
                        <a:lnTo>
                          <a:pt x="4441" y="787406"/>
                        </a:lnTo>
                        <a:cubicBezTo>
                          <a:pt x="6923" y="787406"/>
                          <a:pt x="8882" y="789365"/>
                          <a:pt x="8882" y="791847"/>
                        </a:cubicBezTo>
                        <a:lnTo>
                          <a:pt x="8882" y="827639"/>
                        </a:lnTo>
                        <a:cubicBezTo>
                          <a:pt x="8882" y="830120"/>
                          <a:pt x="6923" y="832080"/>
                          <a:pt x="4441" y="832080"/>
                        </a:cubicBezTo>
                        <a:lnTo>
                          <a:pt x="4441" y="832080"/>
                        </a:lnTo>
                        <a:close/>
                        <a:moveTo>
                          <a:pt x="4441" y="760497"/>
                        </a:moveTo>
                        <a:cubicBezTo>
                          <a:pt x="1959" y="760497"/>
                          <a:pt x="0" y="758538"/>
                          <a:pt x="0" y="756056"/>
                        </a:cubicBezTo>
                        <a:lnTo>
                          <a:pt x="0" y="720265"/>
                        </a:lnTo>
                        <a:cubicBezTo>
                          <a:pt x="0" y="717783"/>
                          <a:pt x="1959" y="715824"/>
                          <a:pt x="4441" y="715824"/>
                        </a:cubicBezTo>
                        <a:lnTo>
                          <a:pt x="4441" y="715824"/>
                        </a:lnTo>
                        <a:cubicBezTo>
                          <a:pt x="6923" y="715824"/>
                          <a:pt x="8882" y="717783"/>
                          <a:pt x="8882" y="720265"/>
                        </a:cubicBezTo>
                        <a:lnTo>
                          <a:pt x="8882" y="756056"/>
                        </a:lnTo>
                        <a:cubicBezTo>
                          <a:pt x="8882" y="758538"/>
                          <a:pt x="6923" y="760497"/>
                          <a:pt x="4441" y="760497"/>
                        </a:cubicBezTo>
                        <a:lnTo>
                          <a:pt x="4441" y="760497"/>
                        </a:lnTo>
                        <a:close/>
                        <a:moveTo>
                          <a:pt x="4441" y="688915"/>
                        </a:moveTo>
                        <a:cubicBezTo>
                          <a:pt x="1959" y="688915"/>
                          <a:pt x="0" y="686956"/>
                          <a:pt x="0" y="684474"/>
                        </a:cubicBezTo>
                        <a:lnTo>
                          <a:pt x="0" y="648682"/>
                        </a:lnTo>
                        <a:cubicBezTo>
                          <a:pt x="0" y="646201"/>
                          <a:pt x="1959" y="644241"/>
                          <a:pt x="4441" y="644241"/>
                        </a:cubicBezTo>
                        <a:lnTo>
                          <a:pt x="4441" y="644241"/>
                        </a:lnTo>
                        <a:cubicBezTo>
                          <a:pt x="6923" y="644241"/>
                          <a:pt x="8882" y="646201"/>
                          <a:pt x="8882" y="648682"/>
                        </a:cubicBezTo>
                        <a:lnTo>
                          <a:pt x="8882" y="684474"/>
                        </a:lnTo>
                        <a:cubicBezTo>
                          <a:pt x="8882" y="686956"/>
                          <a:pt x="6923" y="688915"/>
                          <a:pt x="4441" y="688915"/>
                        </a:cubicBezTo>
                        <a:lnTo>
                          <a:pt x="4441" y="688915"/>
                        </a:lnTo>
                        <a:close/>
                        <a:moveTo>
                          <a:pt x="4441" y="617333"/>
                        </a:moveTo>
                        <a:cubicBezTo>
                          <a:pt x="1959" y="617333"/>
                          <a:pt x="0" y="615373"/>
                          <a:pt x="0" y="612891"/>
                        </a:cubicBezTo>
                        <a:lnTo>
                          <a:pt x="0" y="577100"/>
                        </a:lnTo>
                        <a:cubicBezTo>
                          <a:pt x="0" y="574618"/>
                          <a:pt x="1959" y="572659"/>
                          <a:pt x="4441" y="572659"/>
                        </a:cubicBezTo>
                        <a:lnTo>
                          <a:pt x="4441" y="572659"/>
                        </a:lnTo>
                        <a:cubicBezTo>
                          <a:pt x="6923" y="572659"/>
                          <a:pt x="8882" y="574618"/>
                          <a:pt x="8882" y="577100"/>
                        </a:cubicBezTo>
                        <a:lnTo>
                          <a:pt x="8882" y="612891"/>
                        </a:lnTo>
                        <a:cubicBezTo>
                          <a:pt x="8882" y="615373"/>
                          <a:pt x="6923" y="617333"/>
                          <a:pt x="4441" y="617333"/>
                        </a:cubicBezTo>
                        <a:lnTo>
                          <a:pt x="4441" y="617333"/>
                        </a:lnTo>
                        <a:close/>
                        <a:moveTo>
                          <a:pt x="4441" y="545750"/>
                        </a:moveTo>
                        <a:cubicBezTo>
                          <a:pt x="1959" y="545750"/>
                          <a:pt x="0" y="543791"/>
                          <a:pt x="0" y="541309"/>
                        </a:cubicBezTo>
                        <a:lnTo>
                          <a:pt x="0" y="505518"/>
                        </a:lnTo>
                        <a:cubicBezTo>
                          <a:pt x="0" y="503036"/>
                          <a:pt x="1959" y="501077"/>
                          <a:pt x="4441" y="501077"/>
                        </a:cubicBezTo>
                        <a:lnTo>
                          <a:pt x="4441" y="501077"/>
                        </a:lnTo>
                        <a:cubicBezTo>
                          <a:pt x="6923" y="501077"/>
                          <a:pt x="8882" y="503036"/>
                          <a:pt x="8882" y="505518"/>
                        </a:cubicBezTo>
                        <a:lnTo>
                          <a:pt x="8882" y="541309"/>
                        </a:lnTo>
                        <a:cubicBezTo>
                          <a:pt x="8882" y="543791"/>
                          <a:pt x="6923" y="545750"/>
                          <a:pt x="4441" y="545750"/>
                        </a:cubicBezTo>
                        <a:lnTo>
                          <a:pt x="4441" y="545750"/>
                        </a:lnTo>
                        <a:close/>
                        <a:moveTo>
                          <a:pt x="4441" y="474168"/>
                        </a:moveTo>
                        <a:cubicBezTo>
                          <a:pt x="1959" y="474168"/>
                          <a:pt x="0" y="472208"/>
                          <a:pt x="0" y="469727"/>
                        </a:cubicBezTo>
                        <a:lnTo>
                          <a:pt x="0" y="433936"/>
                        </a:lnTo>
                        <a:cubicBezTo>
                          <a:pt x="0" y="431454"/>
                          <a:pt x="1959" y="429494"/>
                          <a:pt x="4441" y="429494"/>
                        </a:cubicBezTo>
                        <a:lnTo>
                          <a:pt x="4441" y="429494"/>
                        </a:lnTo>
                        <a:cubicBezTo>
                          <a:pt x="6923" y="429494"/>
                          <a:pt x="8882" y="431454"/>
                          <a:pt x="8882" y="433936"/>
                        </a:cubicBezTo>
                        <a:lnTo>
                          <a:pt x="8882" y="469727"/>
                        </a:lnTo>
                        <a:cubicBezTo>
                          <a:pt x="8882" y="472208"/>
                          <a:pt x="6923" y="474168"/>
                          <a:pt x="4441" y="474168"/>
                        </a:cubicBezTo>
                        <a:lnTo>
                          <a:pt x="4441" y="474168"/>
                        </a:lnTo>
                        <a:close/>
                        <a:moveTo>
                          <a:pt x="4441" y="402585"/>
                        </a:moveTo>
                        <a:cubicBezTo>
                          <a:pt x="1959" y="402585"/>
                          <a:pt x="0" y="400626"/>
                          <a:pt x="0" y="398144"/>
                        </a:cubicBezTo>
                        <a:lnTo>
                          <a:pt x="0" y="362353"/>
                        </a:lnTo>
                        <a:cubicBezTo>
                          <a:pt x="0" y="359871"/>
                          <a:pt x="1959" y="357912"/>
                          <a:pt x="4441" y="357912"/>
                        </a:cubicBezTo>
                        <a:lnTo>
                          <a:pt x="4441" y="357912"/>
                        </a:lnTo>
                        <a:cubicBezTo>
                          <a:pt x="6923" y="357912"/>
                          <a:pt x="8882" y="359871"/>
                          <a:pt x="8882" y="362353"/>
                        </a:cubicBezTo>
                        <a:lnTo>
                          <a:pt x="8882" y="398144"/>
                        </a:lnTo>
                        <a:cubicBezTo>
                          <a:pt x="8882" y="400626"/>
                          <a:pt x="6923" y="402585"/>
                          <a:pt x="4441" y="402585"/>
                        </a:cubicBezTo>
                        <a:lnTo>
                          <a:pt x="4441" y="402585"/>
                        </a:lnTo>
                        <a:close/>
                        <a:moveTo>
                          <a:pt x="4441" y="331003"/>
                        </a:moveTo>
                        <a:cubicBezTo>
                          <a:pt x="1959" y="331003"/>
                          <a:pt x="0" y="329044"/>
                          <a:pt x="0" y="326562"/>
                        </a:cubicBezTo>
                        <a:lnTo>
                          <a:pt x="0" y="290771"/>
                        </a:lnTo>
                        <a:cubicBezTo>
                          <a:pt x="0" y="288289"/>
                          <a:pt x="1959" y="286329"/>
                          <a:pt x="4441" y="286329"/>
                        </a:cubicBezTo>
                        <a:lnTo>
                          <a:pt x="4441" y="286329"/>
                        </a:lnTo>
                        <a:cubicBezTo>
                          <a:pt x="6923" y="286329"/>
                          <a:pt x="8882" y="288289"/>
                          <a:pt x="8882" y="290771"/>
                        </a:cubicBezTo>
                        <a:lnTo>
                          <a:pt x="8882" y="326562"/>
                        </a:lnTo>
                        <a:cubicBezTo>
                          <a:pt x="8882" y="329044"/>
                          <a:pt x="6923" y="331003"/>
                          <a:pt x="4441" y="331003"/>
                        </a:cubicBezTo>
                        <a:lnTo>
                          <a:pt x="4441" y="331003"/>
                        </a:lnTo>
                        <a:close/>
                        <a:moveTo>
                          <a:pt x="4441" y="259421"/>
                        </a:moveTo>
                        <a:cubicBezTo>
                          <a:pt x="1959" y="259421"/>
                          <a:pt x="0" y="257461"/>
                          <a:pt x="0" y="254979"/>
                        </a:cubicBezTo>
                        <a:lnTo>
                          <a:pt x="0" y="219188"/>
                        </a:lnTo>
                        <a:cubicBezTo>
                          <a:pt x="0" y="216706"/>
                          <a:pt x="1959" y="214747"/>
                          <a:pt x="4441" y="214747"/>
                        </a:cubicBezTo>
                        <a:lnTo>
                          <a:pt x="4441" y="214747"/>
                        </a:lnTo>
                        <a:cubicBezTo>
                          <a:pt x="6923" y="214747"/>
                          <a:pt x="8882" y="216706"/>
                          <a:pt x="8882" y="219188"/>
                        </a:cubicBezTo>
                        <a:lnTo>
                          <a:pt x="8882" y="254979"/>
                        </a:lnTo>
                        <a:cubicBezTo>
                          <a:pt x="8882" y="257461"/>
                          <a:pt x="6923" y="259421"/>
                          <a:pt x="4441" y="259421"/>
                        </a:cubicBezTo>
                        <a:lnTo>
                          <a:pt x="4441" y="259421"/>
                        </a:lnTo>
                        <a:close/>
                        <a:moveTo>
                          <a:pt x="4441" y="187838"/>
                        </a:moveTo>
                        <a:cubicBezTo>
                          <a:pt x="1959" y="187838"/>
                          <a:pt x="0" y="185879"/>
                          <a:pt x="0" y="183397"/>
                        </a:cubicBezTo>
                        <a:lnTo>
                          <a:pt x="0" y="147606"/>
                        </a:lnTo>
                        <a:cubicBezTo>
                          <a:pt x="0" y="145124"/>
                          <a:pt x="1959" y="143165"/>
                          <a:pt x="4441" y="143165"/>
                        </a:cubicBezTo>
                        <a:lnTo>
                          <a:pt x="4441" y="143165"/>
                        </a:lnTo>
                        <a:cubicBezTo>
                          <a:pt x="6923" y="143165"/>
                          <a:pt x="8882" y="145124"/>
                          <a:pt x="8882" y="147606"/>
                        </a:cubicBezTo>
                        <a:lnTo>
                          <a:pt x="8882" y="183397"/>
                        </a:lnTo>
                        <a:cubicBezTo>
                          <a:pt x="8882" y="185879"/>
                          <a:pt x="6923" y="187838"/>
                          <a:pt x="4441" y="187838"/>
                        </a:cubicBezTo>
                        <a:lnTo>
                          <a:pt x="4441" y="187838"/>
                        </a:lnTo>
                        <a:close/>
                        <a:moveTo>
                          <a:pt x="4441" y="116256"/>
                        </a:moveTo>
                        <a:cubicBezTo>
                          <a:pt x="1959" y="116256"/>
                          <a:pt x="0" y="114297"/>
                          <a:pt x="0" y="111815"/>
                        </a:cubicBezTo>
                        <a:lnTo>
                          <a:pt x="0" y="76024"/>
                        </a:lnTo>
                        <a:cubicBezTo>
                          <a:pt x="0" y="73542"/>
                          <a:pt x="1959" y="71582"/>
                          <a:pt x="4441" y="71582"/>
                        </a:cubicBezTo>
                        <a:lnTo>
                          <a:pt x="4441" y="71582"/>
                        </a:lnTo>
                        <a:cubicBezTo>
                          <a:pt x="6923" y="71582"/>
                          <a:pt x="8882" y="73542"/>
                          <a:pt x="8882" y="76024"/>
                        </a:cubicBezTo>
                        <a:lnTo>
                          <a:pt x="8882" y="111815"/>
                        </a:lnTo>
                        <a:cubicBezTo>
                          <a:pt x="8882" y="114297"/>
                          <a:pt x="6923" y="116256"/>
                          <a:pt x="4441" y="116256"/>
                        </a:cubicBezTo>
                        <a:lnTo>
                          <a:pt x="4441" y="116256"/>
                        </a:lnTo>
                        <a:close/>
                        <a:moveTo>
                          <a:pt x="4441" y="44674"/>
                        </a:moveTo>
                        <a:cubicBezTo>
                          <a:pt x="1959" y="44674"/>
                          <a:pt x="0" y="42714"/>
                          <a:pt x="0" y="40232"/>
                        </a:cubicBezTo>
                        <a:lnTo>
                          <a:pt x="0" y="4441"/>
                        </a:lnTo>
                        <a:cubicBezTo>
                          <a:pt x="0" y="1959"/>
                          <a:pt x="1959" y="0"/>
                          <a:pt x="4441" y="0"/>
                        </a:cubicBezTo>
                        <a:lnTo>
                          <a:pt x="4441" y="0"/>
                        </a:lnTo>
                        <a:cubicBezTo>
                          <a:pt x="6923" y="0"/>
                          <a:pt x="8882" y="1959"/>
                          <a:pt x="8882" y="4441"/>
                        </a:cubicBezTo>
                        <a:lnTo>
                          <a:pt x="8882" y="40232"/>
                        </a:lnTo>
                        <a:cubicBezTo>
                          <a:pt x="8882" y="42714"/>
                          <a:pt x="6923" y="44674"/>
                          <a:pt x="4441" y="44674"/>
                        </a:cubicBezTo>
                        <a:lnTo>
                          <a:pt x="4441" y="44674"/>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38" name="Freeform: Shape 837">
                    <a:extLst>
                      <a:ext uri="{FF2B5EF4-FFF2-40B4-BE49-F238E27FC236}">
                        <a16:creationId xmlns:a16="http://schemas.microsoft.com/office/drawing/2014/main" id="{82C9CFDC-CE7C-A2BB-7A12-BA4384E240BC}"/>
                      </a:ext>
                    </a:extLst>
                  </p:cNvPr>
                  <p:cNvSpPr/>
                  <p:nvPr/>
                </p:nvSpPr>
                <p:spPr>
                  <a:xfrm>
                    <a:off x="2171725" y="4086598"/>
                    <a:ext cx="8882" cy="738291"/>
                  </a:xfrm>
                  <a:custGeom>
                    <a:avLst/>
                    <a:gdLst>
                      <a:gd name="connsiteX0" fmla="*/ 4441 w 8882"/>
                      <a:gd name="connsiteY0" fmla="*/ 738291 h 738291"/>
                      <a:gd name="connsiteX1" fmla="*/ 0 w 8882"/>
                      <a:gd name="connsiteY1" fmla="*/ 733850 h 738291"/>
                      <a:gd name="connsiteX2" fmla="*/ 0 w 8882"/>
                      <a:gd name="connsiteY2" fmla="*/ 698059 h 738291"/>
                      <a:gd name="connsiteX3" fmla="*/ 4441 w 8882"/>
                      <a:gd name="connsiteY3" fmla="*/ 693618 h 738291"/>
                      <a:gd name="connsiteX4" fmla="*/ 4441 w 8882"/>
                      <a:gd name="connsiteY4" fmla="*/ 693618 h 738291"/>
                      <a:gd name="connsiteX5" fmla="*/ 8882 w 8882"/>
                      <a:gd name="connsiteY5" fmla="*/ 698059 h 738291"/>
                      <a:gd name="connsiteX6" fmla="*/ 8882 w 8882"/>
                      <a:gd name="connsiteY6" fmla="*/ 733850 h 738291"/>
                      <a:gd name="connsiteX7" fmla="*/ 4441 w 8882"/>
                      <a:gd name="connsiteY7" fmla="*/ 738291 h 738291"/>
                      <a:gd name="connsiteX8" fmla="*/ 4441 w 8882"/>
                      <a:gd name="connsiteY8" fmla="*/ 738291 h 738291"/>
                      <a:gd name="connsiteX9" fmla="*/ 4441 w 8882"/>
                      <a:gd name="connsiteY9" fmla="*/ 666709 h 738291"/>
                      <a:gd name="connsiteX10" fmla="*/ 0 w 8882"/>
                      <a:gd name="connsiteY10" fmla="*/ 662268 h 738291"/>
                      <a:gd name="connsiteX11" fmla="*/ 0 w 8882"/>
                      <a:gd name="connsiteY11" fmla="*/ 626477 h 738291"/>
                      <a:gd name="connsiteX12" fmla="*/ 4441 w 8882"/>
                      <a:gd name="connsiteY12" fmla="*/ 622035 h 738291"/>
                      <a:gd name="connsiteX13" fmla="*/ 4441 w 8882"/>
                      <a:gd name="connsiteY13" fmla="*/ 622035 h 738291"/>
                      <a:gd name="connsiteX14" fmla="*/ 8882 w 8882"/>
                      <a:gd name="connsiteY14" fmla="*/ 626477 h 738291"/>
                      <a:gd name="connsiteX15" fmla="*/ 8882 w 8882"/>
                      <a:gd name="connsiteY15" fmla="*/ 662268 h 738291"/>
                      <a:gd name="connsiteX16" fmla="*/ 4441 w 8882"/>
                      <a:gd name="connsiteY16" fmla="*/ 666709 h 738291"/>
                      <a:gd name="connsiteX17" fmla="*/ 4441 w 8882"/>
                      <a:gd name="connsiteY17" fmla="*/ 666709 h 738291"/>
                      <a:gd name="connsiteX18" fmla="*/ 4441 w 8882"/>
                      <a:gd name="connsiteY18" fmla="*/ 595127 h 738291"/>
                      <a:gd name="connsiteX19" fmla="*/ 0 w 8882"/>
                      <a:gd name="connsiteY19" fmla="*/ 590685 h 738291"/>
                      <a:gd name="connsiteX20" fmla="*/ 0 w 8882"/>
                      <a:gd name="connsiteY20" fmla="*/ 554894 h 738291"/>
                      <a:gd name="connsiteX21" fmla="*/ 4441 w 8882"/>
                      <a:gd name="connsiteY21" fmla="*/ 550453 h 738291"/>
                      <a:gd name="connsiteX22" fmla="*/ 4441 w 8882"/>
                      <a:gd name="connsiteY22" fmla="*/ 550453 h 738291"/>
                      <a:gd name="connsiteX23" fmla="*/ 8882 w 8882"/>
                      <a:gd name="connsiteY23" fmla="*/ 554894 h 738291"/>
                      <a:gd name="connsiteX24" fmla="*/ 8882 w 8882"/>
                      <a:gd name="connsiteY24" fmla="*/ 590685 h 738291"/>
                      <a:gd name="connsiteX25" fmla="*/ 4441 w 8882"/>
                      <a:gd name="connsiteY25" fmla="*/ 595127 h 738291"/>
                      <a:gd name="connsiteX26" fmla="*/ 4441 w 8882"/>
                      <a:gd name="connsiteY26" fmla="*/ 595127 h 738291"/>
                      <a:gd name="connsiteX27" fmla="*/ 4441 w 8882"/>
                      <a:gd name="connsiteY27" fmla="*/ 523544 h 738291"/>
                      <a:gd name="connsiteX28" fmla="*/ 0 w 8882"/>
                      <a:gd name="connsiteY28" fmla="*/ 519103 h 738291"/>
                      <a:gd name="connsiteX29" fmla="*/ 0 w 8882"/>
                      <a:gd name="connsiteY29" fmla="*/ 483312 h 738291"/>
                      <a:gd name="connsiteX30" fmla="*/ 4441 w 8882"/>
                      <a:gd name="connsiteY30" fmla="*/ 478870 h 738291"/>
                      <a:gd name="connsiteX31" fmla="*/ 4441 w 8882"/>
                      <a:gd name="connsiteY31" fmla="*/ 478870 h 738291"/>
                      <a:gd name="connsiteX32" fmla="*/ 8882 w 8882"/>
                      <a:gd name="connsiteY32" fmla="*/ 483312 h 738291"/>
                      <a:gd name="connsiteX33" fmla="*/ 8882 w 8882"/>
                      <a:gd name="connsiteY33" fmla="*/ 519103 h 738291"/>
                      <a:gd name="connsiteX34" fmla="*/ 4441 w 8882"/>
                      <a:gd name="connsiteY34" fmla="*/ 523544 h 738291"/>
                      <a:gd name="connsiteX35" fmla="*/ 4441 w 8882"/>
                      <a:gd name="connsiteY35" fmla="*/ 523544 h 738291"/>
                      <a:gd name="connsiteX36" fmla="*/ 4441 w 8882"/>
                      <a:gd name="connsiteY36" fmla="*/ 451962 h 738291"/>
                      <a:gd name="connsiteX37" fmla="*/ 0 w 8882"/>
                      <a:gd name="connsiteY37" fmla="*/ 447521 h 738291"/>
                      <a:gd name="connsiteX38" fmla="*/ 0 w 8882"/>
                      <a:gd name="connsiteY38" fmla="*/ 411729 h 738291"/>
                      <a:gd name="connsiteX39" fmla="*/ 4441 w 8882"/>
                      <a:gd name="connsiteY39" fmla="*/ 407288 h 738291"/>
                      <a:gd name="connsiteX40" fmla="*/ 4441 w 8882"/>
                      <a:gd name="connsiteY40" fmla="*/ 407288 h 738291"/>
                      <a:gd name="connsiteX41" fmla="*/ 8882 w 8882"/>
                      <a:gd name="connsiteY41" fmla="*/ 411729 h 738291"/>
                      <a:gd name="connsiteX42" fmla="*/ 8882 w 8882"/>
                      <a:gd name="connsiteY42" fmla="*/ 447521 h 738291"/>
                      <a:gd name="connsiteX43" fmla="*/ 4441 w 8882"/>
                      <a:gd name="connsiteY43" fmla="*/ 451962 h 738291"/>
                      <a:gd name="connsiteX44" fmla="*/ 4441 w 8882"/>
                      <a:gd name="connsiteY44" fmla="*/ 451962 h 738291"/>
                      <a:gd name="connsiteX45" fmla="*/ 4441 w 8882"/>
                      <a:gd name="connsiteY45" fmla="*/ 380379 h 738291"/>
                      <a:gd name="connsiteX46" fmla="*/ 0 w 8882"/>
                      <a:gd name="connsiteY46" fmla="*/ 375938 h 738291"/>
                      <a:gd name="connsiteX47" fmla="*/ 0 w 8882"/>
                      <a:gd name="connsiteY47" fmla="*/ 340147 h 738291"/>
                      <a:gd name="connsiteX48" fmla="*/ 4441 w 8882"/>
                      <a:gd name="connsiteY48" fmla="*/ 335706 h 738291"/>
                      <a:gd name="connsiteX49" fmla="*/ 4441 w 8882"/>
                      <a:gd name="connsiteY49" fmla="*/ 335706 h 738291"/>
                      <a:gd name="connsiteX50" fmla="*/ 8882 w 8882"/>
                      <a:gd name="connsiteY50" fmla="*/ 340147 h 738291"/>
                      <a:gd name="connsiteX51" fmla="*/ 8882 w 8882"/>
                      <a:gd name="connsiteY51" fmla="*/ 375938 h 738291"/>
                      <a:gd name="connsiteX52" fmla="*/ 4441 w 8882"/>
                      <a:gd name="connsiteY52" fmla="*/ 380379 h 738291"/>
                      <a:gd name="connsiteX53" fmla="*/ 4441 w 8882"/>
                      <a:gd name="connsiteY53" fmla="*/ 380379 h 738291"/>
                      <a:gd name="connsiteX54" fmla="*/ 4441 w 8882"/>
                      <a:gd name="connsiteY54" fmla="*/ 308797 h 738291"/>
                      <a:gd name="connsiteX55" fmla="*/ 0 w 8882"/>
                      <a:gd name="connsiteY55" fmla="*/ 304356 h 738291"/>
                      <a:gd name="connsiteX56" fmla="*/ 0 w 8882"/>
                      <a:gd name="connsiteY56" fmla="*/ 268565 h 738291"/>
                      <a:gd name="connsiteX57" fmla="*/ 4441 w 8882"/>
                      <a:gd name="connsiteY57" fmla="*/ 264123 h 738291"/>
                      <a:gd name="connsiteX58" fmla="*/ 4441 w 8882"/>
                      <a:gd name="connsiteY58" fmla="*/ 264123 h 738291"/>
                      <a:gd name="connsiteX59" fmla="*/ 8882 w 8882"/>
                      <a:gd name="connsiteY59" fmla="*/ 268565 h 738291"/>
                      <a:gd name="connsiteX60" fmla="*/ 8882 w 8882"/>
                      <a:gd name="connsiteY60" fmla="*/ 304356 h 738291"/>
                      <a:gd name="connsiteX61" fmla="*/ 4441 w 8882"/>
                      <a:gd name="connsiteY61" fmla="*/ 308797 h 738291"/>
                      <a:gd name="connsiteX62" fmla="*/ 4441 w 8882"/>
                      <a:gd name="connsiteY62" fmla="*/ 308797 h 738291"/>
                      <a:gd name="connsiteX63" fmla="*/ 4441 w 8882"/>
                      <a:gd name="connsiteY63" fmla="*/ 237215 h 738291"/>
                      <a:gd name="connsiteX64" fmla="*/ 0 w 8882"/>
                      <a:gd name="connsiteY64" fmla="*/ 232773 h 738291"/>
                      <a:gd name="connsiteX65" fmla="*/ 0 w 8882"/>
                      <a:gd name="connsiteY65" fmla="*/ 196982 h 738291"/>
                      <a:gd name="connsiteX66" fmla="*/ 4441 w 8882"/>
                      <a:gd name="connsiteY66" fmla="*/ 192541 h 738291"/>
                      <a:gd name="connsiteX67" fmla="*/ 4441 w 8882"/>
                      <a:gd name="connsiteY67" fmla="*/ 192541 h 738291"/>
                      <a:gd name="connsiteX68" fmla="*/ 8882 w 8882"/>
                      <a:gd name="connsiteY68" fmla="*/ 196982 h 738291"/>
                      <a:gd name="connsiteX69" fmla="*/ 8882 w 8882"/>
                      <a:gd name="connsiteY69" fmla="*/ 232773 h 738291"/>
                      <a:gd name="connsiteX70" fmla="*/ 4441 w 8882"/>
                      <a:gd name="connsiteY70" fmla="*/ 237215 h 738291"/>
                      <a:gd name="connsiteX71" fmla="*/ 4441 w 8882"/>
                      <a:gd name="connsiteY71" fmla="*/ 237215 h 738291"/>
                      <a:gd name="connsiteX72" fmla="*/ 4441 w 8882"/>
                      <a:gd name="connsiteY72" fmla="*/ 165632 h 738291"/>
                      <a:gd name="connsiteX73" fmla="*/ 0 w 8882"/>
                      <a:gd name="connsiteY73" fmla="*/ 161191 h 738291"/>
                      <a:gd name="connsiteX74" fmla="*/ 0 w 8882"/>
                      <a:gd name="connsiteY74" fmla="*/ 125400 h 738291"/>
                      <a:gd name="connsiteX75" fmla="*/ 4441 w 8882"/>
                      <a:gd name="connsiteY75" fmla="*/ 120959 h 738291"/>
                      <a:gd name="connsiteX76" fmla="*/ 4441 w 8882"/>
                      <a:gd name="connsiteY76" fmla="*/ 120959 h 738291"/>
                      <a:gd name="connsiteX77" fmla="*/ 8882 w 8882"/>
                      <a:gd name="connsiteY77" fmla="*/ 125400 h 738291"/>
                      <a:gd name="connsiteX78" fmla="*/ 8882 w 8882"/>
                      <a:gd name="connsiteY78" fmla="*/ 161191 h 738291"/>
                      <a:gd name="connsiteX79" fmla="*/ 4441 w 8882"/>
                      <a:gd name="connsiteY79" fmla="*/ 165632 h 738291"/>
                      <a:gd name="connsiteX80" fmla="*/ 4441 w 8882"/>
                      <a:gd name="connsiteY80" fmla="*/ 165632 h 738291"/>
                      <a:gd name="connsiteX81" fmla="*/ 4441 w 8882"/>
                      <a:gd name="connsiteY81" fmla="*/ 94050 h 738291"/>
                      <a:gd name="connsiteX82" fmla="*/ 0 w 8882"/>
                      <a:gd name="connsiteY82" fmla="*/ 89609 h 738291"/>
                      <a:gd name="connsiteX83" fmla="*/ 0 w 8882"/>
                      <a:gd name="connsiteY83" fmla="*/ 53818 h 738291"/>
                      <a:gd name="connsiteX84" fmla="*/ 4441 w 8882"/>
                      <a:gd name="connsiteY84" fmla="*/ 49376 h 738291"/>
                      <a:gd name="connsiteX85" fmla="*/ 4441 w 8882"/>
                      <a:gd name="connsiteY85" fmla="*/ 49376 h 738291"/>
                      <a:gd name="connsiteX86" fmla="*/ 8882 w 8882"/>
                      <a:gd name="connsiteY86" fmla="*/ 53818 h 738291"/>
                      <a:gd name="connsiteX87" fmla="*/ 8882 w 8882"/>
                      <a:gd name="connsiteY87" fmla="*/ 89609 h 738291"/>
                      <a:gd name="connsiteX88" fmla="*/ 4441 w 8882"/>
                      <a:gd name="connsiteY88" fmla="*/ 94050 h 738291"/>
                      <a:gd name="connsiteX89" fmla="*/ 4441 w 8882"/>
                      <a:gd name="connsiteY89" fmla="*/ 94050 h 738291"/>
                      <a:gd name="connsiteX90" fmla="*/ 4441 w 8882"/>
                      <a:gd name="connsiteY90" fmla="*/ 22467 h 738291"/>
                      <a:gd name="connsiteX91" fmla="*/ 0 w 8882"/>
                      <a:gd name="connsiteY91" fmla="*/ 18026 h 738291"/>
                      <a:gd name="connsiteX92" fmla="*/ 0 w 8882"/>
                      <a:gd name="connsiteY92" fmla="*/ 4441 h 738291"/>
                      <a:gd name="connsiteX93" fmla="*/ 4441 w 8882"/>
                      <a:gd name="connsiteY93" fmla="*/ 0 h 738291"/>
                      <a:gd name="connsiteX94" fmla="*/ 4441 w 8882"/>
                      <a:gd name="connsiteY94" fmla="*/ 0 h 738291"/>
                      <a:gd name="connsiteX95" fmla="*/ 8882 w 8882"/>
                      <a:gd name="connsiteY95" fmla="*/ 4441 h 738291"/>
                      <a:gd name="connsiteX96" fmla="*/ 8882 w 8882"/>
                      <a:gd name="connsiteY96" fmla="*/ 18026 h 738291"/>
                      <a:gd name="connsiteX97" fmla="*/ 4441 w 8882"/>
                      <a:gd name="connsiteY97" fmla="*/ 22467 h 738291"/>
                      <a:gd name="connsiteX98" fmla="*/ 4441 w 8882"/>
                      <a:gd name="connsiteY98" fmla="*/ 22467 h 7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8882" h="738291">
                        <a:moveTo>
                          <a:pt x="4441" y="738291"/>
                        </a:moveTo>
                        <a:cubicBezTo>
                          <a:pt x="1959" y="738291"/>
                          <a:pt x="0" y="736332"/>
                          <a:pt x="0" y="733850"/>
                        </a:cubicBezTo>
                        <a:lnTo>
                          <a:pt x="0" y="698059"/>
                        </a:lnTo>
                        <a:cubicBezTo>
                          <a:pt x="0" y="695577"/>
                          <a:pt x="1959" y="693618"/>
                          <a:pt x="4441" y="693618"/>
                        </a:cubicBezTo>
                        <a:lnTo>
                          <a:pt x="4441" y="693618"/>
                        </a:lnTo>
                        <a:cubicBezTo>
                          <a:pt x="6923" y="693618"/>
                          <a:pt x="8882" y="695577"/>
                          <a:pt x="8882" y="698059"/>
                        </a:cubicBezTo>
                        <a:lnTo>
                          <a:pt x="8882" y="733850"/>
                        </a:lnTo>
                        <a:cubicBezTo>
                          <a:pt x="8882" y="736332"/>
                          <a:pt x="6923" y="738291"/>
                          <a:pt x="4441" y="738291"/>
                        </a:cubicBezTo>
                        <a:lnTo>
                          <a:pt x="4441" y="738291"/>
                        </a:lnTo>
                        <a:close/>
                        <a:moveTo>
                          <a:pt x="4441" y="666709"/>
                        </a:moveTo>
                        <a:cubicBezTo>
                          <a:pt x="1959" y="666709"/>
                          <a:pt x="0" y="664750"/>
                          <a:pt x="0" y="662268"/>
                        </a:cubicBezTo>
                        <a:lnTo>
                          <a:pt x="0" y="626477"/>
                        </a:lnTo>
                        <a:cubicBezTo>
                          <a:pt x="0" y="623995"/>
                          <a:pt x="1959" y="622035"/>
                          <a:pt x="4441" y="622035"/>
                        </a:cubicBezTo>
                        <a:lnTo>
                          <a:pt x="4441" y="622035"/>
                        </a:lnTo>
                        <a:cubicBezTo>
                          <a:pt x="6923" y="622035"/>
                          <a:pt x="8882" y="623995"/>
                          <a:pt x="8882" y="626477"/>
                        </a:cubicBezTo>
                        <a:lnTo>
                          <a:pt x="8882" y="662268"/>
                        </a:lnTo>
                        <a:cubicBezTo>
                          <a:pt x="8882" y="664750"/>
                          <a:pt x="6923" y="666709"/>
                          <a:pt x="4441" y="666709"/>
                        </a:cubicBezTo>
                        <a:lnTo>
                          <a:pt x="4441" y="666709"/>
                        </a:lnTo>
                        <a:close/>
                        <a:moveTo>
                          <a:pt x="4441" y="595127"/>
                        </a:moveTo>
                        <a:cubicBezTo>
                          <a:pt x="1959" y="595127"/>
                          <a:pt x="0" y="593167"/>
                          <a:pt x="0" y="590685"/>
                        </a:cubicBezTo>
                        <a:lnTo>
                          <a:pt x="0" y="554894"/>
                        </a:lnTo>
                        <a:cubicBezTo>
                          <a:pt x="0" y="552412"/>
                          <a:pt x="1959" y="550453"/>
                          <a:pt x="4441" y="550453"/>
                        </a:cubicBezTo>
                        <a:lnTo>
                          <a:pt x="4441" y="550453"/>
                        </a:lnTo>
                        <a:cubicBezTo>
                          <a:pt x="6923" y="550453"/>
                          <a:pt x="8882" y="552412"/>
                          <a:pt x="8882" y="554894"/>
                        </a:cubicBezTo>
                        <a:lnTo>
                          <a:pt x="8882" y="590685"/>
                        </a:lnTo>
                        <a:cubicBezTo>
                          <a:pt x="8882" y="593167"/>
                          <a:pt x="6923" y="595127"/>
                          <a:pt x="4441" y="595127"/>
                        </a:cubicBezTo>
                        <a:lnTo>
                          <a:pt x="4441" y="595127"/>
                        </a:lnTo>
                        <a:close/>
                        <a:moveTo>
                          <a:pt x="4441" y="523544"/>
                        </a:moveTo>
                        <a:cubicBezTo>
                          <a:pt x="1959" y="523544"/>
                          <a:pt x="0" y="521585"/>
                          <a:pt x="0" y="519103"/>
                        </a:cubicBezTo>
                        <a:lnTo>
                          <a:pt x="0" y="483312"/>
                        </a:lnTo>
                        <a:cubicBezTo>
                          <a:pt x="0" y="480830"/>
                          <a:pt x="1959" y="478870"/>
                          <a:pt x="4441" y="478870"/>
                        </a:cubicBezTo>
                        <a:lnTo>
                          <a:pt x="4441" y="478870"/>
                        </a:lnTo>
                        <a:cubicBezTo>
                          <a:pt x="6923" y="478870"/>
                          <a:pt x="8882" y="480830"/>
                          <a:pt x="8882" y="483312"/>
                        </a:cubicBezTo>
                        <a:lnTo>
                          <a:pt x="8882" y="519103"/>
                        </a:lnTo>
                        <a:cubicBezTo>
                          <a:pt x="8882" y="521585"/>
                          <a:pt x="6923" y="523544"/>
                          <a:pt x="4441" y="523544"/>
                        </a:cubicBezTo>
                        <a:lnTo>
                          <a:pt x="4441" y="523544"/>
                        </a:lnTo>
                        <a:close/>
                        <a:moveTo>
                          <a:pt x="4441" y="451962"/>
                        </a:moveTo>
                        <a:cubicBezTo>
                          <a:pt x="1959" y="451962"/>
                          <a:pt x="0" y="450003"/>
                          <a:pt x="0" y="447521"/>
                        </a:cubicBezTo>
                        <a:lnTo>
                          <a:pt x="0" y="411729"/>
                        </a:lnTo>
                        <a:cubicBezTo>
                          <a:pt x="0" y="409247"/>
                          <a:pt x="1959" y="407288"/>
                          <a:pt x="4441" y="407288"/>
                        </a:cubicBezTo>
                        <a:lnTo>
                          <a:pt x="4441" y="407288"/>
                        </a:lnTo>
                        <a:cubicBezTo>
                          <a:pt x="6923" y="407288"/>
                          <a:pt x="8882" y="409247"/>
                          <a:pt x="8882" y="411729"/>
                        </a:cubicBezTo>
                        <a:lnTo>
                          <a:pt x="8882" y="447521"/>
                        </a:lnTo>
                        <a:cubicBezTo>
                          <a:pt x="8882" y="450003"/>
                          <a:pt x="6923" y="451962"/>
                          <a:pt x="4441" y="451962"/>
                        </a:cubicBezTo>
                        <a:lnTo>
                          <a:pt x="4441" y="451962"/>
                        </a:lnTo>
                        <a:close/>
                        <a:moveTo>
                          <a:pt x="4441" y="380379"/>
                        </a:moveTo>
                        <a:cubicBezTo>
                          <a:pt x="1959" y="380379"/>
                          <a:pt x="0" y="378420"/>
                          <a:pt x="0" y="375938"/>
                        </a:cubicBezTo>
                        <a:lnTo>
                          <a:pt x="0" y="340147"/>
                        </a:lnTo>
                        <a:cubicBezTo>
                          <a:pt x="0" y="337665"/>
                          <a:pt x="1959" y="335706"/>
                          <a:pt x="4441" y="335706"/>
                        </a:cubicBezTo>
                        <a:lnTo>
                          <a:pt x="4441" y="335706"/>
                        </a:lnTo>
                        <a:cubicBezTo>
                          <a:pt x="6923" y="335706"/>
                          <a:pt x="8882" y="337665"/>
                          <a:pt x="8882" y="340147"/>
                        </a:cubicBezTo>
                        <a:lnTo>
                          <a:pt x="8882" y="375938"/>
                        </a:lnTo>
                        <a:cubicBezTo>
                          <a:pt x="8882" y="378420"/>
                          <a:pt x="6923" y="380379"/>
                          <a:pt x="4441" y="380379"/>
                        </a:cubicBezTo>
                        <a:lnTo>
                          <a:pt x="4441" y="380379"/>
                        </a:lnTo>
                        <a:close/>
                        <a:moveTo>
                          <a:pt x="4441" y="308797"/>
                        </a:moveTo>
                        <a:cubicBezTo>
                          <a:pt x="1959" y="308797"/>
                          <a:pt x="0" y="306838"/>
                          <a:pt x="0" y="304356"/>
                        </a:cubicBezTo>
                        <a:lnTo>
                          <a:pt x="0" y="268565"/>
                        </a:lnTo>
                        <a:cubicBezTo>
                          <a:pt x="0" y="266083"/>
                          <a:pt x="1959" y="264123"/>
                          <a:pt x="4441" y="264123"/>
                        </a:cubicBezTo>
                        <a:lnTo>
                          <a:pt x="4441" y="264123"/>
                        </a:lnTo>
                        <a:cubicBezTo>
                          <a:pt x="6923" y="264123"/>
                          <a:pt x="8882" y="266083"/>
                          <a:pt x="8882" y="268565"/>
                        </a:cubicBezTo>
                        <a:lnTo>
                          <a:pt x="8882" y="304356"/>
                        </a:lnTo>
                        <a:cubicBezTo>
                          <a:pt x="8882" y="306838"/>
                          <a:pt x="6923" y="308797"/>
                          <a:pt x="4441" y="308797"/>
                        </a:cubicBezTo>
                        <a:lnTo>
                          <a:pt x="4441" y="308797"/>
                        </a:lnTo>
                        <a:close/>
                        <a:moveTo>
                          <a:pt x="4441" y="237215"/>
                        </a:moveTo>
                        <a:cubicBezTo>
                          <a:pt x="1959" y="237215"/>
                          <a:pt x="0" y="235255"/>
                          <a:pt x="0" y="232773"/>
                        </a:cubicBezTo>
                        <a:lnTo>
                          <a:pt x="0" y="196982"/>
                        </a:lnTo>
                        <a:cubicBezTo>
                          <a:pt x="0" y="194500"/>
                          <a:pt x="1959" y="192541"/>
                          <a:pt x="4441" y="192541"/>
                        </a:cubicBezTo>
                        <a:lnTo>
                          <a:pt x="4441" y="192541"/>
                        </a:lnTo>
                        <a:cubicBezTo>
                          <a:pt x="6923" y="192541"/>
                          <a:pt x="8882" y="194500"/>
                          <a:pt x="8882" y="196982"/>
                        </a:cubicBezTo>
                        <a:lnTo>
                          <a:pt x="8882" y="232773"/>
                        </a:lnTo>
                        <a:cubicBezTo>
                          <a:pt x="8882" y="235255"/>
                          <a:pt x="6923" y="237215"/>
                          <a:pt x="4441" y="237215"/>
                        </a:cubicBezTo>
                        <a:lnTo>
                          <a:pt x="4441" y="237215"/>
                        </a:lnTo>
                        <a:close/>
                        <a:moveTo>
                          <a:pt x="4441" y="165632"/>
                        </a:moveTo>
                        <a:cubicBezTo>
                          <a:pt x="1959" y="165632"/>
                          <a:pt x="0" y="163673"/>
                          <a:pt x="0" y="161191"/>
                        </a:cubicBezTo>
                        <a:lnTo>
                          <a:pt x="0" y="125400"/>
                        </a:lnTo>
                        <a:cubicBezTo>
                          <a:pt x="0" y="122918"/>
                          <a:pt x="1959" y="120959"/>
                          <a:pt x="4441" y="120959"/>
                        </a:cubicBezTo>
                        <a:lnTo>
                          <a:pt x="4441" y="120959"/>
                        </a:lnTo>
                        <a:cubicBezTo>
                          <a:pt x="6923" y="120959"/>
                          <a:pt x="8882" y="122918"/>
                          <a:pt x="8882" y="125400"/>
                        </a:cubicBezTo>
                        <a:lnTo>
                          <a:pt x="8882" y="161191"/>
                        </a:lnTo>
                        <a:cubicBezTo>
                          <a:pt x="8882" y="163673"/>
                          <a:pt x="6923" y="165632"/>
                          <a:pt x="4441" y="165632"/>
                        </a:cubicBezTo>
                        <a:lnTo>
                          <a:pt x="4441" y="165632"/>
                        </a:lnTo>
                        <a:close/>
                        <a:moveTo>
                          <a:pt x="4441" y="94050"/>
                        </a:moveTo>
                        <a:cubicBezTo>
                          <a:pt x="1959" y="94050"/>
                          <a:pt x="0" y="92091"/>
                          <a:pt x="0" y="89609"/>
                        </a:cubicBezTo>
                        <a:lnTo>
                          <a:pt x="0" y="53818"/>
                        </a:lnTo>
                        <a:cubicBezTo>
                          <a:pt x="0" y="51336"/>
                          <a:pt x="1959" y="49376"/>
                          <a:pt x="4441" y="49376"/>
                        </a:cubicBezTo>
                        <a:lnTo>
                          <a:pt x="4441" y="49376"/>
                        </a:lnTo>
                        <a:cubicBezTo>
                          <a:pt x="6923" y="49376"/>
                          <a:pt x="8882" y="51336"/>
                          <a:pt x="8882" y="53818"/>
                        </a:cubicBezTo>
                        <a:lnTo>
                          <a:pt x="8882" y="89609"/>
                        </a:lnTo>
                        <a:cubicBezTo>
                          <a:pt x="8882" y="92091"/>
                          <a:pt x="6923" y="94050"/>
                          <a:pt x="4441" y="94050"/>
                        </a:cubicBezTo>
                        <a:lnTo>
                          <a:pt x="4441" y="94050"/>
                        </a:lnTo>
                        <a:close/>
                        <a:moveTo>
                          <a:pt x="4441" y="22467"/>
                        </a:moveTo>
                        <a:cubicBezTo>
                          <a:pt x="1959" y="22467"/>
                          <a:pt x="0" y="20508"/>
                          <a:pt x="0" y="18026"/>
                        </a:cubicBezTo>
                        <a:lnTo>
                          <a:pt x="0" y="4441"/>
                        </a:lnTo>
                        <a:cubicBezTo>
                          <a:pt x="0" y="1959"/>
                          <a:pt x="1959" y="0"/>
                          <a:pt x="4441" y="0"/>
                        </a:cubicBezTo>
                        <a:lnTo>
                          <a:pt x="4441" y="0"/>
                        </a:lnTo>
                        <a:cubicBezTo>
                          <a:pt x="6923" y="0"/>
                          <a:pt x="8882" y="1959"/>
                          <a:pt x="8882" y="4441"/>
                        </a:cubicBezTo>
                        <a:lnTo>
                          <a:pt x="8882" y="18026"/>
                        </a:lnTo>
                        <a:cubicBezTo>
                          <a:pt x="8882" y="20508"/>
                          <a:pt x="6923" y="22467"/>
                          <a:pt x="4441" y="22467"/>
                        </a:cubicBezTo>
                        <a:lnTo>
                          <a:pt x="4441" y="2246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39" name="Freeform: Shape 838">
                    <a:extLst>
                      <a:ext uri="{FF2B5EF4-FFF2-40B4-BE49-F238E27FC236}">
                        <a16:creationId xmlns:a16="http://schemas.microsoft.com/office/drawing/2014/main" id="{FB4902E9-EF81-421B-7846-E5AACA8360BF}"/>
                      </a:ext>
                    </a:extLst>
                  </p:cNvPr>
                  <p:cNvSpPr/>
                  <p:nvPr/>
                </p:nvSpPr>
                <p:spPr>
                  <a:xfrm>
                    <a:off x="2659739" y="4072229"/>
                    <a:ext cx="8882" cy="760497"/>
                  </a:xfrm>
                  <a:custGeom>
                    <a:avLst/>
                    <a:gdLst>
                      <a:gd name="connsiteX0" fmla="*/ 4441 w 8882"/>
                      <a:gd name="connsiteY0" fmla="*/ 760497 h 760497"/>
                      <a:gd name="connsiteX1" fmla="*/ 0 w 8882"/>
                      <a:gd name="connsiteY1" fmla="*/ 756056 h 760497"/>
                      <a:gd name="connsiteX2" fmla="*/ 0 w 8882"/>
                      <a:gd name="connsiteY2" fmla="*/ 720265 h 760497"/>
                      <a:gd name="connsiteX3" fmla="*/ 4441 w 8882"/>
                      <a:gd name="connsiteY3" fmla="*/ 715824 h 760497"/>
                      <a:gd name="connsiteX4" fmla="*/ 4441 w 8882"/>
                      <a:gd name="connsiteY4" fmla="*/ 715824 h 760497"/>
                      <a:gd name="connsiteX5" fmla="*/ 8882 w 8882"/>
                      <a:gd name="connsiteY5" fmla="*/ 720265 h 760497"/>
                      <a:gd name="connsiteX6" fmla="*/ 8882 w 8882"/>
                      <a:gd name="connsiteY6" fmla="*/ 756056 h 760497"/>
                      <a:gd name="connsiteX7" fmla="*/ 4441 w 8882"/>
                      <a:gd name="connsiteY7" fmla="*/ 760497 h 760497"/>
                      <a:gd name="connsiteX8" fmla="*/ 4441 w 8882"/>
                      <a:gd name="connsiteY8" fmla="*/ 760497 h 760497"/>
                      <a:gd name="connsiteX9" fmla="*/ 4441 w 8882"/>
                      <a:gd name="connsiteY9" fmla="*/ 688915 h 760497"/>
                      <a:gd name="connsiteX10" fmla="*/ 0 w 8882"/>
                      <a:gd name="connsiteY10" fmla="*/ 684474 h 760497"/>
                      <a:gd name="connsiteX11" fmla="*/ 0 w 8882"/>
                      <a:gd name="connsiteY11" fmla="*/ 648683 h 760497"/>
                      <a:gd name="connsiteX12" fmla="*/ 4441 w 8882"/>
                      <a:gd name="connsiteY12" fmla="*/ 644241 h 760497"/>
                      <a:gd name="connsiteX13" fmla="*/ 4441 w 8882"/>
                      <a:gd name="connsiteY13" fmla="*/ 644241 h 760497"/>
                      <a:gd name="connsiteX14" fmla="*/ 8882 w 8882"/>
                      <a:gd name="connsiteY14" fmla="*/ 648683 h 760497"/>
                      <a:gd name="connsiteX15" fmla="*/ 8882 w 8882"/>
                      <a:gd name="connsiteY15" fmla="*/ 684474 h 760497"/>
                      <a:gd name="connsiteX16" fmla="*/ 4441 w 8882"/>
                      <a:gd name="connsiteY16" fmla="*/ 688915 h 760497"/>
                      <a:gd name="connsiteX17" fmla="*/ 4441 w 8882"/>
                      <a:gd name="connsiteY17" fmla="*/ 688915 h 760497"/>
                      <a:gd name="connsiteX18" fmla="*/ 4441 w 8882"/>
                      <a:gd name="connsiteY18" fmla="*/ 617333 h 760497"/>
                      <a:gd name="connsiteX19" fmla="*/ 0 w 8882"/>
                      <a:gd name="connsiteY19" fmla="*/ 612891 h 760497"/>
                      <a:gd name="connsiteX20" fmla="*/ 0 w 8882"/>
                      <a:gd name="connsiteY20" fmla="*/ 577100 h 760497"/>
                      <a:gd name="connsiteX21" fmla="*/ 4441 w 8882"/>
                      <a:gd name="connsiteY21" fmla="*/ 572659 h 760497"/>
                      <a:gd name="connsiteX22" fmla="*/ 4441 w 8882"/>
                      <a:gd name="connsiteY22" fmla="*/ 572659 h 760497"/>
                      <a:gd name="connsiteX23" fmla="*/ 8882 w 8882"/>
                      <a:gd name="connsiteY23" fmla="*/ 577100 h 760497"/>
                      <a:gd name="connsiteX24" fmla="*/ 8882 w 8882"/>
                      <a:gd name="connsiteY24" fmla="*/ 612891 h 760497"/>
                      <a:gd name="connsiteX25" fmla="*/ 4441 w 8882"/>
                      <a:gd name="connsiteY25" fmla="*/ 617333 h 760497"/>
                      <a:gd name="connsiteX26" fmla="*/ 4441 w 8882"/>
                      <a:gd name="connsiteY26" fmla="*/ 617333 h 760497"/>
                      <a:gd name="connsiteX27" fmla="*/ 4441 w 8882"/>
                      <a:gd name="connsiteY27" fmla="*/ 545750 h 760497"/>
                      <a:gd name="connsiteX28" fmla="*/ 0 w 8882"/>
                      <a:gd name="connsiteY28" fmla="*/ 541309 h 760497"/>
                      <a:gd name="connsiteX29" fmla="*/ 0 w 8882"/>
                      <a:gd name="connsiteY29" fmla="*/ 505518 h 760497"/>
                      <a:gd name="connsiteX30" fmla="*/ 4441 w 8882"/>
                      <a:gd name="connsiteY30" fmla="*/ 501077 h 760497"/>
                      <a:gd name="connsiteX31" fmla="*/ 4441 w 8882"/>
                      <a:gd name="connsiteY31" fmla="*/ 501077 h 760497"/>
                      <a:gd name="connsiteX32" fmla="*/ 8882 w 8882"/>
                      <a:gd name="connsiteY32" fmla="*/ 505518 h 760497"/>
                      <a:gd name="connsiteX33" fmla="*/ 8882 w 8882"/>
                      <a:gd name="connsiteY33" fmla="*/ 541309 h 760497"/>
                      <a:gd name="connsiteX34" fmla="*/ 4441 w 8882"/>
                      <a:gd name="connsiteY34" fmla="*/ 545750 h 760497"/>
                      <a:gd name="connsiteX35" fmla="*/ 4441 w 8882"/>
                      <a:gd name="connsiteY35" fmla="*/ 545750 h 760497"/>
                      <a:gd name="connsiteX36" fmla="*/ 4441 w 8882"/>
                      <a:gd name="connsiteY36" fmla="*/ 474168 h 760497"/>
                      <a:gd name="connsiteX37" fmla="*/ 0 w 8882"/>
                      <a:gd name="connsiteY37" fmla="*/ 469727 h 760497"/>
                      <a:gd name="connsiteX38" fmla="*/ 0 w 8882"/>
                      <a:gd name="connsiteY38" fmla="*/ 433936 h 760497"/>
                      <a:gd name="connsiteX39" fmla="*/ 4441 w 8882"/>
                      <a:gd name="connsiteY39" fmla="*/ 429494 h 760497"/>
                      <a:gd name="connsiteX40" fmla="*/ 4441 w 8882"/>
                      <a:gd name="connsiteY40" fmla="*/ 429494 h 760497"/>
                      <a:gd name="connsiteX41" fmla="*/ 8882 w 8882"/>
                      <a:gd name="connsiteY41" fmla="*/ 433936 h 760497"/>
                      <a:gd name="connsiteX42" fmla="*/ 8882 w 8882"/>
                      <a:gd name="connsiteY42" fmla="*/ 469727 h 760497"/>
                      <a:gd name="connsiteX43" fmla="*/ 4441 w 8882"/>
                      <a:gd name="connsiteY43" fmla="*/ 474168 h 760497"/>
                      <a:gd name="connsiteX44" fmla="*/ 4441 w 8882"/>
                      <a:gd name="connsiteY44" fmla="*/ 474168 h 760497"/>
                      <a:gd name="connsiteX45" fmla="*/ 4441 w 8882"/>
                      <a:gd name="connsiteY45" fmla="*/ 402585 h 760497"/>
                      <a:gd name="connsiteX46" fmla="*/ 0 w 8882"/>
                      <a:gd name="connsiteY46" fmla="*/ 398144 h 760497"/>
                      <a:gd name="connsiteX47" fmla="*/ 0 w 8882"/>
                      <a:gd name="connsiteY47" fmla="*/ 362353 h 760497"/>
                      <a:gd name="connsiteX48" fmla="*/ 4441 w 8882"/>
                      <a:gd name="connsiteY48" fmla="*/ 357912 h 760497"/>
                      <a:gd name="connsiteX49" fmla="*/ 4441 w 8882"/>
                      <a:gd name="connsiteY49" fmla="*/ 357912 h 760497"/>
                      <a:gd name="connsiteX50" fmla="*/ 8882 w 8882"/>
                      <a:gd name="connsiteY50" fmla="*/ 362353 h 760497"/>
                      <a:gd name="connsiteX51" fmla="*/ 8882 w 8882"/>
                      <a:gd name="connsiteY51" fmla="*/ 398144 h 760497"/>
                      <a:gd name="connsiteX52" fmla="*/ 4441 w 8882"/>
                      <a:gd name="connsiteY52" fmla="*/ 402585 h 760497"/>
                      <a:gd name="connsiteX53" fmla="*/ 4441 w 8882"/>
                      <a:gd name="connsiteY53" fmla="*/ 402585 h 760497"/>
                      <a:gd name="connsiteX54" fmla="*/ 4441 w 8882"/>
                      <a:gd name="connsiteY54" fmla="*/ 331003 h 760497"/>
                      <a:gd name="connsiteX55" fmla="*/ 0 w 8882"/>
                      <a:gd name="connsiteY55" fmla="*/ 326562 h 760497"/>
                      <a:gd name="connsiteX56" fmla="*/ 0 w 8882"/>
                      <a:gd name="connsiteY56" fmla="*/ 290771 h 760497"/>
                      <a:gd name="connsiteX57" fmla="*/ 4441 w 8882"/>
                      <a:gd name="connsiteY57" fmla="*/ 286329 h 760497"/>
                      <a:gd name="connsiteX58" fmla="*/ 4441 w 8882"/>
                      <a:gd name="connsiteY58" fmla="*/ 286329 h 760497"/>
                      <a:gd name="connsiteX59" fmla="*/ 8882 w 8882"/>
                      <a:gd name="connsiteY59" fmla="*/ 290771 h 760497"/>
                      <a:gd name="connsiteX60" fmla="*/ 8882 w 8882"/>
                      <a:gd name="connsiteY60" fmla="*/ 326562 h 760497"/>
                      <a:gd name="connsiteX61" fmla="*/ 4441 w 8882"/>
                      <a:gd name="connsiteY61" fmla="*/ 331003 h 760497"/>
                      <a:gd name="connsiteX62" fmla="*/ 4441 w 8882"/>
                      <a:gd name="connsiteY62" fmla="*/ 331003 h 760497"/>
                      <a:gd name="connsiteX63" fmla="*/ 4441 w 8882"/>
                      <a:gd name="connsiteY63" fmla="*/ 259421 h 760497"/>
                      <a:gd name="connsiteX64" fmla="*/ 0 w 8882"/>
                      <a:gd name="connsiteY64" fmla="*/ 254980 h 760497"/>
                      <a:gd name="connsiteX65" fmla="*/ 0 w 8882"/>
                      <a:gd name="connsiteY65" fmla="*/ 219188 h 760497"/>
                      <a:gd name="connsiteX66" fmla="*/ 4441 w 8882"/>
                      <a:gd name="connsiteY66" fmla="*/ 214747 h 760497"/>
                      <a:gd name="connsiteX67" fmla="*/ 4441 w 8882"/>
                      <a:gd name="connsiteY67" fmla="*/ 214747 h 760497"/>
                      <a:gd name="connsiteX68" fmla="*/ 8882 w 8882"/>
                      <a:gd name="connsiteY68" fmla="*/ 219188 h 760497"/>
                      <a:gd name="connsiteX69" fmla="*/ 8882 w 8882"/>
                      <a:gd name="connsiteY69" fmla="*/ 254980 h 760497"/>
                      <a:gd name="connsiteX70" fmla="*/ 4441 w 8882"/>
                      <a:gd name="connsiteY70" fmla="*/ 259421 h 760497"/>
                      <a:gd name="connsiteX71" fmla="*/ 4441 w 8882"/>
                      <a:gd name="connsiteY71" fmla="*/ 259421 h 760497"/>
                      <a:gd name="connsiteX72" fmla="*/ 4441 w 8882"/>
                      <a:gd name="connsiteY72" fmla="*/ 187838 h 760497"/>
                      <a:gd name="connsiteX73" fmla="*/ 0 w 8882"/>
                      <a:gd name="connsiteY73" fmla="*/ 183397 h 760497"/>
                      <a:gd name="connsiteX74" fmla="*/ 0 w 8882"/>
                      <a:gd name="connsiteY74" fmla="*/ 147606 h 760497"/>
                      <a:gd name="connsiteX75" fmla="*/ 4441 w 8882"/>
                      <a:gd name="connsiteY75" fmla="*/ 143165 h 760497"/>
                      <a:gd name="connsiteX76" fmla="*/ 4441 w 8882"/>
                      <a:gd name="connsiteY76" fmla="*/ 143165 h 760497"/>
                      <a:gd name="connsiteX77" fmla="*/ 8882 w 8882"/>
                      <a:gd name="connsiteY77" fmla="*/ 147606 h 760497"/>
                      <a:gd name="connsiteX78" fmla="*/ 8882 w 8882"/>
                      <a:gd name="connsiteY78" fmla="*/ 183397 h 760497"/>
                      <a:gd name="connsiteX79" fmla="*/ 4441 w 8882"/>
                      <a:gd name="connsiteY79" fmla="*/ 187838 h 760497"/>
                      <a:gd name="connsiteX80" fmla="*/ 4441 w 8882"/>
                      <a:gd name="connsiteY80" fmla="*/ 187838 h 760497"/>
                      <a:gd name="connsiteX81" fmla="*/ 4441 w 8882"/>
                      <a:gd name="connsiteY81" fmla="*/ 116256 h 760497"/>
                      <a:gd name="connsiteX82" fmla="*/ 0 w 8882"/>
                      <a:gd name="connsiteY82" fmla="*/ 111815 h 760497"/>
                      <a:gd name="connsiteX83" fmla="*/ 0 w 8882"/>
                      <a:gd name="connsiteY83" fmla="*/ 76024 h 760497"/>
                      <a:gd name="connsiteX84" fmla="*/ 4441 w 8882"/>
                      <a:gd name="connsiteY84" fmla="*/ 71582 h 760497"/>
                      <a:gd name="connsiteX85" fmla="*/ 4441 w 8882"/>
                      <a:gd name="connsiteY85" fmla="*/ 71582 h 760497"/>
                      <a:gd name="connsiteX86" fmla="*/ 8882 w 8882"/>
                      <a:gd name="connsiteY86" fmla="*/ 76024 h 760497"/>
                      <a:gd name="connsiteX87" fmla="*/ 8882 w 8882"/>
                      <a:gd name="connsiteY87" fmla="*/ 111815 h 760497"/>
                      <a:gd name="connsiteX88" fmla="*/ 4441 w 8882"/>
                      <a:gd name="connsiteY88" fmla="*/ 116256 h 760497"/>
                      <a:gd name="connsiteX89" fmla="*/ 4441 w 8882"/>
                      <a:gd name="connsiteY89" fmla="*/ 44674 h 760497"/>
                      <a:gd name="connsiteX90" fmla="*/ 0 w 8882"/>
                      <a:gd name="connsiteY90" fmla="*/ 40232 h 760497"/>
                      <a:gd name="connsiteX91" fmla="*/ 0 w 8882"/>
                      <a:gd name="connsiteY91" fmla="*/ 4441 h 760497"/>
                      <a:gd name="connsiteX92" fmla="*/ 4441 w 8882"/>
                      <a:gd name="connsiteY92" fmla="*/ 0 h 760497"/>
                      <a:gd name="connsiteX93" fmla="*/ 8882 w 8882"/>
                      <a:gd name="connsiteY93" fmla="*/ 4441 h 760497"/>
                      <a:gd name="connsiteX94" fmla="*/ 8882 w 8882"/>
                      <a:gd name="connsiteY94" fmla="*/ 40232 h 760497"/>
                      <a:gd name="connsiteX95" fmla="*/ 4441 w 8882"/>
                      <a:gd name="connsiteY95" fmla="*/ 44674 h 76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882" h="760497">
                        <a:moveTo>
                          <a:pt x="4441" y="760497"/>
                        </a:moveTo>
                        <a:cubicBezTo>
                          <a:pt x="1959" y="760497"/>
                          <a:pt x="0" y="758538"/>
                          <a:pt x="0" y="756056"/>
                        </a:cubicBezTo>
                        <a:lnTo>
                          <a:pt x="0" y="720265"/>
                        </a:lnTo>
                        <a:cubicBezTo>
                          <a:pt x="0" y="717783"/>
                          <a:pt x="1959" y="715824"/>
                          <a:pt x="4441" y="715824"/>
                        </a:cubicBezTo>
                        <a:lnTo>
                          <a:pt x="4441" y="715824"/>
                        </a:lnTo>
                        <a:cubicBezTo>
                          <a:pt x="6923" y="715824"/>
                          <a:pt x="8882" y="717783"/>
                          <a:pt x="8882" y="720265"/>
                        </a:cubicBezTo>
                        <a:lnTo>
                          <a:pt x="8882" y="756056"/>
                        </a:lnTo>
                        <a:cubicBezTo>
                          <a:pt x="8882" y="758538"/>
                          <a:pt x="6923" y="760497"/>
                          <a:pt x="4441" y="760497"/>
                        </a:cubicBezTo>
                        <a:lnTo>
                          <a:pt x="4441" y="760497"/>
                        </a:lnTo>
                        <a:close/>
                        <a:moveTo>
                          <a:pt x="4441" y="688915"/>
                        </a:moveTo>
                        <a:cubicBezTo>
                          <a:pt x="1959" y="688915"/>
                          <a:pt x="0" y="686956"/>
                          <a:pt x="0" y="684474"/>
                        </a:cubicBezTo>
                        <a:lnTo>
                          <a:pt x="0" y="648683"/>
                        </a:lnTo>
                        <a:cubicBezTo>
                          <a:pt x="0" y="646201"/>
                          <a:pt x="1959" y="644241"/>
                          <a:pt x="4441" y="644241"/>
                        </a:cubicBezTo>
                        <a:lnTo>
                          <a:pt x="4441" y="644241"/>
                        </a:lnTo>
                        <a:cubicBezTo>
                          <a:pt x="6923" y="644241"/>
                          <a:pt x="8882" y="646201"/>
                          <a:pt x="8882" y="648683"/>
                        </a:cubicBezTo>
                        <a:lnTo>
                          <a:pt x="8882" y="684474"/>
                        </a:lnTo>
                        <a:cubicBezTo>
                          <a:pt x="8882" y="686956"/>
                          <a:pt x="6923" y="688915"/>
                          <a:pt x="4441" y="688915"/>
                        </a:cubicBezTo>
                        <a:lnTo>
                          <a:pt x="4441" y="688915"/>
                        </a:lnTo>
                        <a:close/>
                        <a:moveTo>
                          <a:pt x="4441" y="617333"/>
                        </a:moveTo>
                        <a:cubicBezTo>
                          <a:pt x="1959" y="617333"/>
                          <a:pt x="0" y="615373"/>
                          <a:pt x="0" y="612891"/>
                        </a:cubicBezTo>
                        <a:lnTo>
                          <a:pt x="0" y="577100"/>
                        </a:lnTo>
                        <a:cubicBezTo>
                          <a:pt x="0" y="574618"/>
                          <a:pt x="1959" y="572659"/>
                          <a:pt x="4441" y="572659"/>
                        </a:cubicBezTo>
                        <a:lnTo>
                          <a:pt x="4441" y="572659"/>
                        </a:lnTo>
                        <a:cubicBezTo>
                          <a:pt x="6923" y="572659"/>
                          <a:pt x="8882" y="574618"/>
                          <a:pt x="8882" y="577100"/>
                        </a:cubicBezTo>
                        <a:lnTo>
                          <a:pt x="8882" y="612891"/>
                        </a:lnTo>
                        <a:cubicBezTo>
                          <a:pt x="8882" y="615373"/>
                          <a:pt x="6923" y="617333"/>
                          <a:pt x="4441" y="617333"/>
                        </a:cubicBezTo>
                        <a:lnTo>
                          <a:pt x="4441" y="617333"/>
                        </a:lnTo>
                        <a:close/>
                        <a:moveTo>
                          <a:pt x="4441" y="545750"/>
                        </a:moveTo>
                        <a:cubicBezTo>
                          <a:pt x="1959" y="545750"/>
                          <a:pt x="0" y="543791"/>
                          <a:pt x="0" y="541309"/>
                        </a:cubicBezTo>
                        <a:lnTo>
                          <a:pt x="0" y="505518"/>
                        </a:lnTo>
                        <a:cubicBezTo>
                          <a:pt x="0" y="503036"/>
                          <a:pt x="1959" y="501077"/>
                          <a:pt x="4441" y="501077"/>
                        </a:cubicBezTo>
                        <a:lnTo>
                          <a:pt x="4441" y="501077"/>
                        </a:lnTo>
                        <a:cubicBezTo>
                          <a:pt x="6923" y="501077"/>
                          <a:pt x="8882" y="503036"/>
                          <a:pt x="8882" y="505518"/>
                        </a:cubicBezTo>
                        <a:lnTo>
                          <a:pt x="8882" y="541309"/>
                        </a:lnTo>
                        <a:cubicBezTo>
                          <a:pt x="8882" y="543791"/>
                          <a:pt x="6923" y="545750"/>
                          <a:pt x="4441" y="545750"/>
                        </a:cubicBezTo>
                        <a:lnTo>
                          <a:pt x="4441" y="545750"/>
                        </a:lnTo>
                        <a:close/>
                        <a:moveTo>
                          <a:pt x="4441" y="474168"/>
                        </a:moveTo>
                        <a:cubicBezTo>
                          <a:pt x="1959" y="474168"/>
                          <a:pt x="0" y="472208"/>
                          <a:pt x="0" y="469727"/>
                        </a:cubicBezTo>
                        <a:lnTo>
                          <a:pt x="0" y="433936"/>
                        </a:lnTo>
                        <a:cubicBezTo>
                          <a:pt x="0" y="431454"/>
                          <a:pt x="1959" y="429494"/>
                          <a:pt x="4441" y="429494"/>
                        </a:cubicBezTo>
                        <a:lnTo>
                          <a:pt x="4441" y="429494"/>
                        </a:lnTo>
                        <a:cubicBezTo>
                          <a:pt x="6923" y="429494"/>
                          <a:pt x="8882" y="431454"/>
                          <a:pt x="8882" y="433936"/>
                        </a:cubicBezTo>
                        <a:lnTo>
                          <a:pt x="8882" y="469727"/>
                        </a:lnTo>
                        <a:cubicBezTo>
                          <a:pt x="8882" y="472208"/>
                          <a:pt x="6923" y="474168"/>
                          <a:pt x="4441" y="474168"/>
                        </a:cubicBezTo>
                        <a:lnTo>
                          <a:pt x="4441" y="474168"/>
                        </a:lnTo>
                        <a:close/>
                        <a:moveTo>
                          <a:pt x="4441" y="402585"/>
                        </a:moveTo>
                        <a:cubicBezTo>
                          <a:pt x="1959" y="402585"/>
                          <a:pt x="0" y="400626"/>
                          <a:pt x="0" y="398144"/>
                        </a:cubicBezTo>
                        <a:lnTo>
                          <a:pt x="0" y="362353"/>
                        </a:lnTo>
                        <a:cubicBezTo>
                          <a:pt x="0" y="359871"/>
                          <a:pt x="1959" y="357912"/>
                          <a:pt x="4441" y="357912"/>
                        </a:cubicBezTo>
                        <a:lnTo>
                          <a:pt x="4441" y="357912"/>
                        </a:lnTo>
                        <a:cubicBezTo>
                          <a:pt x="6923" y="357912"/>
                          <a:pt x="8882" y="359871"/>
                          <a:pt x="8882" y="362353"/>
                        </a:cubicBezTo>
                        <a:lnTo>
                          <a:pt x="8882" y="398144"/>
                        </a:lnTo>
                        <a:cubicBezTo>
                          <a:pt x="8882" y="400626"/>
                          <a:pt x="6923" y="402585"/>
                          <a:pt x="4441" y="402585"/>
                        </a:cubicBezTo>
                        <a:lnTo>
                          <a:pt x="4441" y="402585"/>
                        </a:lnTo>
                        <a:close/>
                        <a:moveTo>
                          <a:pt x="4441" y="331003"/>
                        </a:moveTo>
                        <a:cubicBezTo>
                          <a:pt x="1959" y="331003"/>
                          <a:pt x="0" y="329044"/>
                          <a:pt x="0" y="326562"/>
                        </a:cubicBezTo>
                        <a:lnTo>
                          <a:pt x="0" y="290771"/>
                        </a:lnTo>
                        <a:cubicBezTo>
                          <a:pt x="0" y="288289"/>
                          <a:pt x="1959" y="286329"/>
                          <a:pt x="4441" y="286329"/>
                        </a:cubicBezTo>
                        <a:lnTo>
                          <a:pt x="4441" y="286329"/>
                        </a:lnTo>
                        <a:cubicBezTo>
                          <a:pt x="6923" y="286329"/>
                          <a:pt x="8882" y="288289"/>
                          <a:pt x="8882" y="290771"/>
                        </a:cubicBezTo>
                        <a:lnTo>
                          <a:pt x="8882" y="326562"/>
                        </a:lnTo>
                        <a:cubicBezTo>
                          <a:pt x="8882" y="329044"/>
                          <a:pt x="6923" y="331003"/>
                          <a:pt x="4441" y="331003"/>
                        </a:cubicBezTo>
                        <a:lnTo>
                          <a:pt x="4441" y="331003"/>
                        </a:lnTo>
                        <a:close/>
                        <a:moveTo>
                          <a:pt x="4441" y="259421"/>
                        </a:moveTo>
                        <a:cubicBezTo>
                          <a:pt x="1959" y="259421"/>
                          <a:pt x="0" y="257461"/>
                          <a:pt x="0" y="254980"/>
                        </a:cubicBezTo>
                        <a:lnTo>
                          <a:pt x="0" y="219188"/>
                        </a:lnTo>
                        <a:cubicBezTo>
                          <a:pt x="0" y="216706"/>
                          <a:pt x="1959" y="214747"/>
                          <a:pt x="4441" y="214747"/>
                        </a:cubicBezTo>
                        <a:lnTo>
                          <a:pt x="4441" y="214747"/>
                        </a:lnTo>
                        <a:cubicBezTo>
                          <a:pt x="6923" y="214747"/>
                          <a:pt x="8882" y="216706"/>
                          <a:pt x="8882" y="219188"/>
                        </a:cubicBezTo>
                        <a:lnTo>
                          <a:pt x="8882" y="254980"/>
                        </a:lnTo>
                        <a:cubicBezTo>
                          <a:pt x="8882" y="257461"/>
                          <a:pt x="6923" y="259421"/>
                          <a:pt x="4441" y="259421"/>
                        </a:cubicBezTo>
                        <a:lnTo>
                          <a:pt x="4441" y="259421"/>
                        </a:lnTo>
                        <a:close/>
                        <a:moveTo>
                          <a:pt x="4441" y="187838"/>
                        </a:moveTo>
                        <a:cubicBezTo>
                          <a:pt x="1959" y="187838"/>
                          <a:pt x="0" y="185879"/>
                          <a:pt x="0" y="183397"/>
                        </a:cubicBezTo>
                        <a:lnTo>
                          <a:pt x="0" y="147606"/>
                        </a:lnTo>
                        <a:cubicBezTo>
                          <a:pt x="0" y="145124"/>
                          <a:pt x="1959" y="143165"/>
                          <a:pt x="4441" y="143165"/>
                        </a:cubicBezTo>
                        <a:lnTo>
                          <a:pt x="4441" y="143165"/>
                        </a:lnTo>
                        <a:cubicBezTo>
                          <a:pt x="6923" y="143165"/>
                          <a:pt x="8882" y="145124"/>
                          <a:pt x="8882" y="147606"/>
                        </a:cubicBezTo>
                        <a:lnTo>
                          <a:pt x="8882" y="183397"/>
                        </a:lnTo>
                        <a:cubicBezTo>
                          <a:pt x="8882" y="185879"/>
                          <a:pt x="6923" y="187838"/>
                          <a:pt x="4441" y="187838"/>
                        </a:cubicBezTo>
                        <a:lnTo>
                          <a:pt x="4441" y="187838"/>
                        </a:lnTo>
                        <a:close/>
                        <a:moveTo>
                          <a:pt x="4441" y="116256"/>
                        </a:moveTo>
                        <a:cubicBezTo>
                          <a:pt x="1959" y="116256"/>
                          <a:pt x="0" y="114297"/>
                          <a:pt x="0" y="111815"/>
                        </a:cubicBezTo>
                        <a:lnTo>
                          <a:pt x="0" y="76024"/>
                        </a:lnTo>
                        <a:cubicBezTo>
                          <a:pt x="0" y="73542"/>
                          <a:pt x="1959" y="71582"/>
                          <a:pt x="4441" y="71582"/>
                        </a:cubicBezTo>
                        <a:lnTo>
                          <a:pt x="4441" y="71582"/>
                        </a:lnTo>
                        <a:cubicBezTo>
                          <a:pt x="6923" y="71582"/>
                          <a:pt x="8882" y="73542"/>
                          <a:pt x="8882" y="76024"/>
                        </a:cubicBezTo>
                        <a:lnTo>
                          <a:pt x="8882" y="111815"/>
                        </a:lnTo>
                        <a:cubicBezTo>
                          <a:pt x="8882" y="114297"/>
                          <a:pt x="6792" y="116387"/>
                          <a:pt x="4441" y="116256"/>
                        </a:cubicBezTo>
                        <a:close/>
                        <a:moveTo>
                          <a:pt x="4441" y="44674"/>
                        </a:moveTo>
                        <a:cubicBezTo>
                          <a:pt x="1959" y="44674"/>
                          <a:pt x="0" y="42714"/>
                          <a:pt x="0" y="40232"/>
                        </a:cubicBezTo>
                        <a:lnTo>
                          <a:pt x="0" y="4441"/>
                        </a:lnTo>
                        <a:cubicBezTo>
                          <a:pt x="0" y="1959"/>
                          <a:pt x="1959" y="0"/>
                          <a:pt x="4441" y="0"/>
                        </a:cubicBezTo>
                        <a:cubicBezTo>
                          <a:pt x="6923" y="0"/>
                          <a:pt x="8882" y="1959"/>
                          <a:pt x="8882" y="4441"/>
                        </a:cubicBezTo>
                        <a:lnTo>
                          <a:pt x="8882" y="40232"/>
                        </a:lnTo>
                        <a:cubicBezTo>
                          <a:pt x="8882" y="42714"/>
                          <a:pt x="6923" y="44543"/>
                          <a:pt x="4441" y="4467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40" name="Freeform: Shape 839">
                    <a:extLst>
                      <a:ext uri="{FF2B5EF4-FFF2-40B4-BE49-F238E27FC236}">
                        <a16:creationId xmlns:a16="http://schemas.microsoft.com/office/drawing/2014/main" id="{AF9513FC-E7C2-6B5A-5883-273770A55FFC}"/>
                      </a:ext>
                    </a:extLst>
                  </p:cNvPr>
                  <p:cNvSpPr/>
                  <p:nvPr/>
                </p:nvSpPr>
                <p:spPr>
                  <a:xfrm>
                    <a:off x="1008381" y="4823844"/>
                    <a:ext cx="1722156" cy="8882"/>
                  </a:xfrm>
                  <a:custGeom>
                    <a:avLst/>
                    <a:gdLst>
                      <a:gd name="connsiteX0" fmla="*/ 1717716 w 1722156"/>
                      <a:gd name="connsiteY0" fmla="*/ 8883 h 8882"/>
                      <a:gd name="connsiteX1" fmla="*/ 4441 w 1722156"/>
                      <a:gd name="connsiteY1" fmla="*/ 8883 h 8882"/>
                      <a:gd name="connsiteX2" fmla="*/ 0 w 1722156"/>
                      <a:gd name="connsiteY2" fmla="*/ 4441 h 8882"/>
                      <a:gd name="connsiteX3" fmla="*/ 4441 w 1722156"/>
                      <a:gd name="connsiteY3" fmla="*/ 0 h 8882"/>
                      <a:gd name="connsiteX4" fmla="*/ 1717716 w 1722156"/>
                      <a:gd name="connsiteY4" fmla="*/ 0 h 8882"/>
                      <a:gd name="connsiteX5" fmla="*/ 1722157 w 1722156"/>
                      <a:gd name="connsiteY5" fmla="*/ 4441 h 8882"/>
                      <a:gd name="connsiteX6" fmla="*/ 1717716 w 1722156"/>
                      <a:gd name="connsiteY6" fmla="*/ 8883 h 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2156" h="8882">
                        <a:moveTo>
                          <a:pt x="1717716" y="8883"/>
                        </a:moveTo>
                        <a:lnTo>
                          <a:pt x="4441" y="8883"/>
                        </a:lnTo>
                        <a:cubicBezTo>
                          <a:pt x="1959" y="8883"/>
                          <a:pt x="0" y="6923"/>
                          <a:pt x="0" y="4441"/>
                        </a:cubicBezTo>
                        <a:cubicBezTo>
                          <a:pt x="0" y="1959"/>
                          <a:pt x="1959" y="0"/>
                          <a:pt x="4441" y="0"/>
                        </a:cubicBezTo>
                        <a:lnTo>
                          <a:pt x="1717716" y="0"/>
                        </a:lnTo>
                        <a:cubicBezTo>
                          <a:pt x="1720197" y="0"/>
                          <a:pt x="1722157" y="1959"/>
                          <a:pt x="1722157" y="4441"/>
                        </a:cubicBezTo>
                        <a:cubicBezTo>
                          <a:pt x="1722157" y="6923"/>
                          <a:pt x="1720197" y="8883"/>
                          <a:pt x="1717716" y="888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41" name="Graphic 717">
                  <a:extLst>
                    <a:ext uri="{FF2B5EF4-FFF2-40B4-BE49-F238E27FC236}">
                      <a16:creationId xmlns:a16="http://schemas.microsoft.com/office/drawing/2014/main" id="{A0E09181-BAB5-0E00-2B3F-1DF921FAFD7A}"/>
                    </a:ext>
                  </a:extLst>
                </p:cNvPr>
                <p:cNvGrpSpPr/>
                <p:nvPr/>
              </p:nvGrpSpPr>
              <p:grpSpPr>
                <a:xfrm>
                  <a:off x="814665" y="4153478"/>
                  <a:ext cx="477564" cy="240741"/>
                  <a:chOff x="814665" y="4153478"/>
                  <a:chExt cx="477564" cy="240741"/>
                </a:xfrm>
                <a:grpFill/>
              </p:grpSpPr>
              <p:sp>
                <p:nvSpPr>
                  <p:cNvPr id="842" name="Freeform: Shape 841">
                    <a:extLst>
                      <a:ext uri="{FF2B5EF4-FFF2-40B4-BE49-F238E27FC236}">
                        <a16:creationId xmlns:a16="http://schemas.microsoft.com/office/drawing/2014/main" id="{54D54727-0026-BBA8-FF62-3CAE27753184}"/>
                      </a:ext>
                    </a:extLst>
                  </p:cNvPr>
                  <p:cNvSpPr/>
                  <p:nvPr/>
                </p:nvSpPr>
                <p:spPr>
                  <a:xfrm>
                    <a:off x="814795" y="4153478"/>
                    <a:ext cx="334268" cy="10711"/>
                  </a:xfrm>
                  <a:custGeom>
                    <a:avLst/>
                    <a:gdLst>
                      <a:gd name="connsiteX0" fmla="*/ 329828 w 334268"/>
                      <a:gd name="connsiteY0" fmla="*/ 10711 h 10711"/>
                      <a:gd name="connsiteX1" fmla="*/ 329828 w 334268"/>
                      <a:gd name="connsiteY1" fmla="*/ 10711 h 10711"/>
                      <a:gd name="connsiteX2" fmla="*/ 4441 w 334268"/>
                      <a:gd name="connsiteY2" fmla="*/ 8882 h 10711"/>
                      <a:gd name="connsiteX3" fmla="*/ 0 w 334268"/>
                      <a:gd name="connsiteY3" fmla="*/ 4441 h 10711"/>
                      <a:gd name="connsiteX4" fmla="*/ 4441 w 334268"/>
                      <a:gd name="connsiteY4" fmla="*/ 0 h 10711"/>
                      <a:gd name="connsiteX5" fmla="*/ 4441 w 334268"/>
                      <a:gd name="connsiteY5" fmla="*/ 0 h 10711"/>
                      <a:gd name="connsiteX6" fmla="*/ 329828 w 334268"/>
                      <a:gd name="connsiteY6" fmla="*/ 1829 h 10711"/>
                      <a:gd name="connsiteX7" fmla="*/ 334269 w 334268"/>
                      <a:gd name="connsiteY7" fmla="*/ 6270 h 10711"/>
                      <a:gd name="connsiteX8" fmla="*/ 329828 w 334268"/>
                      <a:gd name="connsiteY8" fmla="*/ 10711 h 1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268" h="10711">
                        <a:moveTo>
                          <a:pt x="329828" y="10711"/>
                        </a:moveTo>
                        <a:lnTo>
                          <a:pt x="329828" y="10711"/>
                        </a:lnTo>
                        <a:lnTo>
                          <a:pt x="4441" y="8882"/>
                        </a:lnTo>
                        <a:cubicBezTo>
                          <a:pt x="1959" y="8882"/>
                          <a:pt x="0" y="6793"/>
                          <a:pt x="0" y="4441"/>
                        </a:cubicBezTo>
                        <a:cubicBezTo>
                          <a:pt x="0" y="1959"/>
                          <a:pt x="1959" y="0"/>
                          <a:pt x="4441" y="0"/>
                        </a:cubicBezTo>
                        <a:lnTo>
                          <a:pt x="4441" y="0"/>
                        </a:lnTo>
                        <a:lnTo>
                          <a:pt x="329828" y="1829"/>
                        </a:lnTo>
                        <a:cubicBezTo>
                          <a:pt x="332309" y="1829"/>
                          <a:pt x="334269" y="3919"/>
                          <a:pt x="334269" y="6270"/>
                        </a:cubicBezTo>
                        <a:cubicBezTo>
                          <a:pt x="334269" y="8752"/>
                          <a:pt x="332309" y="10711"/>
                          <a:pt x="329828" y="1071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43" name="Freeform: Shape 842">
                    <a:extLst>
                      <a:ext uri="{FF2B5EF4-FFF2-40B4-BE49-F238E27FC236}">
                        <a16:creationId xmlns:a16="http://schemas.microsoft.com/office/drawing/2014/main" id="{EF7F8653-09C7-E4AC-BF1F-DC75E0C6E3F5}"/>
                      </a:ext>
                    </a:extLst>
                  </p:cNvPr>
                  <p:cNvSpPr/>
                  <p:nvPr/>
                </p:nvSpPr>
                <p:spPr>
                  <a:xfrm>
                    <a:off x="814665" y="4268558"/>
                    <a:ext cx="477564" cy="10711"/>
                  </a:xfrm>
                  <a:custGeom>
                    <a:avLst/>
                    <a:gdLst>
                      <a:gd name="connsiteX0" fmla="*/ 473123 w 477564"/>
                      <a:gd name="connsiteY0" fmla="*/ 10711 h 10711"/>
                      <a:gd name="connsiteX1" fmla="*/ 473123 w 477564"/>
                      <a:gd name="connsiteY1" fmla="*/ 10711 h 10711"/>
                      <a:gd name="connsiteX2" fmla="*/ 4441 w 477564"/>
                      <a:gd name="connsiteY2" fmla="*/ 8882 h 10711"/>
                      <a:gd name="connsiteX3" fmla="*/ 0 w 477564"/>
                      <a:gd name="connsiteY3" fmla="*/ 4441 h 10711"/>
                      <a:gd name="connsiteX4" fmla="*/ 4441 w 477564"/>
                      <a:gd name="connsiteY4" fmla="*/ 0 h 10711"/>
                      <a:gd name="connsiteX5" fmla="*/ 4441 w 477564"/>
                      <a:gd name="connsiteY5" fmla="*/ 0 h 10711"/>
                      <a:gd name="connsiteX6" fmla="*/ 473123 w 477564"/>
                      <a:gd name="connsiteY6" fmla="*/ 1829 h 10711"/>
                      <a:gd name="connsiteX7" fmla="*/ 477564 w 477564"/>
                      <a:gd name="connsiteY7" fmla="*/ 6270 h 10711"/>
                      <a:gd name="connsiteX8" fmla="*/ 473123 w 477564"/>
                      <a:gd name="connsiteY8" fmla="*/ 10711 h 1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64" h="10711">
                        <a:moveTo>
                          <a:pt x="473123" y="10711"/>
                        </a:moveTo>
                        <a:lnTo>
                          <a:pt x="473123" y="10711"/>
                        </a:lnTo>
                        <a:lnTo>
                          <a:pt x="4441" y="8882"/>
                        </a:lnTo>
                        <a:cubicBezTo>
                          <a:pt x="1959" y="8882"/>
                          <a:pt x="0" y="6923"/>
                          <a:pt x="0" y="4441"/>
                        </a:cubicBezTo>
                        <a:cubicBezTo>
                          <a:pt x="0" y="1959"/>
                          <a:pt x="1959" y="0"/>
                          <a:pt x="4441" y="0"/>
                        </a:cubicBezTo>
                        <a:lnTo>
                          <a:pt x="4441" y="0"/>
                        </a:lnTo>
                        <a:lnTo>
                          <a:pt x="473123" y="1829"/>
                        </a:lnTo>
                        <a:cubicBezTo>
                          <a:pt x="475605" y="1829"/>
                          <a:pt x="477564" y="3788"/>
                          <a:pt x="477564" y="6270"/>
                        </a:cubicBezTo>
                        <a:cubicBezTo>
                          <a:pt x="477564" y="8752"/>
                          <a:pt x="475605" y="10711"/>
                          <a:pt x="473123" y="1071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44" name="Freeform: Shape 843">
                    <a:extLst>
                      <a:ext uri="{FF2B5EF4-FFF2-40B4-BE49-F238E27FC236}">
                        <a16:creationId xmlns:a16="http://schemas.microsoft.com/office/drawing/2014/main" id="{4A520723-28E2-EDB9-1CCD-9FB73698A9AE}"/>
                      </a:ext>
                    </a:extLst>
                  </p:cNvPr>
                  <p:cNvSpPr/>
                  <p:nvPr/>
                </p:nvSpPr>
                <p:spPr>
                  <a:xfrm>
                    <a:off x="814795" y="4383508"/>
                    <a:ext cx="366141" cy="10711"/>
                  </a:xfrm>
                  <a:custGeom>
                    <a:avLst/>
                    <a:gdLst>
                      <a:gd name="connsiteX0" fmla="*/ 361700 w 366141"/>
                      <a:gd name="connsiteY0" fmla="*/ 10711 h 10711"/>
                      <a:gd name="connsiteX1" fmla="*/ 361700 w 366141"/>
                      <a:gd name="connsiteY1" fmla="*/ 10711 h 10711"/>
                      <a:gd name="connsiteX2" fmla="*/ 4441 w 366141"/>
                      <a:gd name="connsiteY2" fmla="*/ 8882 h 10711"/>
                      <a:gd name="connsiteX3" fmla="*/ 0 w 366141"/>
                      <a:gd name="connsiteY3" fmla="*/ 4441 h 10711"/>
                      <a:gd name="connsiteX4" fmla="*/ 4441 w 366141"/>
                      <a:gd name="connsiteY4" fmla="*/ 0 h 10711"/>
                      <a:gd name="connsiteX5" fmla="*/ 4441 w 366141"/>
                      <a:gd name="connsiteY5" fmla="*/ 0 h 10711"/>
                      <a:gd name="connsiteX6" fmla="*/ 361700 w 366141"/>
                      <a:gd name="connsiteY6" fmla="*/ 1829 h 10711"/>
                      <a:gd name="connsiteX7" fmla="*/ 366141 w 366141"/>
                      <a:gd name="connsiteY7" fmla="*/ 6270 h 10711"/>
                      <a:gd name="connsiteX8" fmla="*/ 361700 w 366141"/>
                      <a:gd name="connsiteY8" fmla="*/ 10711 h 1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141" h="10711">
                        <a:moveTo>
                          <a:pt x="361700" y="10711"/>
                        </a:moveTo>
                        <a:lnTo>
                          <a:pt x="361700" y="10711"/>
                        </a:lnTo>
                        <a:cubicBezTo>
                          <a:pt x="361700" y="10711"/>
                          <a:pt x="4441" y="8882"/>
                          <a:pt x="4441" y="8882"/>
                        </a:cubicBezTo>
                        <a:cubicBezTo>
                          <a:pt x="1959" y="8882"/>
                          <a:pt x="0" y="6792"/>
                          <a:pt x="0" y="4441"/>
                        </a:cubicBezTo>
                        <a:cubicBezTo>
                          <a:pt x="0" y="1959"/>
                          <a:pt x="1959" y="0"/>
                          <a:pt x="4441" y="0"/>
                        </a:cubicBezTo>
                        <a:lnTo>
                          <a:pt x="4441" y="0"/>
                        </a:lnTo>
                        <a:cubicBezTo>
                          <a:pt x="4441" y="0"/>
                          <a:pt x="361700" y="1829"/>
                          <a:pt x="361700" y="1829"/>
                        </a:cubicBezTo>
                        <a:cubicBezTo>
                          <a:pt x="364182" y="1829"/>
                          <a:pt x="366141" y="3919"/>
                          <a:pt x="366141" y="6270"/>
                        </a:cubicBezTo>
                        <a:cubicBezTo>
                          <a:pt x="366141" y="8752"/>
                          <a:pt x="364182" y="10711"/>
                          <a:pt x="361700" y="1071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sp>
              <p:nvSpPr>
                <p:cNvPr id="845" name="Freeform: Shape 844">
                  <a:extLst>
                    <a:ext uri="{FF2B5EF4-FFF2-40B4-BE49-F238E27FC236}">
                      <a16:creationId xmlns:a16="http://schemas.microsoft.com/office/drawing/2014/main" id="{47B2BBD2-48DD-A02E-4C4E-BDE28DA11A74}"/>
                    </a:ext>
                  </a:extLst>
                </p:cNvPr>
                <p:cNvSpPr/>
                <p:nvPr/>
              </p:nvSpPr>
              <p:spPr>
                <a:xfrm>
                  <a:off x="2689130" y="3948470"/>
                  <a:ext cx="297563" cy="10115"/>
                </a:xfrm>
                <a:custGeom>
                  <a:avLst/>
                  <a:gdLst>
                    <a:gd name="connsiteX0" fmla="*/ 292991 w 297563"/>
                    <a:gd name="connsiteY0" fmla="*/ 9985 h 10115"/>
                    <a:gd name="connsiteX1" fmla="*/ 292991 w 297563"/>
                    <a:gd name="connsiteY1" fmla="*/ 9985 h 10115"/>
                    <a:gd name="connsiteX2" fmla="*/ 4441 w 297563"/>
                    <a:gd name="connsiteY2" fmla="*/ 8939 h 10115"/>
                    <a:gd name="connsiteX3" fmla="*/ 4441 w 297563"/>
                    <a:gd name="connsiteY3" fmla="*/ 8939 h 10115"/>
                    <a:gd name="connsiteX4" fmla="*/ 0 w 297563"/>
                    <a:gd name="connsiteY4" fmla="*/ 4498 h 10115"/>
                    <a:gd name="connsiteX5" fmla="*/ 4441 w 297563"/>
                    <a:gd name="connsiteY5" fmla="*/ 57 h 10115"/>
                    <a:gd name="connsiteX6" fmla="*/ 293122 w 297563"/>
                    <a:gd name="connsiteY6" fmla="*/ 1102 h 10115"/>
                    <a:gd name="connsiteX7" fmla="*/ 297563 w 297563"/>
                    <a:gd name="connsiteY7" fmla="*/ 5674 h 10115"/>
                    <a:gd name="connsiteX8" fmla="*/ 293122 w 297563"/>
                    <a:gd name="connsiteY8" fmla="*/ 10115 h 1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563" h="10115">
                      <a:moveTo>
                        <a:pt x="292991" y="9985"/>
                      </a:moveTo>
                      <a:lnTo>
                        <a:pt x="292991" y="9985"/>
                      </a:lnTo>
                      <a:cubicBezTo>
                        <a:pt x="197243" y="8678"/>
                        <a:pt x="97707" y="8678"/>
                        <a:pt x="4441" y="8939"/>
                      </a:cubicBezTo>
                      <a:lnTo>
                        <a:pt x="4441" y="8939"/>
                      </a:lnTo>
                      <a:cubicBezTo>
                        <a:pt x="1959" y="8939"/>
                        <a:pt x="0" y="6980"/>
                        <a:pt x="0" y="4498"/>
                      </a:cubicBezTo>
                      <a:cubicBezTo>
                        <a:pt x="0" y="2016"/>
                        <a:pt x="1959" y="57"/>
                        <a:pt x="4441" y="57"/>
                      </a:cubicBezTo>
                      <a:cubicBezTo>
                        <a:pt x="97838" y="-73"/>
                        <a:pt x="197505" y="-73"/>
                        <a:pt x="293122" y="1102"/>
                      </a:cubicBezTo>
                      <a:cubicBezTo>
                        <a:pt x="295604" y="1102"/>
                        <a:pt x="297563" y="3192"/>
                        <a:pt x="297563" y="5674"/>
                      </a:cubicBezTo>
                      <a:cubicBezTo>
                        <a:pt x="297563" y="8156"/>
                        <a:pt x="295473" y="10115"/>
                        <a:pt x="293122" y="1011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46" name="Freeform: Shape 845">
                  <a:extLst>
                    <a:ext uri="{FF2B5EF4-FFF2-40B4-BE49-F238E27FC236}">
                      <a16:creationId xmlns:a16="http://schemas.microsoft.com/office/drawing/2014/main" id="{3E1B2F74-44E3-C053-E34D-E8AC10CA71BC}"/>
                    </a:ext>
                  </a:extLst>
                </p:cNvPr>
                <p:cNvSpPr/>
                <p:nvPr/>
              </p:nvSpPr>
              <p:spPr>
                <a:xfrm>
                  <a:off x="2765415" y="4068645"/>
                  <a:ext cx="221408" cy="10115"/>
                </a:xfrm>
                <a:custGeom>
                  <a:avLst/>
                  <a:gdLst>
                    <a:gd name="connsiteX0" fmla="*/ 216706 w 221408"/>
                    <a:gd name="connsiteY0" fmla="*/ 9985 h 10115"/>
                    <a:gd name="connsiteX1" fmla="*/ 216706 w 221408"/>
                    <a:gd name="connsiteY1" fmla="*/ 9985 h 10115"/>
                    <a:gd name="connsiteX2" fmla="*/ 4441 w 221408"/>
                    <a:gd name="connsiteY2" fmla="*/ 8940 h 10115"/>
                    <a:gd name="connsiteX3" fmla="*/ 4441 w 221408"/>
                    <a:gd name="connsiteY3" fmla="*/ 8940 h 10115"/>
                    <a:gd name="connsiteX4" fmla="*/ 0 w 221408"/>
                    <a:gd name="connsiteY4" fmla="*/ 4498 h 10115"/>
                    <a:gd name="connsiteX5" fmla="*/ 4441 w 221408"/>
                    <a:gd name="connsiteY5" fmla="*/ 57 h 10115"/>
                    <a:gd name="connsiteX6" fmla="*/ 216968 w 221408"/>
                    <a:gd name="connsiteY6" fmla="*/ 1102 h 10115"/>
                    <a:gd name="connsiteX7" fmla="*/ 221409 w 221408"/>
                    <a:gd name="connsiteY7" fmla="*/ 5674 h 10115"/>
                    <a:gd name="connsiteX8" fmla="*/ 216968 w 221408"/>
                    <a:gd name="connsiteY8" fmla="*/ 10115 h 1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408" h="10115">
                      <a:moveTo>
                        <a:pt x="216706" y="9985"/>
                      </a:moveTo>
                      <a:lnTo>
                        <a:pt x="216706" y="9985"/>
                      </a:lnTo>
                      <a:cubicBezTo>
                        <a:pt x="146300" y="8678"/>
                        <a:pt x="73150" y="8678"/>
                        <a:pt x="4441" y="8940"/>
                      </a:cubicBezTo>
                      <a:lnTo>
                        <a:pt x="4441" y="8940"/>
                      </a:lnTo>
                      <a:cubicBezTo>
                        <a:pt x="1959" y="8940"/>
                        <a:pt x="0" y="6980"/>
                        <a:pt x="0" y="4498"/>
                      </a:cubicBezTo>
                      <a:cubicBezTo>
                        <a:pt x="0" y="2017"/>
                        <a:pt x="1959" y="57"/>
                        <a:pt x="4441" y="57"/>
                      </a:cubicBezTo>
                      <a:cubicBezTo>
                        <a:pt x="73150" y="-73"/>
                        <a:pt x="146430" y="-73"/>
                        <a:pt x="216968" y="1102"/>
                      </a:cubicBezTo>
                      <a:cubicBezTo>
                        <a:pt x="219450" y="1102"/>
                        <a:pt x="221409" y="3192"/>
                        <a:pt x="221409" y="5674"/>
                      </a:cubicBezTo>
                      <a:cubicBezTo>
                        <a:pt x="221409" y="8156"/>
                        <a:pt x="219319" y="10115"/>
                        <a:pt x="216968" y="1011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57" name="Graphic 717">
                <a:extLst>
                  <a:ext uri="{FF2B5EF4-FFF2-40B4-BE49-F238E27FC236}">
                    <a16:creationId xmlns:a16="http://schemas.microsoft.com/office/drawing/2014/main" id="{7DAE2B09-FCD5-19ED-D818-117B56B0CF52}"/>
                  </a:ext>
                </a:extLst>
              </p:cNvPr>
              <p:cNvGrpSpPr/>
              <p:nvPr/>
            </p:nvGrpSpPr>
            <p:grpSpPr>
              <a:xfrm>
                <a:off x="6488041" y="1600701"/>
                <a:ext cx="672662" cy="2974406"/>
                <a:chOff x="308624" y="3248117"/>
                <a:chExt cx="757231" cy="2796937"/>
              </a:xfrm>
              <a:noFill/>
            </p:grpSpPr>
            <p:sp>
              <p:nvSpPr>
                <p:cNvPr id="858" name="Freeform: Shape 857">
                  <a:extLst>
                    <a:ext uri="{FF2B5EF4-FFF2-40B4-BE49-F238E27FC236}">
                      <a16:creationId xmlns:a16="http://schemas.microsoft.com/office/drawing/2014/main" id="{E6CFCB9D-FD38-2E65-A878-29BBF5BDE211}"/>
                    </a:ext>
                  </a:extLst>
                </p:cNvPr>
                <p:cNvSpPr/>
                <p:nvPr/>
              </p:nvSpPr>
              <p:spPr>
                <a:xfrm>
                  <a:off x="308624" y="3248117"/>
                  <a:ext cx="733849" cy="2764803"/>
                </a:xfrm>
                <a:custGeom>
                  <a:avLst/>
                  <a:gdLst>
                    <a:gd name="connsiteX0" fmla="*/ 729147 w 733849"/>
                    <a:gd name="connsiteY0" fmla="*/ 2764804 h 2764803"/>
                    <a:gd name="connsiteX1" fmla="*/ 691397 w 733849"/>
                    <a:gd name="connsiteY1" fmla="*/ 2764804 h 2764803"/>
                    <a:gd name="connsiteX2" fmla="*/ 686694 w 733849"/>
                    <a:gd name="connsiteY2" fmla="*/ 2758403 h 2764803"/>
                    <a:gd name="connsiteX3" fmla="*/ 691397 w 733849"/>
                    <a:gd name="connsiteY3" fmla="*/ 2752003 h 2764803"/>
                    <a:gd name="connsiteX4" fmla="*/ 729147 w 733849"/>
                    <a:gd name="connsiteY4" fmla="*/ 2752003 h 2764803"/>
                    <a:gd name="connsiteX5" fmla="*/ 733850 w 733849"/>
                    <a:gd name="connsiteY5" fmla="*/ 2758403 h 2764803"/>
                    <a:gd name="connsiteX6" fmla="*/ 729147 w 733849"/>
                    <a:gd name="connsiteY6" fmla="*/ 2764804 h 2764803"/>
                    <a:gd name="connsiteX7" fmla="*/ 653777 w 733849"/>
                    <a:gd name="connsiteY7" fmla="*/ 2764804 h 2764803"/>
                    <a:gd name="connsiteX8" fmla="*/ 616026 w 733849"/>
                    <a:gd name="connsiteY8" fmla="*/ 2764804 h 2764803"/>
                    <a:gd name="connsiteX9" fmla="*/ 611324 w 733849"/>
                    <a:gd name="connsiteY9" fmla="*/ 2758403 h 2764803"/>
                    <a:gd name="connsiteX10" fmla="*/ 616026 w 733849"/>
                    <a:gd name="connsiteY10" fmla="*/ 2752003 h 2764803"/>
                    <a:gd name="connsiteX11" fmla="*/ 653777 w 733849"/>
                    <a:gd name="connsiteY11" fmla="*/ 2752003 h 2764803"/>
                    <a:gd name="connsiteX12" fmla="*/ 658479 w 733849"/>
                    <a:gd name="connsiteY12" fmla="*/ 2758403 h 2764803"/>
                    <a:gd name="connsiteX13" fmla="*/ 653777 w 733849"/>
                    <a:gd name="connsiteY13" fmla="*/ 2764804 h 2764803"/>
                    <a:gd name="connsiteX14" fmla="*/ 578406 w 733849"/>
                    <a:gd name="connsiteY14" fmla="*/ 2764804 h 2764803"/>
                    <a:gd name="connsiteX15" fmla="*/ 540656 w 733849"/>
                    <a:gd name="connsiteY15" fmla="*/ 2764804 h 2764803"/>
                    <a:gd name="connsiteX16" fmla="*/ 535953 w 733849"/>
                    <a:gd name="connsiteY16" fmla="*/ 2758403 h 2764803"/>
                    <a:gd name="connsiteX17" fmla="*/ 540656 w 733849"/>
                    <a:gd name="connsiteY17" fmla="*/ 2752003 h 2764803"/>
                    <a:gd name="connsiteX18" fmla="*/ 578406 w 733849"/>
                    <a:gd name="connsiteY18" fmla="*/ 2752003 h 2764803"/>
                    <a:gd name="connsiteX19" fmla="*/ 583109 w 733849"/>
                    <a:gd name="connsiteY19" fmla="*/ 2758403 h 2764803"/>
                    <a:gd name="connsiteX20" fmla="*/ 578406 w 733849"/>
                    <a:gd name="connsiteY20" fmla="*/ 2764804 h 2764803"/>
                    <a:gd name="connsiteX21" fmla="*/ 503036 w 733849"/>
                    <a:gd name="connsiteY21" fmla="*/ 2764804 h 2764803"/>
                    <a:gd name="connsiteX22" fmla="*/ 465285 w 733849"/>
                    <a:gd name="connsiteY22" fmla="*/ 2764804 h 2764803"/>
                    <a:gd name="connsiteX23" fmla="*/ 460583 w 733849"/>
                    <a:gd name="connsiteY23" fmla="*/ 2758403 h 2764803"/>
                    <a:gd name="connsiteX24" fmla="*/ 465285 w 733849"/>
                    <a:gd name="connsiteY24" fmla="*/ 2752003 h 2764803"/>
                    <a:gd name="connsiteX25" fmla="*/ 503036 w 733849"/>
                    <a:gd name="connsiteY25" fmla="*/ 2752003 h 2764803"/>
                    <a:gd name="connsiteX26" fmla="*/ 507738 w 733849"/>
                    <a:gd name="connsiteY26" fmla="*/ 2758403 h 2764803"/>
                    <a:gd name="connsiteX27" fmla="*/ 503036 w 733849"/>
                    <a:gd name="connsiteY27" fmla="*/ 2764804 h 2764803"/>
                    <a:gd name="connsiteX28" fmla="*/ 427665 w 733849"/>
                    <a:gd name="connsiteY28" fmla="*/ 2764804 h 2764803"/>
                    <a:gd name="connsiteX29" fmla="*/ 389915 w 733849"/>
                    <a:gd name="connsiteY29" fmla="*/ 2764804 h 2764803"/>
                    <a:gd name="connsiteX30" fmla="*/ 385212 w 733849"/>
                    <a:gd name="connsiteY30" fmla="*/ 2758403 h 2764803"/>
                    <a:gd name="connsiteX31" fmla="*/ 389915 w 733849"/>
                    <a:gd name="connsiteY31" fmla="*/ 2752003 h 2764803"/>
                    <a:gd name="connsiteX32" fmla="*/ 427665 w 733849"/>
                    <a:gd name="connsiteY32" fmla="*/ 2752003 h 2764803"/>
                    <a:gd name="connsiteX33" fmla="*/ 432368 w 733849"/>
                    <a:gd name="connsiteY33" fmla="*/ 2758403 h 2764803"/>
                    <a:gd name="connsiteX34" fmla="*/ 427665 w 733849"/>
                    <a:gd name="connsiteY34" fmla="*/ 2764804 h 2764803"/>
                    <a:gd name="connsiteX35" fmla="*/ 352295 w 733849"/>
                    <a:gd name="connsiteY35" fmla="*/ 2764804 h 2764803"/>
                    <a:gd name="connsiteX36" fmla="*/ 314544 w 733849"/>
                    <a:gd name="connsiteY36" fmla="*/ 2764804 h 2764803"/>
                    <a:gd name="connsiteX37" fmla="*/ 309842 w 733849"/>
                    <a:gd name="connsiteY37" fmla="*/ 2758403 h 2764803"/>
                    <a:gd name="connsiteX38" fmla="*/ 314544 w 733849"/>
                    <a:gd name="connsiteY38" fmla="*/ 2752003 h 2764803"/>
                    <a:gd name="connsiteX39" fmla="*/ 352295 w 733849"/>
                    <a:gd name="connsiteY39" fmla="*/ 2752003 h 2764803"/>
                    <a:gd name="connsiteX40" fmla="*/ 356997 w 733849"/>
                    <a:gd name="connsiteY40" fmla="*/ 2758403 h 2764803"/>
                    <a:gd name="connsiteX41" fmla="*/ 352295 w 733849"/>
                    <a:gd name="connsiteY41" fmla="*/ 2764804 h 2764803"/>
                    <a:gd name="connsiteX42" fmla="*/ 276924 w 733849"/>
                    <a:gd name="connsiteY42" fmla="*/ 2764804 h 2764803"/>
                    <a:gd name="connsiteX43" fmla="*/ 239174 w 733849"/>
                    <a:gd name="connsiteY43" fmla="*/ 2764804 h 2764803"/>
                    <a:gd name="connsiteX44" fmla="*/ 234471 w 733849"/>
                    <a:gd name="connsiteY44" fmla="*/ 2758403 h 2764803"/>
                    <a:gd name="connsiteX45" fmla="*/ 239174 w 733849"/>
                    <a:gd name="connsiteY45" fmla="*/ 2752003 h 2764803"/>
                    <a:gd name="connsiteX46" fmla="*/ 276924 w 733849"/>
                    <a:gd name="connsiteY46" fmla="*/ 2752003 h 2764803"/>
                    <a:gd name="connsiteX47" fmla="*/ 281627 w 733849"/>
                    <a:gd name="connsiteY47" fmla="*/ 2758403 h 2764803"/>
                    <a:gd name="connsiteX48" fmla="*/ 276924 w 733849"/>
                    <a:gd name="connsiteY48" fmla="*/ 2764804 h 2764803"/>
                    <a:gd name="connsiteX49" fmla="*/ 201554 w 733849"/>
                    <a:gd name="connsiteY49" fmla="*/ 2764804 h 2764803"/>
                    <a:gd name="connsiteX50" fmla="*/ 163803 w 733849"/>
                    <a:gd name="connsiteY50" fmla="*/ 2764804 h 2764803"/>
                    <a:gd name="connsiteX51" fmla="*/ 159101 w 733849"/>
                    <a:gd name="connsiteY51" fmla="*/ 2758403 h 2764803"/>
                    <a:gd name="connsiteX52" fmla="*/ 163803 w 733849"/>
                    <a:gd name="connsiteY52" fmla="*/ 2752003 h 2764803"/>
                    <a:gd name="connsiteX53" fmla="*/ 201554 w 733849"/>
                    <a:gd name="connsiteY53" fmla="*/ 2752003 h 2764803"/>
                    <a:gd name="connsiteX54" fmla="*/ 206256 w 733849"/>
                    <a:gd name="connsiteY54" fmla="*/ 2758403 h 2764803"/>
                    <a:gd name="connsiteX55" fmla="*/ 201554 w 733849"/>
                    <a:gd name="connsiteY55" fmla="*/ 2764804 h 2764803"/>
                    <a:gd name="connsiteX56" fmla="*/ 126184 w 733849"/>
                    <a:gd name="connsiteY56" fmla="*/ 2764804 h 2764803"/>
                    <a:gd name="connsiteX57" fmla="*/ 88433 w 733849"/>
                    <a:gd name="connsiteY57" fmla="*/ 2764804 h 2764803"/>
                    <a:gd name="connsiteX58" fmla="*/ 83730 w 733849"/>
                    <a:gd name="connsiteY58" fmla="*/ 2758403 h 2764803"/>
                    <a:gd name="connsiteX59" fmla="*/ 88433 w 733849"/>
                    <a:gd name="connsiteY59" fmla="*/ 2752003 h 2764803"/>
                    <a:gd name="connsiteX60" fmla="*/ 126184 w 733849"/>
                    <a:gd name="connsiteY60" fmla="*/ 2752003 h 2764803"/>
                    <a:gd name="connsiteX61" fmla="*/ 130886 w 733849"/>
                    <a:gd name="connsiteY61" fmla="*/ 2758403 h 2764803"/>
                    <a:gd name="connsiteX62" fmla="*/ 126184 w 733849"/>
                    <a:gd name="connsiteY62" fmla="*/ 2764804 h 2764803"/>
                    <a:gd name="connsiteX63" fmla="*/ 50813 w 733849"/>
                    <a:gd name="connsiteY63" fmla="*/ 2764804 h 2764803"/>
                    <a:gd name="connsiteX64" fmla="*/ 13062 w 733849"/>
                    <a:gd name="connsiteY64" fmla="*/ 2764804 h 2764803"/>
                    <a:gd name="connsiteX65" fmla="*/ 8360 w 733849"/>
                    <a:gd name="connsiteY65" fmla="*/ 2758403 h 2764803"/>
                    <a:gd name="connsiteX66" fmla="*/ 13062 w 733849"/>
                    <a:gd name="connsiteY66" fmla="*/ 2752003 h 2764803"/>
                    <a:gd name="connsiteX67" fmla="*/ 50813 w 733849"/>
                    <a:gd name="connsiteY67" fmla="*/ 2752003 h 2764803"/>
                    <a:gd name="connsiteX68" fmla="*/ 55516 w 733849"/>
                    <a:gd name="connsiteY68" fmla="*/ 2758403 h 2764803"/>
                    <a:gd name="connsiteX69" fmla="*/ 50813 w 733849"/>
                    <a:gd name="connsiteY69" fmla="*/ 2764804 h 2764803"/>
                    <a:gd name="connsiteX70" fmla="*/ 11495 w 733849"/>
                    <a:gd name="connsiteY70" fmla="*/ 2715167 h 2764803"/>
                    <a:gd name="connsiteX71" fmla="*/ 6792 w 733849"/>
                    <a:gd name="connsiteY71" fmla="*/ 2708766 h 2764803"/>
                    <a:gd name="connsiteX72" fmla="*/ 6792 w 733849"/>
                    <a:gd name="connsiteY72" fmla="*/ 2657169 h 2764803"/>
                    <a:gd name="connsiteX73" fmla="*/ 11364 w 733849"/>
                    <a:gd name="connsiteY73" fmla="*/ 2650638 h 2764803"/>
                    <a:gd name="connsiteX74" fmla="*/ 11364 w 733849"/>
                    <a:gd name="connsiteY74" fmla="*/ 2650638 h 2764803"/>
                    <a:gd name="connsiteX75" fmla="*/ 16067 w 733849"/>
                    <a:gd name="connsiteY75" fmla="*/ 2657039 h 2764803"/>
                    <a:gd name="connsiteX76" fmla="*/ 16067 w 733849"/>
                    <a:gd name="connsiteY76" fmla="*/ 2708635 h 2764803"/>
                    <a:gd name="connsiteX77" fmla="*/ 11495 w 733849"/>
                    <a:gd name="connsiteY77" fmla="*/ 2715167 h 2764803"/>
                    <a:gd name="connsiteX78" fmla="*/ 11495 w 733849"/>
                    <a:gd name="connsiteY78" fmla="*/ 2715167 h 2764803"/>
                    <a:gd name="connsiteX79" fmla="*/ 11234 w 733849"/>
                    <a:gd name="connsiteY79" fmla="*/ 2611842 h 2764803"/>
                    <a:gd name="connsiteX80" fmla="*/ 6531 w 733849"/>
                    <a:gd name="connsiteY80" fmla="*/ 2605442 h 2764803"/>
                    <a:gd name="connsiteX81" fmla="*/ 6531 w 733849"/>
                    <a:gd name="connsiteY81" fmla="*/ 2553845 h 2764803"/>
                    <a:gd name="connsiteX82" fmla="*/ 11103 w 733849"/>
                    <a:gd name="connsiteY82" fmla="*/ 2547314 h 2764803"/>
                    <a:gd name="connsiteX83" fmla="*/ 11103 w 733849"/>
                    <a:gd name="connsiteY83" fmla="*/ 2547314 h 2764803"/>
                    <a:gd name="connsiteX84" fmla="*/ 15806 w 733849"/>
                    <a:gd name="connsiteY84" fmla="*/ 2553714 h 2764803"/>
                    <a:gd name="connsiteX85" fmla="*/ 15806 w 733849"/>
                    <a:gd name="connsiteY85" fmla="*/ 2605311 h 2764803"/>
                    <a:gd name="connsiteX86" fmla="*/ 11234 w 733849"/>
                    <a:gd name="connsiteY86" fmla="*/ 2611842 h 2764803"/>
                    <a:gd name="connsiteX87" fmla="*/ 11234 w 733849"/>
                    <a:gd name="connsiteY87" fmla="*/ 2611842 h 2764803"/>
                    <a:gd name="connsiteX88" fmla="*/ 10972 w 733849"/>
                    <a:gd name="connsiteY88" fmla="*/ 2508518 h 2764803"/>
                    <a:gd name="connsiteX89" fmla="*/ 6270 w 733849"/>
                    <a:gd name="connsiteY89" fmla="*/ 2502118 h 2764803"/>
                    <a:gd name="connsiteX90" fmla="*/ 6270 w 733849"/>
                    <a:gd name="connsiteY90" fmla="*/ 2450521 h 2764803"/>
                    <a:gd name="connsiteX91" fmla="*/ 10842 w 733849"/>
                    <a:gd name="connsiteY91" fmla="*/ 2443990 h 2764803"/>
                    <a:gd name="connsiteX92" fmla="*/ 10842 w 733849"/>
                    <a:gd name="connsiteY92" fmla="*/ 2443990 h 2764803"/>
                    <a:gd name="connsiteX93" fmla="*/ 15544 w 733849"/>
                    <a:gd name="connsiteY93" fmla="*/ 2450390 h 2764803"/>
                    <a:gd name="connsiteX94" fmla="*/ 15544 w 733849"/>
                    <a:gd name="connsiteY94" fmla="*/ 2501987 h 2764803"/>
                    <a:gd name="connsiteX95" fmla="*/ 10972 w 733849"/>
                    <a:gd name="connsiteY95" fmla="*/ 2508518 h 2764803"/>
                    <a:gd name="connsiteX96" fmla="*/ 10972 w 733849"/>
                    <a:gd name="connsiteY96" fmla="*/ 2508518 h 2764803"/>
                    <a:gd name="connsiteX97" fmla="*/ 10711 w 733849"/>
                    <a:gd name="connsiteY97" fmla="*/ 2405194 h 2764803"/>
                    <a:gd name="connsiteX98" fmla="*/ 6009 w 733849"/>
                    <a:gd name="connsiteY98" fmla="*/ 2398794 h 2764803"/>
                    <a:gd name="connsiteX99" fmla="*/ 6009 w 733849"/>
                    <a:gd name="connsiteY99" fmla="*/ 2347197 h 2764803"/>
                    <a:gd name="connsiteX100" fmla="*/ 10581 w 733849"/>
                    <a:gd name="connsiteY100" fmla="*/ 2340665 h 2764803"/>
                    <a:gd name="connsiteX101" fmla="*/ 10581 w 733849"/>
                    <a:gd name="connsiteY101" fmla="*/ 2340665 h 2764803"/>
                    <a:gd name="connsiteX102" fmla="*/ 15283 w 733849"/>
                    <a:gd name="connsiteY102" fmla="*/ 2347066 h 2764803"/>
                    <a:gd name="connsiteX103" fmla="*/ 15283 w 733849"/>
                    <a:gd name="connsiteY103" fmla="*/ 2398663 h 2764803"/>
                    <a:gd name="connsiteX104" fmla="*/ 10711 w 733849"/>
                    <a:gd name="connsiteY104" fmla="*/ 2405194 h 2764803"/>
                    <a:gd name="connsiteX105" fmla="*/ 10711 w 733849"/>
                    <a:gd name="connsiteY105" fmla="*/ 2405194 h 2764803"/>
                    <a:gd name="connsiteX106" fmla="*/ 10450 w 733849"/>
                    <a:gd name="connsiteY106" fmla="*/ 2301870 h 2764803"/>
                    <a:gd name="connsiteX107" fmla="*/ 5747 w 733849"/>
                    <a:gd name="connsiteY107" fmla="*/ 2295469 h 2764803"/>
                    <a:gd name="connsiteX108" fmla="*/ 5747 w 733849"/>
                    <a:gd name="connsiteY108" fmla="*/ 2243872 h 2764803"/>
                    <a:gd name="connsiteX109" fmla="*/ 10319 w 733849"/>
                    <a:gd name="connsiteY109" fmla="*/ 2237341 h 2764803"/>
                    <a:gd name="connsiteX110" fmla="*/ 10319 w 733849"/>
                    <a:gd name="connsiteY110" fmla="*/ 2237341 h 2764803"/>
                    <a:gd name="connsiteX111" fmla="*/ 15022 w 733849"/>
                    <a:gd name="connsiteY111" fmla="*/ 2243742 h 2764803"/>
                    <a:gd name="connsiteX112" fmla="*/ 15022 w 733849"/>
                    <a:gd name="connsiteY112" fmla="*/ 2295339 h 2764803"/>
                    <a:gd name="connsiteX113" fmla="*/ 10450 w 733849"/>
                    <a:gd name="connsiteY113" fmla="*/ 2301870 h 2764803"/>
                    <a:gd name="connsiteX114" fmla="*/ 10450 w 733849"/>
                    <a:gd name="connsiteY114" fmla="*/ 2301870 h 2764803"/>
                    <a:gd name="connsiteX115" fmla="*/ 10189 w 733849"/>
                    <a:gd name="connsiteY115" fmla="*/ 2198546 h 2764803"/>
                    <a:gd name="connsiteX116" fmla="*/ 5486 w 733849"/>
                    <a:gd name="connsiteY116" fmla="*/ 2192145 h 2764803"/>
                    <a:gd name="connsiteX117" fmla="*/ 5486 w 733849"/>
                    <a:gd name="connsiteY117" fmla="*/ 2140548 h 2764803"/>
                    <a:gd name="connsiteX118" fmla="*/ 10058 w 733849"/>
                    <a:gd name="connsiteY118" fmla="*/ 2134017 h 2764803"/>
                    <a:gd name="connsiteX119" fmla="*/ 10058 w 733849"/>
                    <a:gd name="connsiteY119" fmla="*/ 2134017 h 2764803"/>
                    <a:gd name="connsiteX120" fmla="*/ 14761 w 733849"/>
                    <a:gd name="connsiteY120" fmla="*/ 2140418 h 2764803"/>
                    <a:gd name="connsiteX121" fmla="*/ 14761 w 733849"/>
                    <a:gd name="connsiteY121" fmla="*/ 2192014 h 2764803"/>
                    <a:gd name="connsiteX122" fmla="*/ 10189 w 733849"/>
                    <a:gd name="connsiteY122" fmla="*/ 2198546 h 2764803"/>
                    <a:gd name="connsiteX123" fmla="*/ 10189 w 733849"/>
                    <a:gd name="connsiteY123" fmla="*/ 2198546 h 2764803"/>
                    <a:gd name="connsiteX124" fmla="*/ 9927 w 733849"/>
                    <a:gd name="connsiteY124" fmla="*/ 2095222 h 2764803"/>
                    <a:gd name="connsiteX125" fmla="*/ 5225 w 733849"/>
                    <a:gd name="connsiteY125" fmla="*/ 2088821 h 2764803"/>
                    <a:gd name="connsiteX126" fmla="*/ 5225 w 733849"/>
                    <a:gd name="connsiteY126" fmla="*/ 2037224 h 2764803"/>
                    <a:gd name="connsiteX127" fmla="*/ 9797 w 733849"/>
                    <a:gd name="connsiteY127" fmla="*/ 2030693 h 2764803"/>
                    <a:gd name="connsiteX128" fmla="*/ 9797 w 733849"/>
                    <a:gd name="connsiteY128" fmla="*/ 2030693 h 2764803"/>
                    <a:gd name="connsiteX129" fmla="*/ 14499 w 733849"/>
                    <a:gd name="connsiteY129" fmla="*/ 2037093 h 2764803"/>
                    <a:gd name="connsiteX130" fmla="*/ 14499 w 733849"/>
                    <a:gd name="connsiteY130" fmla="*/ 2088690 h 2764803"/>
                    <a:gd name="connsiteX131" fmla="*/ 9927 w 733849"/>
                    <a:gd name="connsiteY131" fmla="*/ 2095222 h 2764803"/>
                    <a:gd name="connsiteX132" fmla="*/ 9927 w 733849"/>
                    <a:gd name="connsiteY132" fmla="*/ 2095222 h 2764803"/>
                    <a:gd name="connsiteX133" fmla="*/ 9666 w 733849"/>
                    <a:gd name="connsiteY133" fmla="*/ 1991897 h 2764803"/>
                    <a:gd name="connsiteX134" fmla="*/ 4964 w 733849"/>
                    <a:gd name="connsiteY134" fmla="*/ 1985497 h 2764803"/>
                    <a:gd name="connsiteX135" fmla="*/ 4964 w 733849"/>
                    <a:gd name="connsiteY135" fmla="*/ 1933900 h 2764803"/>
                    <a:gd name="connsiteX136" fmla="*/ 9536 w 733849"/>
                    <a:gd name="connsiteY136" fmla="*/ 1927369 h 2764803"/>
                    <a:gd name="connsiteX137" fmla="*/ 9536 w 733849"/>
                    <a:gd name="connsiteY137" fmla="*/ 1927369 h 2764803"/>
                    <a:gd name="connsiteX138" fmla="*/ 14238 w 733849"/>
                    <a:gd name="connsiteY138" fmla="*/ 1933769 h 2764803"/>
                    <a:gd name="connsiteX139" fmla="*/ 14238 w 733849"/>
                    <a:gd name="connsiteY139" fmla="*/ 1985366 h 2764803"/>
                    <a:gd name="connsiteX140" fmla="*/ 9666 w 733849"/>
                    <a:gd name="connsiteY140" fmla="*/ 1991897 h 2764803"/>
                    <a:gd name="connsiteX141" fmla="*/ 9666 w 733849"/>
                    <a:gd name="connsiteY141" fmla="*/ 1991897 h 2764803"/>
                    <a:gd name="connsiteX142" fmla="*/ 9405 w 733849"/>
                    <a:gd name="connsiteY142" fmla="*/ 1888573 h 2764803"/>
                    <a:gd name="connsiteX143" fmla="*/ 4702 w 733849"/>
                    <a:gd name="connsiteY143" fmla="*/ 1882172 h 2764803"/>
                    <a:gd name="connsiteX144" fmla="*/ 4702 w 733849"/>
                    <a:gd name="connsiteY144" fmla="*/ 1830576 h 2764803"/>
                    <a:gd name="connsiteX145" fmla="*/ 9274 w 733849"/>
                    <a:gd name="connsiteY145" fmla="*/ 1824044 h 2764803"/>
                    <a:gd name="connsiteX146" fmla="*/ 9274 w 733849"/>
                    <a:gd name="connsiteY146" fmla="*/ 1824044 h 2764803"/>
                    <a:gd name="connsiteX147" fmla="*/ 13977 w 733849"/>
                    <a:gd name="connsiteY147" fmla="*/ 1830445 h 2764803"/>
                    <a:gd name="connsiteX148" fmla="*/ 13977 w 733849"/>
                    <a:gd name="connsiteY148" fmla="*/ 1882042 h 2764803"/>
                    <a:gd name="connsiteX149" fmla="*/ 9405 w 733849"/>
                    <a:gd name="connsiteY149" fmla="*/ 1888573 h 2764803"/>
                    <a:gd name="connsiteX150" fmla="*/ 9405 w 733849"/>
                    <a:gd name="connsiteY150" fmla="*/ 1888573 h 2764803"/>
                    <a:gd name="connsiteX151" fmla="*/ 9144 w 733849"/>
                    <a:gd name="connsiteY151" fmla="*/ 1785249 h 2764803"/>
                    <a:gd name="connsiteX152" fmla="*/ 4441 w 733849"/>
                    <a:gd name="connsiteY152" fmla="*/ 1778848 h 2764803"/>
                    <a:gd name="connsiteX153" fmla="*/ 4441 w 733849"/>
                    <a:gd name="connsiteY153" fmla="*/ 1727251 h 2764803"/>
                    <a:gd name="connsiteX154" fmla="*/ 9013 w 733849"/>
                    <a:gd name="connsiteY154" fmla="*/ 1720720 h 2764803"/>
                    <a:gd name="connsiteX155" fmla="*/ 9013 w 733849"/>
                    <a:gd name="connsiteY155" fmla="*/ 1720720 h 2764803"/>
                    <a:gd name="connsiteX156" fmla="*/ 13716 w 733849"/>
                    <a:gd name="connsiteY156" fmla="*/ 1727121 h 2764803"/>
                    <a:gd name="connsiteX157" fmla="*/ 13716 w 733849"/>
                    <a:gd name="connsiteY157" fmla="*/ 1778718 h 2764803"/>
                    <a:gd name="connsiteX158" fmla="*/ 9144 w 733849"/>
                    <a:gd name="connsiteY158" fmla="*/ 1785249 h 2764803"/>
                    <a:gd name="connsiteX159" fmla="*/ 9144 w 733849"/>
                    <a:gd name="connsiteY159" fmla="*/ 1785249 h 2764803"/>
                    <a:gd name="connsiteX160" fmla="*/ 8882 w 733849"/>
                    <a:gd name="connsiteY160" fmla="*/ 1681925 h 2764803"/>
                    <a:gd name="connsiteX161" fmla="*/ 4180 w 733849"/>
                    <a:gd name="connsiteY161" fmla="*/ 1675524 h 2764803"/>
                    <a:gd name="connsiteX162" fmla="*/ 4180 w 733849"/>
                    <a:gd name="connsiteY162" fmla="*/ 1623927 h 2764803"/>
                    <a:gd name="connsiteX163" fmla="*/ 8752 w 733849"/>
                    <a:gd name="connsiteY163" fmla="*/ 1617396 h 2764803"/>
                    <a:gd name="connsiteX164" fmla="*/ 8752 w 733849"/>
                    <a:gd name="connsiteY164" fmla="*/ 1617396 h 2764803"/>
                    <a:gd name="connsiteX165" fmla="*/ 13454 w 733849"/>
                    <a:gd name="connsiteY165" fmla="*/ 1623797 h 2764803"/>
                    <a:gd name="connsiteX166" fmla="*/ 13454 w 733849"/>
                    <a:gd name="connsiteY166" fmla="*/ 1675393 h 2764803"/>
                    <a:gd name="connsiteX167" fmla="*/ 8882 w 733849"/>
                    <a:gd name="connsiteY167" fmla="*/ 1681925 h 2764803"/>
                    <a:gd name="connsiteX168" fmla="*/ 8882 w 733849"/>
                    <a:gd name="connsiteY168" fmla="*/ 1681925 h 2764803"/>
                    <a:gd name="connsiteX169" fmla="*/ 8621 w 733849"/>
                    <a:gd name="connsiteY169" fmla="*/ 1578600 h 2764803"/>
                    <a:gd name="connsiteX170" fmla="*/ 3919 w 733849"/>
                    <a:gd name="connsiteY170" fmla="*/ 1572200 h 2764803"/>
                    <a:gd name="connsiteX171" fmla="*/ 3919 w 733849"/>
                    <a:gd name="connsiteY171" fmla="*/ 1520603 h 2764803"/>
                    <a:gd name="connsiteX172" fmla="*/ 8491 w 733849"/>
                    <a:gd name="connsiteY172" fmla="*/ 1514072 h 2764803"/>
                    <a:gd name="connsiteX173" fmla="*/ 8491 w 733849"/>
                    <a:gd name="connsiteY173" fmla="*/ 1514072 h 2764803"/>
                    <a:gd name="connsiteX174" fmla="*/ 13193 w 733849"/>
                    <a:gd name="connsiteY174" fmla="*/ 1520472 h 2764803"/>
                    <a:gd name="connsiteX175" fmla="*/ 13193 w 733849"/>
                    <a:gd name="connsiteY175" fmla="*/ 1572069 h 2764803"/>
                    <a:gd name="connsiteX176" fmla="*/ 8621 w 733849"/>
                    <a:gd name="connsiteY176" fmla="*/ 1578600 h 2764803"/>
                    <a:gd name="connsiteX177" fmla="*/ 8621 w 733849"/>
                    <a:gd name="connsiteY177" fmla="*/ 1578600 h 2764803"/>
                    <a:gd name="connsiteX178" fmla="*/ 8360 w 733849"/>
                    <a:gd name="connsiteY178" fmla="*/ 1475276 h 2764803"/>
                    <a:gd name="connsiteX179" fmla="*/ 3658 w 733849"/>
                    <a:gd name="connsiteY179" fmla="*/ 1468876 h 2764803"/>
                    <a:gd name="connsiteX180" fmla="*/ 3658 w 733849"/>
                    <a:gd name="connsiteY180" fmla="*/ 1417279 h 2764803"/>
                    <a:gd name="connsiteX181" fmla="*/ 8229 w 733849"/>
                    <a:gd name="connsiteY181" fmla="*/ 1410748 h 2764803"/>
                    <a:gd name="connsiteX182" fmla="*/ 8229 w 733849"/>
                    <a:gd name="connsiteY182" fmla="*/ 1410748 h 2764803"/>
                    <a:gd name="connsiteX183" fmla="*/ 12932 w 733849"/>
                    <a:gd name="connsiteY183" fmla="*/ 1417148 h 2764803"/>
                    <a:gd name="connsiteX184" fmla="*/ 12932 w 733849"/>
                    <a:gd name="connsiteY184" fmla="*/ 1468745 h 2764803"/>
                    <a:gd name="connsiteX185" fmla="*/ 8360 w 733849"/>
                    <a:gd name="connsiteY185" fmla="*/ 1475276 h 2764803"/>
                    <a:gd name="connsiteX186" fmla="*/ 8360 w 733849"/>
                    <a:gd name="connsiteY186" fmla="*/ 1475276 h 2764803"/>
                    <a:gd name="connsiteX187" fmla="*/ 8099 w 733849"/>
                    <a:gd name="connsiteY187" fmla="*/ 1371952 h 2764803"/>
                    <a:gd name="connsiteX188" fmla="*/ 3396 w 733849"/>
                    <a:gd name="connsiteY188" fmla="*/ 1365551 h 2764803"/>
                    <a:gd name="connsiteX189" fmla="*/ 3396 w 733849"/>
                    <a:gd name="connsiteY189" fmla="*/ 1313955 h 2764803"/>
                    <a:gd name="connsiteX190" fmla="*/ 7968 w 733849"/>
                    <a:gd name="connsiteY190" fmla="*/ 1307423 h 2764803"/>
                    <a:gd name="connsiteX191" fmla="*/ 7968 w 733849"/>
                    <a:gd name="connsiteY191" fmla="*/ 1307423 h 2764803"/>
                    <a:gd name="connsiteX192" fmla="*/ 12671 w 733849"/>
                    <a:gd name="connsiteY192" fmla="*/ 1313824 h 2764803"/>
                    <a:gd name="connsiteX193" fmla="*/ 12671 w 733849"/>
                    <a:gd name="connsiteY193" fmla="*/ 1365421 h 2764803"/>
                    <a:gd name="connsiteX194" fmla="*/ 8099 w 733849"/>
                    <a:gd name="connsiteY194" fmla="*/ 1371952 h 2764803"/>
                    <a:gd name="connsiteX195" fmla="*/ 8099 w 733849"/>
                    <a:gd name="connsiteY195" fmla="*/ 1371952 h 2764803"/>
                    <a:gd name="connsiteX196" fmla="*/ 7837 w 733849"/>
                    <a:gd name="connsiteY196" fmla="*/ 1268628 h 2764803"/>
                    <a:gd name="connsiteX197" fmla="*/ 3135 w 733849"/>
                    <a:gd name="connsiteY197" fmla="*/ 1262227 h 2764803"/>
                    <a:gd name="connsiteX198" fmla="*/ 3135 w 733849"/>
                    <a:gd name="connsiteY198" fmla="*/ 1210630 h 2764803"/>
                    <a:gd name="connsiteX199" fmla="*/ 7707 w 733849"/>
                    <a:gd name="connsiteY199" fmla="*/ 1204099 h 2764803"/>
                    <a:gd name="connsiteX200" fmla="*/ 7707 w 733849"/>
                    <a:gd name="connsiteY200" fmla="*/ 1204099 h 2764803"/>
                    <a:gd name="connsiteX201" fmla="*/ 12409 w 733849"/>
                    <a:gd name="connsiteY201" fmla="*/ 1210500 h 2764803"/>
                    <a:gd name="connsiteX202" fmla="*/ 12409 w 733849"/>
                    <a:gd name="connsiteY202" fmla="*/ 1262097 h 2764803"/>
                    <a:gd name="connsiteX203" fmla="*/ 7837 w 733849"/>
                    <a:gd name="connsiteY203" fmla="*/ 1268628 h 2764803"/>
                    <a:gd name="connsiteX204" fmla="*/ 7837 w 733849"/>
                    <a:gd name="connsiteY204" fmla="*/ 1268628 h 2764803"/>
                    <a:gd name="connsiteX205" fmla="*/ 7576 w 733849"/>
                    <a:gd name="connsiteY205" fmla="*/ 1165304 h 2764803"/>
                    <a:gd name="connsiteX206" fmla="*/ 2874 w 733849"/>
                    <a:gd name="connsiteY206" fmla="*/ 1158903 h 2764803"/>
                    <a:gd name="connsiteX207" fmla="*/ 2874 w 733849"/>
                    <a:gd name="connsiteY207" fmla="*/ 1107306 h 2764803"/>
                    <a:gd name="connsiteX208" fmla="*/ 7446 w 733849"/>
                    <a:gd name="connsiteY208" fmla="*/ 1100775 h 2764803"/>
                    <a:gd name="connsiteX209" fmla="*/ 7446 w 733849"/>
                    <a:gd name="connsiteY209" fmla="*/ 1100775 h 2764803"/>
                    <a:gd name="connsiteX210" fmla="*/ 12148 w 733849"/>
                    <a:gd name="connsiteY210" fmla="*/ 1107176 h 2764803"/>
                    <a:gd name="connsiteX211" fmla="*/ 12148 w 733849"/>
                    <a:gd name="connsiteY211" fmla="*/ 1158772 h 2764803"/>
                    <a:gd name="connsiteX212" fmla="*/ 7576 w 733849"/>
                    <a:gd name="connsiteY212" fmla="*/ 1165304 h 2764803"/>
                    <a:gd name="connsiteX213" fmla="*/ 7576 w 733849"/>
                    <a:gd name="connsiteY213" fmla="*/ 1165304 h 2764803"/>
                    <a:gd name="connsiteX214" fmla="*/ 7315 w 733849"/>
                    <a:gd name="connsiteY214" fmla="*/ 1061979 h 2764803"/>
                    <a:gd name="connsiteX215" fmla="*/ 2613 w 733849"/>
                    <a:gd name="connsiteY215" fmla="*/ 1055579 h 2764803"/>
                    <a:gd name="connsiteX216" fmla="*/ 2613 w 733849"/>
                    <a:gd name="connsiteY216" fmla="*/ 1003982 h 2764803"/>
                    <a:gd name="connsiteX217" fmla="*/ 7184 w 733849"/>
                    <a:gd name="connsiteY217" fmla="*/ 997451 h 2764803"/>
                    <a:gd name="connsiteX218" fmla="*/ 11887 w 733849"/>
                    <a:gd name="connsiteY218" fmla="*/ 1003851 h 2764803"/>
                    <a:gd name="connsiteX219" fmla="*/ 11887 w 733849"/>
                    <a:gd name="connsiteY219" fmla="*/ 1055448 h 2764803"/>
                    <a:gd name="connsiteX220" fmla="*/ 7315 w 733849"/>
                    <a:gd name="connsiteY220" fmla="*/ 1061979 h 2764803"/>
                    <a:gd name="connsiteX221" fmla="*/ 7315 w 733849"/>
                    <a:gd name="connsiteY221" fmla="*/ 1061979 h 2764803"/>
                    <a:gd name="connsiteX222" fmla="*/ 7054 w 733849"/>
                    <a:gd name="connsiteY222" fmla="*/ 958655 h 2764803"/>
                    <a:gd name="connsiteX223" fmla="*/ 2351 w 733849"/>
                    <a:gd name="connsiteY223" fmla="*/ 952255 h 2764803"/>
                    <a:gd name="connsiteX224" fmla="*/ 2351 w 733849"/>
                    <a:gd name="connsiteY224" fmla="*/ 900658 h 2764803"/>
                    <a:gd name="connsiteX225" fmla="*/ 6923 w 733849"/>
                    <a:gd name="connsiteY225" fmla="*/ 894127 h 2764803"/>
                    <a:gd name="connsiteX226" fmla="*/ 6923 w 733849"/>
                    <a:gd name="connsiteY226" fmla="*/ 894127 h 2764803"/>
                    <a:gd name="connsiteX227" fmla="*/ 11626 w 733849"/>
                    <a:gd name="connsiteY227" fmla="*/ 900527 h 2764803"/>
                    <a:gd name="connsiteX228" fmla="*/ 11626 w 733849"/>
                    <a:gd name="connsiteY228" fmla="*/ 952124 h 2764803"/>
                    <a:gd name="connsiteX229" fmla="*/ 7054 w 733849"/>
                    <a:gd name="connsiteY229" fmla="*/ 958655 h 2764803"/>
                    <a:gd name="connsiteX230" fmla="*/ 7054 w 733849"/>
                    <a:gd name="connsiteY230" fmla="*/ 958655 h 2764803"/>
                    <a:gd name="connsiteX231" fmla="*/ 6792 w 733849"/>
                    <a:gd name="connsiteY231" fmla="*/ 855331 h 2764803"/>
                    <a:gd name="connsiteX232" fmla="*/ 2090 w 733849"/>
                    <a:gd name="connsiteY232" fmla="*/ 848930 h 2764803"/>
                    <a:gd name="connsiteX233" fmla="*/ 2090 w 733849"/>
                    <a:gd name="connsiteY233" fmla="*/ 797334 h 2764803"/>
                    <a:gd name="connsiteX234" fmla="*/ 6662 w 733849"/>
                    <a:gd name="connsiteY234" fmla="*/ 790802 h 2764803"/>
                    <a:gd name="connsiteX235" fmla="*/ 6662 w 733849"/>
                    <a:gd name="connsiteY235" fmla="*/ 790802 h 2764803"/>
                    <a:gd name="connsiteX236" fmla="*/ 11364 w 733849"/>
                    <a:gd name="connsiteY236" fmla="*/ 797203 h 2764803"/>
                    <a:gd name="connsiteX237" fmla="*/ 11364 w 733849"/>
                    <a:gd name="connsiteY237" fmla="*/ 848800 h 2764803"/>
                    <a:gd name="connsiteX238" fmla="*/ 6792 w 733849"/>
                    <a:gd name="connsiteY238" fmla="*/ 855331 h 2764803"/>
                    <a:gd name="connsiteX239" fmla="*/ 6792 w 733849"/>
                    <a:gd name="connsiteY239" fmla="*/ 855331 h 2764803"/>
                    <a:gd name="connsiteX240" fmla="*/ 6531 w 733849"/>
                    <a:gd name="connsiteY240" fmla="*/ 752007 h 2764803"/>
                    <a:gd name="connsiteX241" fmla="*/ 1829 w 733849"/>
                    <a:gd name="connsiteY241" fmla="*/ 745606 h 2764803"/>
                    <a:gd name="connsiteX242" fmla="*/ 1829 w 733849"/>
                    <a:gd name="connsiteY242" fmla="*/ 694009 h 2764803"/>
                    <a:gd name="connsiteX243" fmla="*/ 6401 w 733849"/>
                    <a:gd name="connsiteY243" fmla="*/ 687478 h 2764803"/>
                    <a:gd name="connsiteX244" fmla="*/ 6401 w 733849"/>
                    <a:gd name="connsiteY244" fmla="*/ 687478 h 2764803"/>
                    <a:gd name="connsiteX245" fmla="*/ 11103 w 733849"/>
                    <a:gd name="connsiteY245" fmla="*/ 693879 h 2764803"/>
                    <a:gd name="connsiteX246" fmla="*/ 11103 w 733849"/>
                    <a:gd name="connsiteY246" fmla="*/ 745476 h 2764803"/>
                    <a:gd name="connsiteX247" fmla="*/ 6531 w 733849"/>
                    <a:gd name="connsiteY247" fmla="*/ 752007 h 2764803"/>
                    <a:gd name="connsiteX248" fmla="*/ 6531 w 733849"/>
                    <a:gd name="connsiteY248" fmla="*/ 752007 h 2764803"/>
                    <a:gd name="connsiteX249" fmla="*/ 6270 w 733849"/>
                    <a:gd name="connsiteY249" fmla="*/ 648683 h 2764803"/>
                    <a:gd name="connsiteX250" fmla="*/ 1568 w 733849"/>
                    <a:gd name="connsiteY250" fmla="*/ 642282 h 2764803"/>
                    <a:gd name="connsiteX251" fmla="*/ 1568 w 733849"/>
                    <a:gd name="connsiteY251" fmla="*/ 590685 h 2764803"/>
                    <a:gd name="connsiteX252" fmla="*/ 6139 w 733849"/>
                    <a:gd name="connsiteY252" fmla="*/ 584154 h 2764803"/>
                    <a:gd name="connsiteX253" fmla="*/ 10842 w 733849"/>
                    <a:gd name="connsiteY253" fmla="*/ 590555 h 2764803"/>
                    <a:gd name="connsiteX254" fmla="*/ 10842 w 733849"/>
                    <a:gd name="connsiteY254" fmla="*/ 642151 h 2764803"/>
                    <a:gd name="connsiteX255" fmla="*/ 6270 w 733849"/>
                    <a:gd name="connsiteY255" fmla="*/ 648683 h 2764803"/>
                    <a:gd name="connsiteX256" fmla="*/ 6270 w 733849"/>
                    <a:gd name="connsiteY256" fmla="*/ 648683 h 2764803"/>
                    <a:gd name="connsiteX257" fmla="*/ 6009 w 733849"/>
                    <a:gd name="connsiteY257" fmla="*/ 545359 h 2764803"/>
                    <a:gd name="connsiteX258" fmla="*/ 1306 w 733849"/>
                    <a:gd name="connsiteY258" fmla="*/ 538958 h 2764803"/>
                    <a:gd name="connsiteX259" fmla="*/ 1306 w 733849"/>
                    <a:gd name="connsiteY259" fmla="*/ 487361 h 2764803"/>
                    <a:gd name="connsiteX260" fmla="*/ 5878 w 733849"/>
                    <a:gd name="connsiteY260" fmla="*/ 480830 h 2764803"/>
                    <a:gd name="connsiteX261" fmla="*/ 5878 w 733849"/>
                    <a:gd name="connsiteY261" fmla="*/ 480830 h 2764803"/>
                    <a:gd name="connsiteX262" fmla="*/ 10581 w 733849"/>
                    <a:gd name="connsiteY262" fmla="*/ 487230 h 2764803"/>
                    <a:gd name="connsiteX263" fmla="*/ 10581 w 733849"/>
                    <a:gd name="connsiteY263" fmla="*/ 538827 h 2764803"/>
                    <a:gd name="connsiteX264" fmla="*/ 6009 w 733849"/>
                    <a:gd name="connsiteY264" fmla="*/ 545359 h 2764803"/>
                    <a:gd name="connsiteX265" fmla="*/ 6009 w 733849"/>
                    <a:gd name="connsiteY265" fmla="*/ 545359 h 2764803"/>
                    <a:gd name="connsiteX266" fmla="*/ 5747 w 733849"/>
                    <a:gd name="connsiteY266" fmla="*/ 442034 h 2764803"/>
                    <a:gd name="connsiteX267" fmla="*/ 1045 w 733849"/>
                    <a:gd name="connsiteY267" fmla="*/ 435634 h 2764803"/>
                    <a:gd name="connsiteX268" fmla="*/ 1045 w 733849"/>
                    <a:gd name="connsiteY268" fmla="*/ 384037 h 2764803"/>
                    <a:gd name="connsiteX269" fmla="*/ 5617 w 733849"/>
                    <a:gd name="connsiteY269" fmla="*/ 377506 h 2764803"/>
                    <a:gd name="connsiteX270" fmla="*/ 5617 w 733849"/>
                    <a:gd name="connsiteY270" fmla="*/ 377506 h 2764803"/>
                    <a:gd name="connsiteX271" fmla="*/ 10319 w 733849"/>
                    <a:gd name="connsiteY271" fmla="*/ 383906 h 2764803"/>
                    <a:gd name="connsiteX272" fmla="*/ 10319 w 733849"/>
                    <a:gd name="connsiteY272" fmla="*/ 435503 h 2764803"/>
                    <a:gd name="connsiteX273" fmla="*/ 5747 w 733849"/>
                    <a:gd name="connsiteY273" fmla="*/ 442034 h 2764803"/>
                    <a:gd name="connsiteX274" fmla="*/ 5747 w 733849"/>
                    <a:gd name="connsiteY274" fmla="*/ 442034 h 2764803"/>
                    <a:gd name="connsiteX275" fmla="*/ 5486 w 733849"/>
                    <a:gd name="connsiteY275" fmla="*/ 338710 h 2764803"/>
                    <a:gd name="connsiteX276" fmla="*/ 784 w 733849"/>
                    <a:gd name="connsiteY276" fmla="*/ 332309 h 2764803"/>
                    <a:gd name="connsiteX277" fmla="*/ 784 w 733849"/>
                    <a:gd name="connsiteY277" fmla="*/ 280713 h 2764803"/>
                    <a:gd name="connsiteX278" fmla="*/ 5356 w 733849"/>
                    <a:gd name="connsiteY278" fmla="*/ 274181 h 2764803"/>
                    <a:gd name="connsiteX279" fmla="*/ 5356 w 733849"/>
                    <a:gd name="connsiteY279" fmla="*/ 274181 h 2764803"/>
                    <a:gd name="connsiteX280" fmla="*/ 10058 w 733849"/>
                    <a:gd name="connsiteY280" fmla="*/ 280582 h 2764803"/>
                    <a:gd name="connsiteX281" fmla="*/ 10058 w 733849"/>
                    <a:gd name="connsiteY281" fmla="*/ 332179 h 2764803"/>
                    <a:gd name="connsiteX282" fmla="*/ 5486 w 733849"/>
                    <a:gd name="connsiteY282" fmla="*/ 338710 h 2764803"/>
                    <a:gd name="connsiteX283" fmla="*/ 5486 w 733849"/>
                    <a:gd name="connsiteY283" fmla="*/ 338710 h 2764803"/>
                    <a:gd name="connsiteX284" fmla="*/ 5225 w 733849"/>
                    <a:gd name="connsiteY284" fmla="*/ 235386 h 2764803"/>
                    <a:gd name="connsiteX285" fmla="*/ 523 w 733849"/>
                    <a:gd name="connsiteY285" fmla="*/ 228985 h 2764803"/>
                    <a:gd name="connsiteX286" fmla="*/ 523 w 733849"/>
                    <a:gd name="connsiteY286" fmla="*/ 177388 h 2764803"/>
                    <a:gd name="connsiteX287" fmla="*/ 5094 w 733849"/>
                    <a:gd name="connsiteY287" fmla="*/ 170857 h 2764803"/>
                    <a:gd name="connsiteX288" fmla="*/ 5094 w 733849"/>
                    <a:gd name="connsiteY288" fmla="*/ 170857 h 2764803"/>
                    <a:gd name="connsiteX289" fmla="*/ 9797 w 733849"/>
                    <a:gd name="connsiteY289" fmla="*/ 177258 h 2764803"/>
                    <a:gd name="connsiteX290" fmla="*/ 9797 w 733849"/>
                    <a:gd name="connsiteY290" fmla="*/ 228855 h 2764803"/>
                    <a:gd name="connsiteX291" fmla="*/ 5225 w 733849"/>
                    <a:gd name="connsiteY291" fmla="*/ 235386 h 2764803"/>
                    <a:gd name="connsiteX292" fmla="*/ 5225 w 733849"/>
                    <a:gd name="connsiteY292" fmla="*/ 235386 h 2764803"/>
                    <a:gd name="connsiteX293" fmla="*/ 4964 w 733849"/>
                    <a:gd name="connsiteY293" fmla="*/ 132062 h 2764803"/>
                    <a:gd name="connsiteX294" fmla="*/ 261 w 733849"/>
                    <a:gd name="connsiteY294" fmla="*/ 125661 h 2764803"/>
                    <a:gd name="connsiteX295" fmla="*/ 261 w 733849"/>
                    <a:gd name="connsiteY295" fmla="*/ 74064 h 2764803"/>
                    <a:gd name="connsiteX296" fmla="*/ 4833 w 733849"/>
                    <a:gd name="connsiteY296" fmla="*/ 67533 h 2764803"/>
                    <a:gd name="connsiteX297" fmla="*/ 4833 w 733849"/>
                    <a:gd name="connsiteY297" fmla="*/ 67533 h 2764803"/>
                    <a:gd name="connsiteX298" fmla="*/ 9536 w 733849"/>
                    <a:gd name="connsiteY298" fmla="*/ 73934 h 2764803"/>
                    <a:gd name="connsiteX299" fmla="*/ 9536 w 733849"/>
                    <a:gd name="connsiteY299" fmla="*/ 125530 h 2764803"/>
                    <a:gd name="connsiteX300" fmla="*/ 4964 w 733849"/>
                    <a:gd name="connsiteY300" fmla="*/ 132062 h 2764803"/>
                    <a:gd name="connsiteX301" fmla="*/ 4964 w 733849"/>
                    <a:gd name="connsiteY301" fmla="*/ 132062 h 2764803"/>
                    <a:gd name="connsiteX302" fmla="*/ 4702 w 733849"/>
                    <a:gd name="connsiteY302" fmla="*/ 28738 h 2764803"/>
                    <a:gd name="connsiteX303" fmla="*/ 0 w 733849"/>
                    <a:gd name="connsiteY303" fmla="*/ 22337 h 2764803"/>
                    <a:gd name="connsiteX304" fmla="*/ 0 w 733849"/>
                    <a:gd name="connsiteY304" fmla="*/ 6531 h 2764803"/>
                    <a:gd name="connsiteX305" fmla="*/ 4702 w 733849"/>
                    <a:gd name="connsiteY305" fmla="*/ 0 h 2764803"/>
                    <a:gd name="connsiteX306" fmla="*/ 4702 w 733849"/>
                    <a:gd name="connsiteY306" fmla="*/ 0 h 2764803"/>
                    <a:gd name="connsiteX307" fmla="*/ 9405 w 733849"/>
                    <a:gd name="connsiteY307" fmla="*/ 6401 h 2764803"/>
                    <a:gd name="connsiteX308" fmla="*/ 9405 w 733849"/>
                    <a:gd name="connsiteY308" fmla="*/ 22206 h 2764803"/>
                    <a:gd name="connsiteX309" fmla="*/ 4702 w 733849"/>
                    <a:gd name="connsiteY309" fmla="*/ 28738 h 2764803"/>
                    <a:gd name="connsiteX310" fmla="*/ 4702 w 733849"/>
                    <a:gd name="connsiteY310" fmla="*/ 28738 h 276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Lst>
                  <a:rect l="l" t="t" r="r" b="b"/>
                  <a:pathLst>
                    <a:path w="733849" h="2764803">
                      <a:moveTo>
                        <a:pt x="729147" y="2764804"/>
                      </a:moveTo>
                      <a:lnTo>
                        <a:pt x="691397" y="2764804"/>
                      </a:lnTo>
                      <a:cubicBezTo>
                        <a:pt x="688784" y="2764804"/>
                        <a:pt x="686694" y="2761930"/>
                        <a:pt x="686694" y="2758403"/>
                      </a:cubicBezTo>
                      <a:cubicBezTo>
                        <a:pt x="686694" y="2754877"/>
                        <a:pt x="688784" y="2752003"/>
                        <a:pt x="691397" y="2752003"/>
                      </a:cubicBezTo>
                      <a:lnTo>
                        <a:pt x="729147" y="2752003"/>
                      </a:lnTo>
                      <a:cubicBezTo>
                        <a:pt x="731760" y="2752003"/>
                        <a:pt x="733850" y="2754877"/>
                        <a:pt x="733850" y="2758403"/>
                      </a:cubicBezTo>
                      <a:cubicBezTo>
                        <a:pt x="733850" y="2761930"/>
                        <a:pt x="731760" y="2764804"/>
                        <a:pt x="729147" y="2764804"/>
                      </a:cubicBezTo>
                      <a:close/>
                      <a:moveTo>
                        <a:pt x="653777" y="2764804"/>
                      </a:moveTo>
                      <a:lnTo>
                        <a:pt x="616026" y="2764804"/>
                      </a:lnTo>
                      <a:cubicBezTo>
                        <a:pt x="613414" y="2764804"/>
                        <a:pt x="611324" y="2761930"/>
                        <a:pt x="611324" y="2758403"/>
                      </a:cubicBezTo>
                      <a:cubicBezTo>
                        <a:pt x="611324" y="2754877"/>
                        <a:pt x="613414" y="2752003"/>
                        <a:pt x="616026" y="2752003"/>
                      </a:cubicBezTo>
                      <a:lnTo>
                        <a:pt x="653777" y="2752003"/>
                      </a:lnTo>
                      <a:cubicBezTo>
                        <a:pt x="656389" y="2752003"/>
                        <a:pt x="658479" y="2754877"/>
                        <a:pt x="658479" y="2758403"/>
                      </a:cubicBezTo>
                      <a:cubicBezTo>
                        <a:pt x="658479" y="2761930"/>
                        <a:pt x="656389" y="2764804"/>
                        <a:pt x="653777" y="2764804"/>
                      </a:cubicBezTo>
                      <a:close/>
                      <a:moveTo>
                        <a:pt x="578406" y="2764804"/>
                      </a:moveTo>
                      <a:lnTo>
                        <a:pt x="540656" y="2764804"/>
                      </a:lnTo>
                      <a:cubicBezTo>
                        <a:pt x="538043" y="2764804"/>
                        <a:pt x="535953" y="2761930"/>
                        <a:pt x="535953" y="2758403"/>
                      </a:cubicBezTo>
                      <a:cubicBezTo>
                        <a:pt x="535953" y="2754877"/>
                        <a:pt x="538043" y="2752003"/>
                        <a:pt x="540656" y="2752003"/>
                      </a:cubicBezTo>
                      <a:lnTo>
                        <a:pt x="578406" y="2752003"/>
                      </a:lnTo>
                      <a:cubicBezTo>
                        <a:pt x="581019" y="2752003"/>
                        <a:pt x="583109" y="2754877"/>
                        <a:pt x="583109" y="2758403"/>
                      </a:cubicBezTo>
                      <a:cubicBezTo>
                        <a:pt x="583109" y="2761930"/>
                        <a:pt x="581019" y="2764804"/>
                        <a:pt x="578406" y="2764804"/>
                      </a:cubicBezTo>
                      <a:close/>
                      <a:moveTo>
                        <a:pt x="503036" y="2764804"/>
                      </a:moveTo>
                      <a:lnTo>
                        <a:pt x="465285" y="2764804"/>
                      </a:lnTo>
                      <a:cubicBezTo>
                        <a:pt x="462673" y="2764804"/>
                        <a:pt x="460583" y="2761930"/>
                        <a:pt x="460583" y="2758403"/>
                      </a:cubicBezTo>
                      <a:cubicBezTo>
                        <a:pt x="460583" y="2754877"/>
                        <a:pt x="462673" y="2752003"/>
                        <a:pt x="465285" y="2752003"/>
                      </a:cubicBezTo>
                      <a:lnTo>
                        <a:pt x="503036" y="2752003"/>
                      </a:lnTo>
                      <a:cubicBezTo>
                        <a:pt x="505648" y="2752003"/>
                        <a:pt x="507738" y="2754877"/>
                        <a:pt x="507738" y="2758403"/>
                      </a:cubicBezTo>
                      <a:cubicBezTo>
                        <a:pt x="507738" y="2761930"/>
                        <a:pt x="505648" y="2764804"/>
                        <a:pt x="503036" y="2764804"/>
                      </a:cubicBezTo>
                      <a:close/>
                      <a:moveTo>
                        <a:pt x="427665" y="2764804"/>
                      </a:moveTo>
                      <a:lnTo>
                        <a:pt x="389915" y="2764804"/>
                      </a:lnTo>
                      <a:cubicBezTo>
                        <a:pt x="387302" y="2764804"/>
                        <a:pt x="385212" y="2761930"/>
                        <a:pt x="385212" y="2758403"/>
                      </a:cubicBezTo>
                      <a:cubicBezTo>
                        <a:pt x="385212" y="2754877"/>
                        <a:pt x="387302" y="2752003"/>
                        <a:pt x="389915" y="2752003"/>
                      </a:cubicBezTo>
                      <a:lnTo>
                        <a:pt x="427665" y="2752003"/>
                      </a:lnTo>
                      <a:cubicBezTo>
                        <a:pt x="430278" y="2752003"/>
                        <a:pt x="432368" y="2754877"/>
                        <a:pt x="432368" y="2758403"/>
                      </a:cubicBezTo>
                      <a:cubicBezTo>
                        <a:pt x="432368" y="2761930"/>
                        <a:pt x="430278" y="2764804"/>
                        <a:pt x="427665" y="2764804"/>
                      </a:cubicBezTo>
                      <a:close/>
                      <a:moveTo>
                        <a:pt x="352295" y="2764804"/>
                      </a:moveTo>
                      <a:lnTo>
                        <a:pt x="314544" y="2764804"/>
                      </a:lnTo>
                      <a:cubicBezTo>
                        <a:pt x="311932" y="2764804"/>
                        <a:pt x="309842" y="2761930"/>
                        <a:pt x="309842" y="2758403"/>
                      </a:cubicBezTo>
                      <a:cubicBezTo>
                        <a:pt x="309842" y="2754877"/>
                        <a:pt x="311932" y="2752003"/>
                        <a:pt x="314544" y="2752003"/>
                      </a:cubicBezTo>
                      <a:lnTo>
                        <a:pt x="352295" y="2752003"/>
                      </a:lnTo>
                      <a:cubicBezTo>
                        <a:pt x="354907" y="2752003"/>
                        <a:pt x="356997" y="2754877"/>
                        <a:pt x="356997" y="2758403"/>
                      </a:cubicBezTo>
                      <a:cubicBezTo>
                        <a:pt x="356997" y="2761930"/>
                        <a:pt x="354907" y="2764804"/>
                        <a:pt x="352295" y="2764804"/>
                      </a:cubicBezTo>
                      <a:close/>
                      <a:moveTo>
                        <a:pt x="276924" y="2764804"/>
                      </a:moveTo>
                      <a:lnTo>
                        <a:pt x="239174" y="2764804"/>
                      </a:lnTo>
                      <a:cubicBezTo>
                        <a:pt x="236561" y="2764804"/>
                        <a:pt x="234471" y="2761930"/>
                        <a:pt x="234471" y="2758403"/>
                      </a:cubicBezTo>
                      <a:cubicBezTo>
                        <a:pt x="234471" y="2754877"/>
                        <a:pt x="236561" y="2752003"/>
                        <a:pt x="239174" y="2752003"/>
                      </a:cubicBezTo>
                      <a:lnTo>
                        <a:pt x="276924" y="2752003"/>
                      </a:lnTo>
                      <a:cubicBezTo>
                        <a:pt x="279537" y="2752003"/>
                        <a:pt x="281627" y="2754877"/>
                        <a:pt x="281627" y="2758403"/>
                      </a:cubicBezTo>
                      <a:cubicBezTo>
                        <a:pt x="281627" y="2761930"/>
                        <a:pt x="279537" y="2764804"/>
                        <a:pt x="276924" y="2764804"/>
                      </a:cubicBezTo>
                      <a:close/>
                      <a:moveTo>
                        <a:pt x="201554" y="2764804"/>
                      </a:moveTo>
                      <a:lnTo>
                        <a:pt x="163803" y="2764804"/>
                      </a:lnTo>
                      <a:cubicBezTo>
                        <a:pt x="161191" y="2764804"/>
                        <a:pt x="159101" y="2761930"/>
                        <a:pt x="159101" y="2758403"/>
                      </a:cubicBezTo>
                      <a:cubicBezTo>
                        <a:pt x="159101" y="2754877"/>
                        <a:pt x="161191" y="2752003"/>
                        <a:pt x="163803" y="2752003"/>
                      </a:cubicBezTo>
                      <a:lnTo>
                        <a:pt x="201554" y="2752003"/>
                      </a:lnTo>
                      <a:cubicBezTo>
                        <a:pt x="204166" y="2752003"/>
                        <a:pt x="206256" y="2754877"/>
                        <a:pt x="206256" y="2758403"/>
                      </a:cubicBezTo>
                      <a:cubicBezTo>
                        <a:pt x="206256" y="2761930"/>
                        <a:pt x="204166" y="2764804"/>
                        <a:pt x="201554" y="2764804"/>
                      </a:cubicBezTo>
                      <a:close/>
                      <a:moveTo>
                        <a:pt x="126184" y="2764804"/>
                      </a:moveTo>
                      <a:lnTo>
                        <a:pt x="88433" y="2764804"/>
                      </a:lnTo>
                      <a:cubicBezTo>
                        <a:pt x="85820" y="2764804"/>
                        <a:pt x="83730" y="2761930"/>
                        <a:pt x="83730" y="2758403"/>
                      </a:cubicBezTo>
                      <a:cubicBezTo>
                        <a:pt x="83730" y="2754877"/>
                        <a:pt x="85820" y="2752003"/>
                        <a:pt x="88433" y="2752003"/>
                      </a:cubicBezTo>
                      <a:lnTo>
                        <a:pt x="126184" y="2752003"/>
                      </a:lnTo>
                      <a:cubicBezTo>
                        <a:pt x="128796" y="2752003"/>
                        <a:pt x="130886" y="2754877"/>
                        <a:pt x="130886" y="2758403"/>
                      </a:cubicBezTo>
                      <a:cubicBezTo>
                        <a:pt x="130886" y="2761930"/>
                        <a:pt x="128796" y="2764804"/>
                        <a:pt x="126184" y="2764804"/>
                      </a:cubicBezTo>
                      <a:close/>
                      <a:moveTo>
                        <a:pt x="50813" y="2764804"/>
                      </a:moveTo>
                      <a:lnTo>
                        <a:pt x="13062" y="2764804"/>
                      </a:lnTo>
                      <a:cubicBezTo>
                        <a:pt x="10450" y="2764804"/>
                        <a:pt x="8360" y="2761930"/>
                        <a:pt x="8360" y="2758403"/>
                      </a:cubicBezTo>
                      <a:cubicBezTo>
                        <a:pt x="8360" y="2754877"/>
                        <a:pt x="10450" y="2752003"/>
                        <a:pt x="13062" y="2752003"/>
                      </a:cubicBezTo>
                      <a:lnTo>
                        <a:pt x="50813" y="2752003"/>
                      </a:lnTo>
                      <a:cubicBezTo>
                        <a:pt x="53426" y="2752003"/>
                        <a:pt x="55516" y="2754877"/>
                        <a:pt x="55516" y="2758403"/>
                      </a:cubicBezTo>
                      <a:cubicBezTo>
                        <a:pt x="55516" y="2761930"/>
                        <a:pt x="53426" y="2764804"/>
                        <a:pt x="50813" y="2764804"/>
                      </a:cubicBezTo>
                      <a:close/>
                      <a:moveTo>
                        <a:pt x="11495" y="2715167"/>
                      </a:moveTo>
                      <a:cubicBezTo>
                        <a:pt x="8882" y="2715167"/>
                        <a:pt x="6792" y="2712293"/>
                        <a:pt x="6792" y="2708766"/>
                      </a:cubicBezTo>
                      <a:lnTo>
                        <a:pt x="6792" y="2657169"/>
                      </a:lnTo>
                      <a:cubicBezTo>
                        <a:pt x="6792" y="2653643"/>
                        <a:pt x="8752" y="2650769"/>
                        <a:pt x="11364" y="2650638"/>
                      </a:cubicBezTo>
                      <a:lnTo>
                        <a:pt x="11364" y="2650638"/>
                      </a:lnTo>
                      <a:cubicBezTo>
                        <a:pt x="13977" y="2650638"/>
                        <a:pt x="16067" y="2653512"/>
                        <a:pt x="16067" y="2657039"/>
                      </a:cubicBezTo>
                      <a:lnTo>
                        <a:pt x="16067" y="2708635"/>
                      </a:lnTo>
                      <a:cubicBezTo>
                        <a:pt x="16067" y="2712162"/>
                        <a:pt x="14107" y="2715036"/>
                        <a:pt x="11495" y="2715167"/>
                      </a:cubicBezTo>
                      <a:lnTo>
                        <a:pt x="11495" y="2715167"/>
                      </a:lnTo>
                      <a:close/>
                      <a:moveTo>
                        <a:pt x="11234" y="2611842"/>
                      </a:moveTo>
                      <a:cubicBezTo>
                        <a:pt x="8621" y="2611842"/>
                        <a:pt x="6531" y="2608969"/>
                        <a:pt x="6531" y="2605442"/>
                      </a:cubicBezTo>
                      <a:lnTo>
                        <a:pt x="6531" y="2553845"/>
                      </a:lnTo>
                      <a:cubicBezTo>
                        <a:pt x="6531" y="2550318"/>
                        <a:pt x="8491" y="2547445"/>
                        <a:pt x="11103" y="2547314"/>
                      </a:cubicBezTo>
                      <a:lnTo>
                        <a:pt x="11103" y="2547314"/>
                      </a:lnTo>
                      <a:cubicBezTo>
                        <a:pt x="13716" y="2547314"/>
                        <a:pt x="15806" y="2550188"/>
                        <a:pt x="15806" y="2553714"/>
                      </a:cubicBezTo>
                      <a:lnTo>
                        <a:pt x="15806" y="2605311"/>
                      </a:lnTo>
                      <a:cubicBezTo>
                        <a:pt x="15806" y="2608838"/>
                        <a:pt x="13846" y="2611712"/>
                        <a:pt x="11234" y="2611842"/>
                      </a:cubicBezTo>
                      <a:lnTo>
                        <a:pt x="11234" y="2611842"/>
                      </a:lnTo>
                      <a:close/>
                      <a:moveTo>
                        <a:pt x="10972" y="2508518"/>
                      </a:moveTo>
                      <a:cubicBezTo>
                        <a:pt x="8360" y="2508518"/>
                        <a:pt x="6270" y="2505644"/>
                        <a:pt x="6270" y="2502118"/>
                      </a:cubicBezTo>
                      <a:lnTo>
                        <a:pt x="6270" y="2450521"/>
                      </a:lnTo>
                      <a:cubicBezTo>
                        <a:pt x="6270" y="2446994"/>
                        <a:pt x="8229" y="2444120"/>
                        <a:pt x="10842" y="2443990"/>
                      </a:cubicBezTo>
                      <a:lnTo>
                        <a:pt x="10842" y="2443990"/>
                      </a:lnTo>
                      <a:cubicBezTo>
                        <a:pt x="13454" y="2443990"/>
                        <a:pt x="15544" y="2446863"/>
                        <a:pt x="15544" y="2450390"/>
                      </a:cubicBezTo>
                      <a:lnTo>
                        <a:pt x="15544" y="2501987"/>
                      </a:lnTo>
                      <a:cubicBezTo>
                        <a:pt x="15544" y="2505514"/>
                        <a:pt x="13585" y="2508387"/>
                        <a:pt x="10972" y="2508518"/>
                      </a:cubicBezTo>
                      <a:lnTo>
                        <a:pt x="10972" y="2508518"/>
                      </a:lnTo>
                      <a:close/>
                      <a:moveTo>
                        <a:pt x="10711" y="2405194"/>
                      </a:moveTo>
                      <a:cubicBezTo>
                        <a:pt x="8099" y="2405194"/>
                        <a:pt x="6009" y="2402320"/>
                        <a:pt x="6009" y="2398794"/>
                      </a:cubicBezTo>
                      <a:lnTo>
                        <a:pt x="6009" y="2347197"/>
                      </a:lnTo>
                      <a:cubicBezTo>
                        <a:pt x="6009" y="2343670"/>
                        <a:pt x="7968" y="2340796"/>
                        <a:pt x="10581" y="2340665"/>
                      </a:cubicBezTo>
                      <a:lnTo>
                        <a:pt x="10581" y="2340665"/>
                      </a:lnTo>
                      <a:cubicBezTo>
                        <a:pt x="13193" y="2340665"/>
                        <a:pt x="15283" y="2343539"/>
                        <a:pt x="15283" y="2347066"/>
                      </a:cubicBezTo>
                      <a:lnTo>
                        <a:pt x="15283" y="2398663"/>
                      </a:lnTo>
                      <a:cubicBezTo>
                        <a:pt x="15283" y="2402190"/>
                        <a:pt x="13324" y="2405063"/>
                        <a:pt x="10711" y="2405194"/>
                      </a:cubicBezTo>
                      <a:lnTo>
                        <a:pt x="10711" y="2405194"/>
                      </a:lnTo>
                      <a:close/>
                      <a:moveTo>
                        <a:pt x="10450" y="2301870"/>
                      </a:moveTo>
                      <a:cubicBezTo>
                        <a:pt x="7837" y="2301870"/>
                        <a:pt x="5747" y="2298996"/>
                        <a:pt x="5747" y="2295469"/>
                      </a:cubicBezTo>
                      <a:lnTo>
                        <a:pt x="5747" y="2243872"/>
                      </a:lnTo>
                      <a:cubicBezTo>
                        <a:pt x="5747" y="2240346"/>
                        <a:pt x="7707" y="2237472"/>
                        <a:pt x="10319" y="2237341"/>
                      </a:cubicBezTo>
                      <a:lnTo>
                        <a:pt x="10319" y="2237341"/>
                      </a:lnTo>
                      <a:cubicBezTo>
                        <a:pt x="12932" y="2237341"/>
                        <a:pt x="15022" y="2240215"/>
                        <a:pt x="15022" y="2243742"/>
                      </a:cubicBezTo>
                      <a:lnTo>
                        <a:pt x="15022" y="2295339"/>
                      </a:lnTo>
                      <a:cubicBezTo>
                        <a:pt x="15022" y="2298866"/>
                        <a:pt x="13062" y="2301739"/>
                        <a:pt x="10450" y="2301870"/>
                      </a:cubicBezTo>
                      <a:lnTo>
                        <a:pt x="10450" y="2301870"/>
                      </a:lnTo>
                      <a:close/>
                      <a:moveTo>
                        <a:pt x="10189" y="2198546"/>
                      </a:moveTo>
                      <a:cubicBezTo>
                        <a:pt x="7576" y="2198546"/>
                        <a:pt x="5486" y="2195672"/>
                        <a:pt x="5486" y="2192145"/>
                      </a:cubicBezTo>
                      <a:lnTo>
                        <a:pt x="5486" y="2140548"/>
                      </a:lnTo>
                      <a:cubicBezTo>
                        <a:pt x="5486" y="2137021"/>
                        <a:pt x="7446" y="2134148"/>
                        <a:pt x="10058" y="2134017"/>
                      </a:cubicBezTo>
                      <a:lnTo>
                        <a:pt x="10058" y="2134017"/>
                      </a:lnTo>
                      <a:cubicBezTo>
                        <a:pt x="12671" y="2134017"/>
                        <a:pt x="14761" y="2136891"/>
                        <a:pt x="14761" y="2140418"/>
                      </a:cubicBezTo>
                      <a:lnTo>
                        <a:pt x="14761" y="2192014"/>
                      </a:lnTo>
                      <a:cubicBezTo>
                        <a:pt x="14761" y="2195541"/>
                        <a:pt x="12801" y="2198415"/>
                        <a:pt x="10189" y="2198546"/>
                      </a:cubicBezTo>
                      <a:lnTo>
                        <a:pt x="10189" y="2198546"/>
                      </a:lnTo>
                      <a:close/>
                      <a:moveTo>
                        <a:pt x="9927" y="2095222"/>
                      </a:moveTo>
                      <a:cubicBezTo>
                        <a:pt x="7315" y="2095222"/>
                        <a:pt x="5225" y="2092348"/>
                        <a:pt x="5225" y="2088821"/>
                      </a:cubicBezTo>
                      <a:lnTo>
                        <a:pt x="5225" y="2037224"/>
                      </a:lnTo>
                      <a:cubicBezTo>
                        <a:pt x="5225" y="2033697"/>
                        <a:pt x="7184" y="2030823"/>
                        <a:pt x="9797" y="2030693"/>
                      </a:cubicBezTo>
                      <a:lnTo>
                        <a:pt x="9797" y="2030693"/>
                      </a:lnTo>
                      <a:cubicBezTo>
                        <a:pt x="12409" y="2030693"/>
                        <a:pt x="14499" y="2033567"/>
                        <a:pt x="14499" y="2037093"/>
                      </a:cubicBezTo>
                      <a:lnTo>
                        <a:pt x="14499" y="2088690"/>
                      </a:lnTo>
                      <a:cubicBezTo>
                        <a:pt x="14499" y="2092217"/>
                        <a:pt x="12540" y="2095091"/>
                        <a:pt x="9927" y="2095222"/>
                      </a:cubicBezTo>
                      <a:lnTo>
                        <a:pt x="9927" y="2095222"/>
                      </a:lnTo>
                      <a:close/>
                      <a:moveTo>
                        <a:pt x="9666" y="1991897"/>
                      </a:moveTo>
                      <a:cubicBezTo>
                        <a:pt x="7054" y="1991897"/>
                        <a:pt x="4964" y="1989023"/>
                        <a:pt x="4964" y="1985497"/>
                      </a:cubicBezTo>
                      <a:lnTo>
                        <a:pt x="4964" y="1933900"/>
                      </a:lnTo>
                      <a:cubicBezTo>
                        <a:pt x="4964" y="1930373"/>
                        <a:pt x="6923" y="1927499"/>
                        <a:pt x="9536" y="1927369"/>
                      </a:cubicBezTo>
                      <a:lnTo>
                        <a:pt x="9536" y="1927369"/>
                      </a:lnTo>
                      <a:cubicBezTo>
                        <a:pt x="12148" y="1927369"/>
                        <a:pt x="14238" y="1930242"/>
                        <a:pt x="14238" y="1933769"/>
                      </a:cubicBezTo>
                      <a:lnTo>
                        <a:pt x="14238" y="1985366"/>
                      </a:lnTo>
                      <a:cubicBezTo>
                        <a:pt x="14238" y="1988893"/>
                        <a:pt x="12279" y="1991767"/>
                        <a:pt x="9666" y="1991897"/>
                      </a:cubicBezTo>
                      <a:lnTo>
                        <a:pt x="9666" y="1991897"/>
                      </a:lnTo>
                      <a:close/>
                      <a:moveTo>
                        <a:pt x="9405" y="1888573"/>
                      </a:moveTo>
                      <a:cubicBezTo>
                        <a:pt x="6792" y="1888573"/>
                        <a:pt x="4702" y="1885699"/>
                        <a:pt x="4702" y="1882172"/>
                      </a:cubicBezTo>
                      <a:lnTo>
                        <a:pt x="4702" y="1830576"/>
                      </a:lnTo>
                      <a:cubicBezTo>
                        <a:pt x="4702" y="1827049"/>
                        <a:pt x="6662" y="1824175"/>
                        <a:pt x="9274" y="1824044"/>
                      </a:cubicBezTo>
                      <a:lnTo>
                        <a:pt x="9274" y="1824044"/>
                      </a:lnTo>
                      <a:cubicBezTo>
                        <a:pt x="11887" y="1824044"/>
                        <a:pt x="13977" y="1826918"/>
                        <a:pt x="13977" y="1830445"/>
                      </a:cubicBezTo>
                      <a:lnTo>
                        <a:pt x="13977" y="1882042"/>
                      </a:lnTo>
                      <a:cubicBezTo>
                        <a:pt x="13977" y="1885569"/>
                        <a:pt x="12017" y="1888442"/>
                        <a:pt x="9405" y="1888573"/>
                      </a:cubicBezTo>
                      <a:lnTo>
                        <a:pt x="9405" y="1888573"/>
                      </a:lnTo>
                      <a:close/>
                      <a:moveTo>
                        <a:pt x="9144" y="1785249"/>
                      </a:moveTo>
                      <a:cubicBezTo>
                        <a:pt x="6531" y="1785249"/>
                        <a:pt x="4441" y="1782375"/>
                        <a:pt x="4441" y="1778848"/>
                      </a:cubicBezTo>
                      <a:lnTo>
                        <a:pt x="4441" y="1727251"/>
                      </a:lnTo>
                      <a:cubicBezTo>
                        <a:pt x="4441" y="1723725"/>
                        <a:pt x="6401" y="1720851"/>
                        <a:pt x="9013" y="1720720"/>
                      </a:cubicBezTo>
                      <a:lnTo>
                        <a:pt x="9013" y="1720720"/>
                      </a:lnTo>
                      <a:cubicBezTo>
                        <a:pt x="11626" y="1720720"/>
                        <a:pt x="13716" y="1723594"/>
                        <a:pt x="13716" y="1727121"/>
                      </a:cubicBezTo>
                      <a:lnTo>
                        <a:pt x="13716" y="1778718"/>
                      </a:lnTo>
                      <a:cubicBezTo>
                        <a:pt x="13716" y="1782244"/>
                        <a:pt x="11756" y="1785118"/>
                        <a:pt x="9144" y="1785249"/>
                      </a:cubicBezTo>
                      <a:lnTo>
                        <a:pt x="9144" y="1785249"/>
                      </a:lnTo>
                      <a:close/>
                      <a:moveTo>
                        <a:pt x="8882" y="1681925"/>
                      </a:moveTo>
                      <a:cubicBezTo>
                        <a:pt x="6270" y="1681925"/>
                        <a:pt x="4180" y="1679051"/>
                        <a:pt x="4180" y="1675524"/>
                      </a:cubicBezTo>
                      <a:lnTo>
                        <a:pt x="4180" y="1623927"/>
                      </a:lnTo>
                      <a:cubicBezTo>
                        <a:pt x="4180" y="1620400"/>
                        <a:pt x="6139" y="1617527"/>
                        <a:pt x="8752" y="1617396"/>
                      </a:cubicBezTo>
                      <a:lnTo>
                        <a:pt x="8752" y="1617396"/>
                      </a:lnTo>
                      <a:cubicBezTo>
                        <a:pt x="11364" y="1617396"/>
                        <a:pt x="13454" y="1620270"/>
                        <a:pt x="13454" y="1623797"/>
                      </a:cubicBezTo>
                      <a:lnTo>
                        <a:pt x="13454" y="1675393"/>
                      </a:lnTo>
                      <a:cubicBezTo>
                        <a:pt x="13454" y="1678920"/>
                        <a:pt x="11495" y="1681794"/>
                        <a:pt x="8882" y="1681925"/>
                      </a:cubicBezTo>
                      <a:lnTo>
                        <a:pt x="8882" y="1681925"/>
                      </a:lnTo>
                      <a:close/>
                      <a:moveTo>
                        <a:pt x="8621" y="1578600"/>
                      </a:moveTo>
                      <a:cubicBezTo>
                        <a:pt x="6009" y="1578600"/>
                        <a:pt x="3919" y="1575727"/>
                        <a:pt x="3919" y="1572200"/>
                      </a:cubicBezTo>
                      <a:lnTo>
                        <a:pt x="3919" y="1520603"/>
                      </a:lnTo>
                      <a:cubicBezTo>
                        <a:pt x="3919" y="1517076"/>
                        <a:pt x="5878" y="1514202"/>
                        <a:pt x="8491" y="1514072"/>
                      </a:cubicBezTo>
                      <a:lnTo>
                        <a:pt x="8491" y="1514072"/>
                      </a:lnTo>
                      <a:cubicBezTo>
                        <a:pt x="11103" y="1514072"/>
                        <a:pt x="13193" y="1516945"/>
                        <a:pt x="13193" y="1520472"/>
                      </a:cubicBezTo>
                      <a:lnTo>
                        <a:pt x="13193" y="1572069"/>
                      </a:lnTo>
                      <a:cubicBezTo>
                        <a:pt x="13193" y="1575596"/>
                        <a:pt x="11234" y="1578470"/>
                        <a:pt x="8621" y="1578600"/>
                      </a:cubicBezTo>
                      <a:lnTo>
                        <a:pt x="8621" y="1578600"/>
                      </a:lnTo>
                      <a:close/>
                      <a:moveTo>
                        <a:pt x="8360" y="1475276"/>
                      </a:moveTo>
                      <a:cubicBezTo>
                        <a:pt x="5747" y="1475276"/>
                        <a:pt x="3658" y="1472403"/>
                        <a:pt x="3658" y="1468876"/>
                      </a:cubicBezTo>
                      <a:lnTo>
                        <a:pt x="3658" y="1417279"/>
                      </a:lnTo>
                      <a:cubicBezTo>
                        <a:pt x="3658" y="1413752"/>
                        <a:pt x="5617" y="1410878"/>
                        <a:pt x="8229" y="1410748"/>
                      </a:cubicBezTo>
                      <a:lnTo>
                        <a:pt x="8229" y="1410748"/>
                      </a:lnTo>
                      <a:cubicBezTo>
                        <a:pt x="10842" y="1410748"/>
                        <a:pt x="12932" y="1413621"/>
                        <a:pt x="12932" y="1417148"/>
                      </a:cubicBezTo>
                      <a:lnTo>
                        <a:pt x="12932" y="1468745"/>
                      </a:lnTo>
                      <a:cubicBezTo>
                        <a:pt x="12932" y="1472272"/>
                        <a:pt x="10972" y="1475146"/>
                        <a:pt x="8360" y="1475276"/>
                      </a:cubicBezTo>
                      <a:lnTo>
                        <a:pt x="8360" y="1475276"/>
                      </a:lnTo>
                      <a:close/>
                      <a:moveTo>
                        <a:pt x="8099" y="1371952"/>
                      </a:moveTo>
                      <a:cubicBezTo>
                        <a:pt x="5486" y="1371952"/>
                        <a:pt x="3396" y="1369078"/>
                        <a:pt x="3396" y="1365551"/>
                      </a:cubicBezTo>
                      <a:lnTo>
                        <a:pt x="3396" y="1313955"/>
                      </a:lnTo>
                      <a:cubicBezTo>
                        <a:pt x="3396" y="1310428"/>
                        <a:pt x="5356" y="1307554"/>
                        <a:pt x="7968" y="1307423"/>
                      </a:cubicBezTo>
                      <a:lnTo>
                        <a:pt x="7968" y="1307423"/>
                      </a:lnTo>
                      <a:cubicBezTo>
                        <a:pt x="10581" y="1307423"/>
                        <a:pt x="12671" y="1310297"/>
                        <a:pt x="12671" y="1313824"/>
                      </a:cubicBezTo>
                      <a:lnTo>
                        <a:pt x="12671" y="1365421"/>
                      </a:lnTo>
                      <a:cubicBezTo>
                        <a:pt x="12671" y="1368948"/>
                        <a:pt x="10711" y="1371821"/>
                        <a:pt x="8099" y="1371952"/>
                      </a:cubicBezTo>
                      <a:lnTo>
                        <a:pt x="8099" y="1371952"/>
                      </a:lnTo>
                      <a:close/>
                      <a:moveTo>
                        <a:pt x="7837" y="1268628"/>
                      </a:moveTo>
                      <a:cubicBezTo>
                        <a:pt x="5225" y="1268628"/>
                        <a:pt x="3135" y="1265754"/>
                        <a:pt x="3135" y="1262227"/>
                      </a:cubicBezTo>
                      <a:lnTo>
                        <a:pt x="3135" y="1210630"/>
                      </a:lnTo>
                      <a:cubicBezTo>
                        <a:pt x="3135" y="1207104"/>
                        <a:pt x="5094" y="1204230"/>
                        <a:pt x="7707" y="1204099"/>
                      </a:cubicBezTo>
                      <a:lnTo>
                        <a:pt x="7707" y="1204099"/>
                      </a:lnTo>
                      <a:cubicBezTo>
                        <a:pt x="10319" y="1204099"/>
                        <a:pt x="12409" y="1206973"/>
                        <a:pt x="12409" y="1210500"/>
                      </a:cubicBezTo>
                      <a:lnTo>
                        <a:pt x="12409" y="1262097"/>
                      </a:lnTo>
                      <a:cubicBezTo>
                        <a:pt x="12409" y="1265624"/>
                        <a:pt x="10450" y="1268497"/>
                        <a:pt x="7837" y="1268628"/>
                      </a:cubicBezTo>
                      <a:lnTo>
                        <a:pt x="7837" y="1268628"/>
                      </a:lnTo>
                      <a:close/>
                      <a:moveTo>
                        <a:pt x="7576" y="1165304"/>
                      </a:moveTo>
                      <a:cubicBezTo>
                        <a:pt x="4964" y="1165304"/>
                        <a:pt x="2874" y="1162430"/>
                        <a:pt x="2874" y="1158903"/>
                      </a:cubicBezTo>
                      <a:lnTo>
                        <a:pt x="2874" y="1107306"/>
                      </a:lnTo>
                      <a:cubicBezTo>
                        <a:pt x="2874" y="1103779"/>
                        <a:pt x="4833" y="1100906"/>
                        <a:pt x="7446" y="1100775"/>
                      </a:cubicBezTo>
                      <a:lnTo>
                        <a:pt x="7446" y="1100775"/>
                      </a:lnTo>
                      <a:cubicBezTo>
                        <a:pt x="10058" y="1100775"/>
                        <a:pt x="12148" y="1103649"/>
                        <a:pt x="12148" y="1107176"/>
                      </a:cubicBezTo>
                      <a:lnTo>
                        <a:pt x="12148" y="1158772"/>
                      </a:lnTo>
                      <a:cubicBezTo>
                        <a:pt x="12148" y="1162299"/>
                        <a:pt x="10189" y="1165173"/>
                        <a:pt x="7576" y="1165304"/>
                      </a:cubicBezTo>
                      <a:lnTo>
                        <a:pt x="7576" y="1165304"/>
                      </a:lnTo>
                      <a:close/>
                      <a:moveTo>
                        <a:pt x="7315" y="1061979"/>
                      </a:moveTo>
                      <a:cubicBezTo>
                        <a:pt x="4702" y="1061979"/>
                        <a:pt x="2613" y="1059106"/>
                        <a:pt x="2613" y="1055579"/>
                      </a:cubicBezTo>
                      <a:lnTo>
                        <a:pt x="2613" y="1003982"/>
                      </a:lnTo>
                      <a:cubicBezTo>
                        <a:pt x="2613" y="1000455"/>
                        <a:pt x="4572" y="997581"/>
                        <a:pt x="7184" y="997451"/>
                      </a:cubicBezTo>
                      <a:cubicBezTo>
                        <a:pt x="9666" y="997451"/>
                        <a:pt x="11887" y="1000325"/>
                        <a:pt x="11887" y="1003851"/>
                      </a:cubicBezTo>
                      <a:lnTo>
                        <a:pt x="11887" y="1055448"/>
                      </a:lnTo>
                      <a:cubicBezTo>
                        <a:pt x="11887" y="1058975"/>
                        <a:pt x="9927" y="1061849"/>
                        <a:pt x="7315" y="1061979"/>
                      </a:cubicBezTo>
                      <a:lnTo>
                        <a:pt x="7315" y="1061979"/>
                      </a:lnTo>
                      <a:close/>
                      <a:moveTo>
                        <a:pt x="7054" y="958655"/>
                      </a:moveTo>
                      <a:cubicBezTo>
                        <a:pt x="4441" y="958655"/>
                        <a:pt x="2351" y="955782"/>
                        <a:pt x="2351" y="952255"/>
                      </a:cubicBezTo>
                      <a:lnTo>
                        <a:pt x="2351" y="900658"/>
                      </a:lnTo>
                      <a:cubicBezTo>
                        <a:pt x="2351" y="897131"/>
                        <a:pt x="4311" y="894257"/>
                        <a:pt x="6923" y="894127"/>
                      </a:cubicBezTo>
                      <a:lnTo>
                        <a:pt x="6923" y="894127"/>
                      </a:lnTo>
                      <a:cubicBezTo>
                        <a:pt x="9536" y="894127"/>
                        <a:pt x="11626" y="897000"/>
                        <a:pt x="11626" y="900527"/>
                      </a:cubicBezTo>
                      <a:lnTo>
                        <a:pt x="11626" y="952124"/>
                      </a:lnTo>
                      <a:cubicBezTo>
                        <a:pt x="11626" y="955651"/>
                        <a:pt x="9666" y="958525"/>
                        <a:pt x="7054" y="958655"/>
                      </a:cubicBezTo>
                      <a:lnTo>
                        <a:pt x="7054" y="958655"/>
                      </a:lnTo>
                      <a:close/>
                      <a:moveTo>
                        <a:pt x="6792" y="855331"/>
                      </a:moveTo>
                      <a:cubicBezTo>
                        <a:pt x="4180" y="855331"/>
                        <a:pt x="2090" y="852457"/>
                        <a:pt x="2090" y="848930"/>
                      </a:cubicBezTo>
                      <a:lnTo>
                        <a:pt x="2090" y="797334"/>
                      </a:lnTo>
                      <a:cubicBezTo>
                        <a:pt x="2090" y="793807"/>
                        <a:pt x="4049" y="790933"/>
                        <a:pt x="6662" y="790802"/>
                      </a:cubicBezTo>
                      <a:lnTo>
                        <a:pt x="6662" y="790802"/>
                      </a:lnTo>
                      <a:cubicBezTo>
                        <a:pt x="9274" y="790802"/>
                        <a:pt x="11364" y="793676"/>
                        <a:pt x="11364" y="797203"/>
                      </a:cubicBezTo>
                      <a:lnTo>
                        <a:pt x="11364" y="848800"/>
                      </a:lnTo>
                      <a:cubicBezTo>
                        <a:pt x="11364" y="852327"/>
                        <a:pt x="9405" y="855201"/>
                        <a:pt x="6792" y="855331"/>
                      </a:cubicBezTo>
                      <a:lnTo>
                        <a:pt x="6792" y="855331"/>
                      </a:lnTo>
                      <a:close/>
                      <a:moveTo>
                        <a:pt x="6531" y="752007"/>
                      </a:moveTo>
                      <a:cubicBezTo>
                        <a:pt x="3919" y="752007"/>
                        <a:pt x="1829" y="749133"/>
                        <a:pt x="1829" y="745606"/>
                      </a:cubicBezTo>
                      <a:lnTo>
                        <a:pt x="1829" y="694009"/>
                      </a:lnTo>
                      <a:cubicBezTo>
                        <a:pt x="1829" y="690483"/>
                        <a:pt x="3788" y="687609"/>
                        <a:pt x="6401" y="687478"/>
                      </a:cubicBezTo>
                      <a:lnTo>
                        <a:pt x="6401" y="687478"/>
                      </a:lnTo>
                      <a:cubicBezTo>
                        <a:pt x="9013" y="687478"/>
                        <a:pt x="11103" y="690352"/>
                        <a:pt x="11103" y="693879"/>
                      </a:cubicBezTo>
                      <a:lnTo>
                        <a:pt x="11103" y="745476"/>
                      </a:lnTo>
                      <a:cubicBezTo>
                        <a:pt x="11103" y="749003"/>
                        <a:pt x="9144" y="751876"/>
                        <a:pt x="6531" y="752007"/>
                      </a:cubicBezTo>
                      <a:lnTo>
                        <a:pt x="6531" y="752007"/>
                      </a:lnTo>
                      <a:close/>
                      <a:moveTo>
                        <a:pt x="6270" y="648683"/>
                      </a:moveTo>
                      <a:cubicBezTo>
                        <a:pt x="3658" y="648683"/>
                        <a:pt x="1568" y="645809"/>
                        <a:pt x="1568" y="642282"/>
                      </a:cubicBezTo>
                      <a:lnTo>
                        <a:pt x="1568" y="590685"/>
                      </a:lnTo>
                      <a:cubicBezTo>
                        <a:pt x="1568" y="587158"/>
                        <a:pt x="3527" y="584285"/>
                        <a:pt x="6139" y="584154"/>
                      </a:cubicBezTo>
                      <a:cubicBezTo>
                        <a:pt x="8621" y="584023"/>
                        <a:pt x="10842" y="587028"/>
                        <a:pt x="10842" y="590555"/>
                      </a:cubicBezTo>
                      <a:lnTo>
                        <a:pt x="10842" y="642151"/>
                      </a:lnTo>
                      <a:cubicBezTo>
                        <a:pt x="10842" y="645678"/>
                        <a:pt x="8882" y="648552"/>
                        <a:pt x="6270" y="648683"/>
                      </a:cubicBezTo>
                      <a:lnTo>
                        <a:pt x="6270" y="648683"/>
                      </a:lnTo>
                      <a:close/>
                      <a:moveTo>
                        <a:pt x="6009" y="545359"/>
                      </a:moveTo>
                      <a:cubicBezTo>
                        <a:pt x="3396" y="545359"/>
                        <a:pt x="1306" y="542485"/>
                        <a:pt x="1306" y="538958"/>
                      </a:cubicBezTo>
                      <a:lnTo>
                        <a:pt x="1306" y="487361"/>
                      </a:lnTo>
                      <a:cubicBezTo>
                        <a:pt x="1306" y="483834"/>
                        <a:pt x="3266" y="480960"/>
                        <a:pt x="5878" y="480830"/>
                      </a:cubicBezTo>
                      <a:lnTo>
                        <a:pt x="5878" y="480830"/>
                      </a:lnTo>
                      <a:cubicBezTo>
                        <a:pt x="8491" y="480830"/>
                        <a:pt x="10581" y="483704"/>
                        <a:pt x="10581" y="487230"/>
                      </a:cubicBezTo>
                      <a:lnTo>
                        <a:pt x="10581" y="538827"/>
                      </a:lnTo>
                      <a:cubicBezTo>
                        <a:pt x="10581" y="542354"/>
                        <a:pt x="8621" y="545228"/>
                        <a:pt x="6009" y="545359"/>
                      </a:cubicBezTo>
                      <a:lnTo>
                        <a:pt x="6009" y="545359"/>
                      </a:lnTo>
                      <a:close/>
                      <a:moveTo>
                        <a:pt x="5747" y="442034"/>
                      </a:moveTo>
                      <a:cubicBezTo>
                        <a:pt x="3135" y="442034"/>
                        <a:pt x="1045" y="439161"/>
                        <a:pt x="1045" y="435634"/>
                      </a:cubicBezTo>
                      <a:lnTo>
                        <a:pt x="1045" y="384037"/>
                      </a:lnTo>
                      <a:cubicBezTo>
                        <a:pt x="1045" y="380510"/>
                        <a:pt x="3004" y="377636"/>
                        <a:pt x="5617" y="377506"/>
                      </a:cubicBezTo>
                      <a:lnTo>
                        <a:pt x="5617" y="377506"/>
                      </a:lnTo>
                      <a:cubicBezTo>
                        <a:pt x="8229" y="377506"/>
                        <a:pt x="10319" y="380379"/>
                        <a:pt x="10319" y="383906"/>
                      </a:cubicBezTo>
                      <a:lnTo>
                        <a:pt x="10319" y="435503"/>
                      </a:lnTo>
                      <a:cubicBezTo>
                        <a:pt x="10319" y="439030"/>
                        <a:pt x="8360" y="441904"/>
                        <a:pt x="5747" y="442034"/>
                      </a:cubicBezTo>
                      <a:lnTo>
                        <a:pt x="5747" y="442034"/>
                      </a:lnTo>
                      <a:close/>
                      <a:moveTo>
                        <a:pt x="5486" y="338710"/>
                      </a:moveTo>
                      <a:cubicBezTo>
                        <a:pt x="2874" y="338710"/>
                        <a:pt x="784" y="335836"/>
                        <a:pt x="784" y="332309"/>
                      </a:cubicBezTo>
                      <a:lnTo>
                        <a:pt x="784" y="280713"/>
                      </a:lnTo>
                      <a:cubicBezTo>
                        <a:pt x="784" y="277186"/>
                        <a:pt x="2743" y="274312"/>
                        <a:pt x="5356" y="274181"/>
                      </a:cubicBezTo>
                      <a:lnTo>
                        <a:pt x="5356" y="274181"/>
                      </a:lnTo>
                      <a:cubicBezTo>
                        <a:pt x="7968" y="274181"/>
                        <a:pt x="10058" y="277055"/>
                        <a:pt x="10058" y="280582"/>
                      </a:cubicBezTo>
                      <a:lnTo>
                        <a:pt x="10058" y="332179"/>
                      </a:lnTo>
                      <a:cubicBezTo>
                        <a:pt x="10058" y="335706"/>
                        <a:pt x="8099" y="338579"/>
                        <a:pt x="5486" y="338710"/>
                      </a:cubicBezTo>
                      <a:lnTo>
                        <a:pt x="5486" y="338710"/>
                      </a:lnTo>
                      <a:close/>
                      <a:moveTo>
                        <a:pt x="5225" y="235386"/>
                      </a:moveTo>
                      <a:cubicBezTo>
                        <a:pt x="2613" y="235386"/>
                        <a:pt x="523" y="232512"/>
                        <a:pt x="523" y="228985"/>
                      </a:cubicBezTo>
                      <a:lnTo>
                        <a:pt x="523" y="177388"/>
                      </a:lnTo>
                      <a:cubicBezTo>
                        <a:pt x="523" y="173862"/>
                        <a:pt x="2482" y="170988"/>
                        <a:pt x="5094" y="170857"/>
                      </a:cubicBezTo>
                      <a:lnTo>
                        <a:pt x="5094" y="170857"/>
                      </a:lnTo>
                      <a:cubicBezTo>
                        <a:pt x="7707" y="170857"/>
                        <a:pt x="9797" y="173731"/>
                        <a:pt x="9797" y="177258"/>
                      </a:cubicBezTo>
                      <a:lnTo>
                        <a:pt x="9797" y="228855"/>
                      </a:lnTo>
                      <a:cubicBezTo>
                        <a:pt x="9797" y="232381"/>
                        <a:pt x="7837" y="235255"/>
                        <a:pt x="5225" y="235386"/>
                      </a:cubicBezTo>
                      <a:lnTo>
                        <a:pt x="5225" y="235386"/>
                      </a:lnTo>
                      <a:close/>
                      <a:moveTo>
                        <a:pt x="4964" y="132062"/>
                      </a:moveTo>
                      <a:cubicBezTo>
                        <a:pt x="2351" y="132062"/>
                        <a:pt x="261" y="129188"/>
                        <a:pt x="261" y="125661"/>
                      </a:cubicBezTo>
                      <a:lnTo>
                        <a:pt x="261" y="74064"/>
                      </a:lnTo>
                      <a:cubicBezTo>
                        <a:pt x="261" y="70537"/>
                        <a:pt x="2221" y="67664"/>
                        <a:pt x="4833" y="67533"/>
                      </a:cubicBezTo>
                      <a:lnTo>
                        <a:pt x="4833" y="67533"/>
                      </a:lnTo>
                      <a:cubicBezTo>
                        <a:pt x="7446" y="67533"/>
                        <a:pt x="9536" y="70407"/>
                        <a:pt x="9536" y="73934"/>
                      </a:cubicBezTo>
                      <a:lnTo>
                        <a:pt x="9536" y="125530"/>
                      </a:lnTo>
                      <a:cubicBezTo>
                        <a:pt x="9536" y="129057"/>
                        <a:pt x="7576" y="131931"/>
                        <a:pt x="4964" y="132062"/>
                      </a:cubicBezTo>
                      <a:lnTo>
                        <a:pt x="4964" y="132062"/>
                      </a:lnTo>
                      <a:close/>
                      <a:moveTo>
                        <a:pt x="4702" y="28738"/>
                      </a:moveTo>
                      <a:cubicBezTo>
                        <a:pt x="2090" y="28738"/>
                        <a:pt x="0" y="25864"/>
                        <a:pt x="0" y="22337"/>
                      </a:cubicBezTo>
                      <a:lnTo>
                        <a:pt x="0" y="6531"/>
                      </a:lnTo>
                      <a:cubicBezTo>
                        <a:pt x="0" y="3004"/>
                        <a:pt x="2090" y="131"/>
                        <a:pt x="4702" y="0"/>
                      </a:cubicBezTo>
                      <a:lnTo>
                        <a:pt x="4702" y="0"/>
                      </a:lnTo>
                      <a:cubicBezTo>
                        <a:pt x="7315" y="0"/>
                        <a:pt x="9405" y="2874"/>
                        <a:pt x="9405" y="6401"/>
                      </a:cubicBezTo>
                      <a:lnTo>
                        <a:pt x="9405" y="22206"/>
                      </a:lnTo>
                      <a:cubicBezTo>
                        <a:pt x="9405" y="25733"/>
                        <a:pt x="7315" y="28607"/>
                        <a:pt x="4702" y="28738"/>
                      </a:cubicBezTo>
                      <a:lnTo>
                        <a:pt x="4702" y="28738"/>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859" name="Graphic 717">
                  <a:extLst>
                    <a:ext uri="{FF2B5EF4-FFF2-40B4-BE49-F238E27FC236}">
                      <a16:creationId xmlns:a16="http://schemas.microsoft.com/office/drawing/2014/main" id="{371CB761-EED0-1B0E-9B2B-7FAE359D8129}"/>
                    </a:ext>
                  </a:extLst>
                </p:cNvPr>
                <p:cNvGrpSpPr/>
                <p:nvPr/>
              </p:nvGrpSpPr>
              <p:grpSpPr>
                <a:xfrm>
                  <a:off x="1009687" y="5967986"/>
                  <a:ext cx="56168" cy="77068"/>
                  <a:chOff x="1009687" y="5967986"/>
                  <a:chExt cx="56168" cy="77068"/>
                </a:xfrm>
                <a:grpFill/>
              </p:grpSpPr>
              <p:sp>
                <p:nvSpPr>
                  <p:cNvPr id="860" name="Freeform: Shape 859">
                    <a:extLst>
                      <a:ext uri="{FF2B5EF4-FFF2-40B4-BE49-F238E27FC236}">
                        <a16:creationId xmlns:a16="http://schemas.microsoft.com/office/drawing/2014/main" id="{CCA1E69C-DB24-0899-C276-A2CE80447389}"/>
                      </a:ext>
                    </a:extLst>
                  </p:cNvPr>
                  <p:cNvSpPr/>
                  <p:nvPr/>
                </p:nvSpPr>
                <p:spPr>
                  <a:xfrm>
                    <a:off x="1014390" y="5974257"/>
                    <a:ext cx="46763" cy="64267"/>
                  </a:xfrm>
                  <a:custGeom>
                    <a:avLst/>
                    <a:gdLst>
                      <a:gd name="connsiteX0" fmla="*/ 23382 w 46763"/>
                      <a:gd name="connsiteY0" fmla="*/ 64267 h 64267"/>
                      <a:gd name="connsiteX1" fmla="*/ 46764 w 46763"/>
                      <a:gd name="connsiteY1" fmla="*/ 32134 h 64267"/>
                      <a:gd name="connsiteX2" fmla="*/ 23382 w 46763"/>
                      <a:gd name="connsiteY2" fmla="*/ 0 h 64267"/>
                      <a:gd name="connsiteX3" fmla="*/ 0 w 46763"/>
                      <a:gd name="connsiteY3" fmla="*/ 32134 h 64267"/>
                      <a:gd name="connsiteX4" fmla="*/ 23382 w 46763"/>
                      <a:gd name="connsiteY4" fmla="*/ 64267 h 64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63" h="64267">
                        <a:moveTo>
                          <a:pt x="23382" y="64267"/>
                        </a:moveTo>
                        <a:cubicBezTo>
                          <a:pt x="36314" y="64267"/>
                          <a:pt x="46764" y="49899"/>
                          <a:pt x="46764" y="32134"/>
                        </a:cubicBezTo>
                        <a:cubicBezTo>
                          <a:pt x="46764" y="14369"/>
                          <a:pt x="36314" y="0"/>
                          <a:pt x="23382" y="0"/>
                        </a:cubicBezTo>
                        <a:cubicBezTo>
                          <a:pt x="10450" y="0"/>
                          <a:pt x="0" y="14369"/>
                          <a:pt x="0" y="32134"/>
                        </a:cubicBezTo>
                        <a:cubicBezTo>
                          <a:pt x="0" y="49899"/>
                          <a:pt x="10450" y="64267"/>
                          <a:pt x="23382" y="6426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61" name="Freeform: Shape 860">
                    <a:extLst>
                      <a:ext uri="{FF2B5EF4-FFF2-40B4-BE49-F238E27FC236}">
                        <a16:creationId xmlns:a16="http://schemas.microsoft.com/office/drawing/2014/main" id="{1A4B0619-AE3C-18BD-4C6E-DB32FC263F7C}"/>
                      </a:ext>
                    </a:extLst>
                  </p:cNvPr>
                  <p:cNvSpPr/>
                  <p:nvPr/>
                </p:nvSpPr>
                <p:spPr>
                  <a:xfrm>
                    <a:off x="1009687" y="5967986"/>
                    <a:ext cx="56168" cy="77068"/>
                  </a:xfrm>
                  <a:custGeom>
                    <a:avLst/>
                    <a:gdLst>
                      <a:gd name="connsiteX0" fmla="*/ 28084 w 56168"/>
                      <a:gd name="connsiteY0" fmla="*/ 77069 h 77068"/>
                      <a:gd name="connsiteX1" fmla="*/ 0 w 56168"/>
                      <a:gd name="connsiteY1" fmla="*/ 38534 h 77068"/>
                      <a:gd name="connsiteX2" fmla="*/ 28084 w 56168"/>
                      <a:gd name="connsiteY2" fmla="*/ 0 h 77068"/>
                      <a:gd name="connsiteX3" fmla="*/ 56169 w 56168"/>
                      <a:gd name="connsiteY3" fmla="*/ 38534 h 77068"/>
                      <a:gd name="connsiteX4" fmla="*/ 28084 w 56168"/>
                      <a:gd name="connsiteY4" fmla="*/ 77069 h 77068"/>
                      <a:gd name="connsiteX5" fmla="*/ 28084 w 56168"/>
                      <a:gd name="connsiteY5" fmla="*/ 12932 h 77068"/>
                      <a:gd name="connsiteX6" fmla="*/ 9405 w 56168"/>
                      <a:gd name="connsiteY6" fmla="*/ 38534 h 77068"/>
                      <a:gd name="connsiteX7" fmla="*/ 28084 w 56168"/>
                      <a:gd name="connsiteY7" fmla="*/ 64137 h 77068"/>
                      <a:gd name="connsiteX8" fmla="*/ 46764 w 56168"/>
                      <a:gd name="connsiteY8" fmla="*/ 38534 h 77068"/>
                      <a:gd name="connsiteX9" fmla="*/ 28084 w 56168"/>
                      <a:gd name="connsiteY9" fmla="*/ 12932 h 7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168" h="77068">
                        <a:moveTo>
                          <a:pt x="28084" y="77069"/>
                        </a:moveTo>
                        <a:cubicBezTo>
                          <a:pt x="12540" y="77069"/>
                          <a:pt x="0" y="59826"/>
                          <a:pt x="0" y="38534"/>
                        </a:cubicBezTo>
                        <a:cubicBezTo>
                          <a:pt x="0" y="17243"/>
                          <a:pt x="12671" y="0"/>
                          <a:pt x="28084" y="0"/>
                        </a:cubicBezTo>
                        <a:cubicBezTo>
                          <a:pt x="43498" y="0"/>
                          <a:pt x="56169" y="17243"/>
                          <a:pt x="56169" y="38534"/>
                        </a:cubicBezTo>
                        <a:cubicBezTo>
                          <a:pt x="56169" y="59826"/>
                          <a:pt x="43498" y="77069"/>
                          <a:pt x="28084" y="77069"/>
                        </a:cubicBezTo>
                        <a:close/>
                        <a:moveTo>
                          <a:pt x="28084" y="12932"/>
                        </a:moveTo>
                        <a:cubicBezTo>
                          <a:pt x="17765" y="12932"/>
                          <a:pt x="9405" y="24427"/>
                          <a:pt x="9405" y="38534"/>
                        </a:cubicBezTo>
                        <a:cubicBezTo>
                          <a:pt x="9405" y="52642"/>
                          <a:pt x="17765" y="64137"/>
                          <a:pt x="28084" y="64137"/>
                        </a:cubicBezTo>
                        <a:cubicBezTo>
                          <a:pt x="38404" y="64137"/>
                          <a:pt x="46764" y="52642"/>
                          <a:pt x="46764" y="38534"/>
                        </a:cubicBezTo>
                        <a:cubicBezTo>
                          <a:pt x="46764" y="24427"/>
                          <a:pt x="38404" y="12932"/>
                          <a:pt x="28084" y="1293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nvGrpSpPr>
              <p:cNvPr id="862" name="Graphic 717">
                <a:extLst>
                  <a:ext uri="{FF2B5EF4-FFF2-40B4-BE49-F238E27FC236}">
                    <a16:creationId xmlns:a16="http://schemas.microsoft.com/office/drawing/2014/main" id="{9E45F8E9-51DA-5AF0-CE9A-AF95B8AEAB22}"/>
                  </a:ext>
                </a:extLst>
              </p:cNvPr>
              <p:cNvGrpSpPr/>
              <p:nvPr/>
            </p:nvGrpSpPr>
            <p:grpSpPr>
              <a:xfrm>
                <a:off x="8928746" y="3557108"/>
                <a:ext cx="1004337" cy="800801"/>
                <a:chOff x="2990351" y="4887328"/>
                <a:chExt cx="744430" cy="576577"/>
              </a:xfrm>
              <a:noFill/>
            </p:grpSpPr>
            <p:grpSp>
              <p:nvGrpSpPr>
                <p:cNvPr id="863" name="Graphic 717">
                  <a:extLst>
                    <a:ext uri="{FF2B5EF4-FFF2-40B4-BE49-F238E27FC236}">
                      <a16:creationId xmlns:a16="http://schemas.microsoft.com/office/drawing/2014/main" id="{E9817934-2647-F2A2-B393-9C1D21223E52}"/>
                    </a:ext>
                  </a:extLst>
                </p:cNvPr>
                <p:cNvGrpSpPr/>
                <p:nvPr/>
              </p:nvGrpSpPr>
              <p:grpSpPr>
                <a:xfrm>
                  <a:off x="3031628" y="4887328"/>
                  <a:ext cx="605184" cy="576577"/>
                  <a:chOff x="3031628" y="4887328"/>
                  <a:chExt cx="605184" cy="576577"/>
                </a:xfrm>
                <a:grpFill/>
              </p:grpSpPr>
              <p:grpSp>
                <p:nvGrpSpPr>
                  <p:cNvPr id="864" name="Graphic 717">
                    <a:extLst>
                      <a:ext uri="{FF2B5EF4-FFF2-40B4-BE49-F238E27FC236}">
                        <a16:creationId xmlns:a16="http://schemas.microsoft.com/office/drawing/2014/main" id="{4078B98B-DF70-B2D9-D1A5-3B9F85558A06}"/>
                      </a:ext>
                    </a:extLst>
                  </p:cNvPr>
                  <p:cNvGrpSpPr/>
                  <p:nvPr/>
                </p:nvGrpSpPr>
                <p:grpSpPr>
                  <a:xfrm>
                    <a:off x="3393528" y="5224142"/>
                    <a:ext cx="243284" cy="239763"/>
                    <a:chOff x="3393528" y="5224142"/>
                    <a:chExt cx="243284" cy="239763"/>
                  </a:xfrm>
                  <a:grpFill/>
                </p:grpSpPr>
                <p:sp>
                  <p:nvSpPr>
                    <p:cNvPr id="865" name="Freeform: Shape 864">
                      <a:extLst>
                        <a:ext uri="{FF2B5EF4-FFF2-40B4-BE49-F238E27FC236}">
                          <a16:creationId xmlns:a16="http://schemas.microsoft.com/office/drawing/2014/main" id="{154C7672-FF48-A28C-BC56-B2C1D7E667FC}"/>
                        </a:ext>
                      </a:extLst>
                    </p:cNvPr>
                    <p:cNvSpPr/>
                    <p:nvPr/>
                  </p:nvSpPr>
                  <p:spPr>
                    <a:xfrm>
                      <a:off x="3398422" y="5229565"/>
                      <a:ext cx="233166" cy="229377"/>
                    </a:xfrm>
                    <a:custGeom>
                      <a:avLst/>
                      <a:gdLst>
                        <a:gd name="connsiteX0" fmla="*/ 131 w 233166"/>
                        <a:gd name="connsiteY0" fmla="*/ 51466 h 229377"/>
                        <a:gd name="connsiteX1" fmla="*/ 108680 w 233166"/>
                        <a:gd name="connsiteY1" fmla="*/ 158317 h 229377"/>
                        <a:gd name="connsiteX2" fmla="*/ 167722 w 233166"/>
                        <a:gd name="connsiteY2" fmla="*/ 212265 h 229377"/>
                        <a:gd name="connsiteX3" fmla="*/ 205081 w 233166"/>
                        <a:gd name="connsiteY3" fmla="*/ 229377 h 229377"/>
                        <a:gd name="connsiteX4" fmla="*/ 233165 w 233166"/>
                        <a:gd name="connsiteY4" fmla="*/ 202468 h 229377"/>
                        <a:gd name="connsiteX5" fmla="*/ 216968 w 233166"/>
                        <a:gd name="connsiteY5" fmla="*/ 172556 h 229377"/>
                        <a:gd name="connsiteX6" fmla="*/ 36575 w 233166"/>
                        <a:gd name="connsiteY6" fmla="*/ 0 h 229377"/>
                        <a:gd name="connsiteX7" fmla="*/ 0 w 233166"/>
                        <a:gd name="connsiteY7" fmla="*/ 51597 h 22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166" h="229377">
                          <a:moveTo>
                            <a:pt x="131" y="51466"/>
                          </a:moveTo>
                          <a:cubicBezTo>
                            <a:pt x="36314" y="87127"/>
                            <a:pt x="72497" y="122657"/>
                            <a:pt x="108680" y="158317"/>
                          </a:cubicBezTo>
                          <a:cubicBezTo>
                            <a:pt x="127751" y="177127"/>
                            <a:pt x="146953" y="195937"/>
                            <a:pt x="167722" y="212265"/>
                          </a:cubicBezTo>
                          <a:cubicBezTo>
                            <a:pt x="178956" y="221017"/>
                            <a:pt x="191496" y="229377"/>
                            <a:pt x="205081" y="229377"/>
                          </a:cubicBezTo>
                          <a:cubicBezTo>
                            <a:pt x="218796" y="229377"/>
                            <a:pt x="233296" y="217882"/>
                            <a:pt x="233165" y="202468"/>
                          </a:cubicBezTo>
                          <a:cubicBezTo>
                            <a:pt x="233165" y="190451"/>
                            <a:pt x="224805" y="180785"/>
                            <a:pt x="216968" y="172556"/>
                          </a:cubicBezTo>
                          <a:cubicBezTo>
                            <a:pt x="159362" y="111815"/>
                            <a:pt x="99144" y="54209"/>
                            <a:pt x="36575" y="0"/>
                          </a:cubicBezTo>
                          <a:cubicBezTo>
                            <a:pt x="25080" y="16851"/>
                            <a:pt x="13585" y="33571"/>
                            <a:pt x="0" y="51597"/>
                          </a:cubicBezTo>
                          <a:close/>
                        </a:path>
                      </a:pathLst>
                    </a:custGeom>
                    <a:grpFill/>
                    <a:ln w="26078" cap="flat">
                      <a:solidFill>
                        <a:schemeClr val="tx2">
                          <a:lumMod val="60000"/>
                          <a:lumOff val="40000"/>
                          <a:alpha val="54000"/>
                        </a:schemeClr>
                      </a:solidFill>
                      <a:prstDash val="solid"/>
                      <a:miter/>
                    </a:ln>
                  </p:spPr>
                  <p:txBody>
                    <a:bodyPr rtlCol="0" anchor="ctr"/>
                    <a:lstStyle/>
                    <a:p>
                      <a:endParaRPr lang="en-US" dirty="0"/>
                    </a:p>
                  </p:txBody>
                </p:sp>
                <p:sp>
                  <p:nvSpPr>
                    <p:cNvPr id="866" name="Freeform: Shape 865">
                      <a:extLst>
                        <a:ext uri="{FF2B5EF4-FFF2-40B4-BE49-F238E27FC236}">
                          <a16:creationId xmlns:a16="http://schemas.microsoft.com/office/drawing/2014/main" id="{A062A606-95DD-13AF-5D26-59FD8E4BE98F}"/>
                        </a:ext>
                      </a:extLst>
                    </p:cNvPr>
                    <p:cNvSpPr/>
                    <p:nvPr/>
                  </p:nvSpPr>
                  <p:spPr>
                    <a:xfrm>
                      <a:off x="3393528" y="5224142"/>
                      <a:ext cx="243284" cy="239763"/>
                    </a:xfrm>
                    <a:custGeom>
                      <a:avLst/>
                      <a:gdLst>
                        <a:gd name="connsiteX0" fmla="*/ 210106 w 243284"/>
                        <a:gd name="connsiteY0" fmla="*/ 239764 h 239763"/>
                        <a:gd name="connsiteX1" fmla="*/ 210106 w 243284"/>
                        <a:gd name="connsiteY1" fmla="*/ 239764 h 239763"/>
                        <a:gd name="connsiteX2" fmla="*/ 169612 w 243284"/>
                        <a:gd name="connsiteY2" fmla="*/ 221607 h 239763"/>
                        <a:gd name="connsiteX3" fmla="*/ 110048 w 243284"/>
                        <a:gd name="connsiteY3" fmla="*/ 167267 h 239763"/>
                        <a:gd name="connsiteX4" fmla="*/ 1498 w 243284"/>
                        <a:gd name="connsiteY4" fmla="*/ 60416 h 239763"/>
                        <a:gd name="connsiteX5" fmla="*/ 976 w 243284"/>
                        <a:gd name="connsiteY5" fmla="*/ 53754 h 239763"/>
                        <a:gd name="connsiteX6" fmla="*/ 37420 w 243284"/>
                        <a:gd name="connsiteY6" fmla="*/ 2288 h 239763"/>
                        <a:gd name="connsiteX7" fmla="*/ 40947 w 243284"/>
                        <a:gd name="connsiteY7" fmla="*/ 67 h 239763"/>
                        <a:gd name="connsiteX8" fmla="*/ 44865 w 243284"/>
                        <a:gd name="connsiteY8" fmla="*/ 1243 h 239763"/>
                        <a:gd name="connsiteX9" fmla="*/ 225650 w 243284"/>
                        <a:gd name="connsiteY9" fmla="*/ 174190 h 239763"/>
                        <a:gd name="connsiteX10" fmla="*/ 243285 w 243284"/>
                        <a:gd name="connsiteY10" fmla="*/ 207630 h 239763"/>
                        <a:gd name="connsiteX11" fmla="*/ 234141 w 243284"/>
                        <a:gd name="connsiteY11" fmla="*/ 229444 h 239763"/>
                        <a:gd name="connsiteX12" fmla="*/ 210236 w 243284"/>
                        <a:gd name="connsiteY12" fmla="*/ 239764 h 239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284" h="239763">
                          <a:moveTo>
                            <a:pt x="210106" y="239764"/>
                          </a:moveTo>
                          <a:lnTo>
                            <a:pt x="210106" y="239764"/>
                          </a:lnTo>
                          <a:cubicBezTo>
                            <a:pt x="194954" y="239764"/>
                            <a:pt x="181630" y="231012"/>
                            <a:pt x="169612" y="221607"/>
                          </a:cubicBezTo>
                          <a:cubicBezTo>
                            <a:pt x="148582" y="205148"/>
                            <a:pt x="128988" y="185816"/>
                            <a:pt x="110048" y="167267"/>
                          </a:cubicBezTo>
                          <a:lnTo>
                            <a:pt x="1498" y="60416"/>
                          </a:lnTo>
                          <a:cubicBezTo>
                            <a:pt x="-331" y="58587"/>
                            <a:pt x="-461" y="55844"/>
                            <a:pt x="976" y="53754"/>
                          </a:cubicBezTo>
                          <a:cubicBezTo>
                            <a:pt x="14560" y="35858"/>
                            <a:pt x="26186" y="18747"/>
                            <a:pt x="37420" y="2288"/>
                          </a:cubicBezTo>
                          <a:cubicBezTo>
                            <a:pt x="38204" y="1112"/>
                            <a:pt x="39510" y="328"/>
                            <a:pt x="40947" y="67"/>
                          </a:cubicBezTo>
                          <a:cubicBezTo>
                            <a:pt x="42384" y="-194"/>
                            <a:pt x="43821" y="328"/>
                            <a:pt x="44865" y="1243"/>
                          </a:cubicBezTo>
                          <a:cubicBezTo>
                            <a:pt x="107304" y="55322"/>
                            <a:pt x="168045" y="113580"/>
                            <a:pt x="225650" y="174190"/>
                          </a:cubicBezTo>
                          <a:cubicBezTo>
                            <a:pt x="234141" y="183073"/>
                            <a:pt x="243154" y="193784"/>
                            <a:pt x="243285" y="207630"/>
                          </a:cubicBezTo>
                          <a:cubicBezTo>
                            <a:pt x="243285" y="215598"/>
                            <a:pt x="240019" y="223436"/>
                            <a:pt x="234141" y="229444"/>
                          </a:cubicBezTo>
                          <a:cubicBezTo>
                            <a:pt x="227740" y="235845"/>
                            <a:pt x="218858" y="239764"/>
                            <a:pt x="210236" y="239764"/>
                          </a:cubicBezTo>
                          <a:close/>
                        </a:path>
                      </a:pathLst>
                    </a:custGeom>
                    <a:grpFill/>
                    <a:ln w="26078" cap="flat">
                      <a:solidFill>
                        <a:schemeClr val="tx2">
                          <a:lumMod val="60000"/>
                          <a:lumOff val="40000"/>
                          <a:alpha val="54000"/>
                        </a:schemeClr>
                      </a:solidFill>
                      <a:prstDash val="solid"/>
                      <a:miter/>
                    </a:ln>
                  </p:spPr>
                  <p:txBody>
                    <a:bodyPr rtlCol="0" anchor="ctr"/>
                    <a:lstStyle/>
                    <a:p>
                      <a:endParaRPr lang="en-US" dirty="0"/>
                    </a:p>
                  </p:txBody>
                </p:sp>
              </p:grpSp>
              <p:sp>
                <p:nvSpPr>
                  <p:cNvPr id="867" name="Freeform: Shape 866">
                    <a:extLst>
                      <a:ext uri="{FF2B5EF4-FFF2-40B4-BE49-F238E27FC236}">
                        <a16:creationId xmlns:a16="http://schemas.microsoft.com/office/drawing/2014/main" id="{D6317619-DF4F-FCC8-ACA7-53D3097388BE}"/>
                      </a:ext>
                    </a:extLst>
                  </p:cNvPr>
                  <p:cNvSpPr/>
                  <p:nvPr/>
                </p:nvSpPr>
                <p:spPr>
                  <a:xfrm>
                    <a:off x="3031628" y="4887328"/>
                    <a:ext cx="451439" cy="451439"/>
                  </a:xfrm>
                  <a:custGeom>
                    <a:avLst/>
                    <a:gdLst>
                      <a:gd name="connsiteX0" fmla="*/ 225720 w 451439"/>
                      <a:gd name="connsiteY0" fmla="*/ 0 h 451439"/>
                      <a:gd name="connsiteX1" fmla="*/ 0 w 451439"/>
                      <a:gd name="connsiteY1" fmla="*/ 225720 h 451439"/>
                      <a:gd name="connsiteX2" fmla="*/ 225720 w 451439"/>
                      <a:gd name="connsiteY2" fmla="*/ 451439 h 451439"/>
                      <a:gd name="connsiteX3" fmla="*/ 451439 w 451439"/>
                      <a:gd name="connsiteY3" fmla="*/ 225720 h 451439"/>
                      <a:gd name="connsiteX4" fmla="*/ 225720 w 451439"/>
                      <a:gd name="connsiteY4" fmla="*/ 0 h 451439"/>
                      <a:gd name="connsiteX5" fmla="*/ 225720 w 451439"/>
                      <a:gd name="connsiteY5" fmla="*/ 397099 h 451439"/>
                      <a:gd name="connsiteX6" fmla="*/ 54340 w 451439"/>
                      <a:gd name="connsiteY6" fmla="*/ 225720 h 451439"/>
                      <a:gd name="connsiteX7" fmla="*/ 225720 w 451439"/>
                      <a:gd name="connsiteY7" fmla="*/ 54340 h 451439"/>
                      <a:gd name="connsiteX8" fmla="*/ 397099 w 451439"/>
                      <a:gd name="connsiteY8" fmla="*/ 225720 h 451439"/>
                      <a:gd name="connsiteX9" fmla="*/ 225720 w 451439"/>
                      <a:gd name="connsiteY9" fmla="*/ 397099 h 451439"/>
                      <a:gd name="connsiteX10" fmla="*/ 225720 w 451439"/>
                      <a:gd name="connsiteY10" fmla="*/ 397099 h 451439"/>
                      <a:gd name="connsiteX11" fmla="*/ 54340 w 451439"/>
                      <a:gd name="connsiteY11" fmla="*/ 225720 h 451439"/>
                      <a:gd name="connsiteX12" fmla="*/ 225720 w 451439"/>
                      <a:gd name="connsiteY12" fmla="*/ 54340 h 451439"/>
                      <a:gd name="connsiteX13" fmla="*/ 397099 w 451439"/>
                      <a:gd name="connsiteY13" fmla="*/ 225720 h 451439"/>
                      <a:gd name="connsiteX14" fmla="*/ 225720 w 451439"/>
                      <a:gd name="connsiteY14" fmla="*/ 397099 h 45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439" h="451439">
                        <a:moveTo>
                          <a:pt x="225720" y="0"/>
                        </a:moveTo>
                        <a:cubicBezTo>
                          <a:pt x="101104" y="0"/>
                          <a:pt x="0" y="101104"/>
                          <a:pt x="0" y="225720"/>
                        </a:cubicBezTo>
                        <a:cubicBezTo>
                          <a:pt x="0" y="350336"/>
                          <a:pt x="101104" y="451439"/>
                          <a:pt x="225720" y="451439"/>
                        </a:cubicBezTo>
                        <a:cubicBezTo>
                          <a:pt x="350336" y="451439"/>
                          <a:pt x="451439" y="350336"/>
                          <a:pt x="451439" y="225720"/>
                        </a:cubicBezTo>
                        <a:cubicBezTo>
                          <a:pt x="451439" y="101104"/>
                          <a:pt x="350336" y="0"/>
                          <a:pt x="225720" y="0"/>
                        </a:cubicBezTo>
                        <a:close/>
                        <a:moveTo>
                          <a:pt x="225720" y="397099"/>
                        </a:moveTo>
                        <a:cubicBezTo>
                          <a:pt x="131017" y="397099"/>
                          <a:pt x="54340" y="320423"/>
                          <a:pt x="54340" y="225720"/>
                        </a:cubicBezTo>
                        <a:cubicBezTo>
                          <a:pt x="54340" y="131017"/>
                          <a:pt x="131017" y="54340"/>
                          <a:pt x="225720" y="54340"/>
                        </a:cubicBezTo>
                        <a:cubicBezTo>
                          <a:pt x="320423" y="54340"/>
                          <a:pt x="397099" y="131017"/>
                          <a:pt x="397099" y="225720"/>
                        </a:cubicBezTo>
                        <a:cubicBezTo>
                          <a:pt x="397099" y="320423"/>
                          <a:pt x="320423" y="397099"/>
                          <a:pt x="225720" y="397099"/>
                        </a:cubicBezTo>
                        <a:close/>
                        <a:moveTo>
                          <a:pt x="225720" y="397099"/>
                        </a:moveTo>
                        <a:cubicBezTo>
                          <a:pt x="131017" y="397099"/>
                          <a:pt x="54340" y="320423"/>
                          <a:pt x="54340" y="225720"/>
                        </a:cubicBezTo>
                        <a:cubicBezTo>
                          <a:pt x="54340" y="131017"/>
                          <a:pt x="131017" y="54340"/>
                          <a:pt x="225720" y="54340"/>
                        </a:cubicBezTo>
                        <a:cubicBezTo>
                          <a:pt x="320423" y="54340"/>
                          <a:pt x="397099" y="131017"/>
                          <a:pt x="397099" y="225720"/>
                        </a:cubicBezTo>
                        <a:cubicBezTo>
                          <a:pt x="397099" y="320423"/>
                          <a:pt x="320423" y="397099"/>
                          <a:pt x="225720" y="397099"/>
                        </a:cubicBezTo>
                        <a:close/>
                      </a:path>
                    </a:pathLst>
                  </a:custGeom>
                  <a:grpFill/>
                  <a:ln w="26078" cap="flat">
                    <a:solidFill>
                      <a:schemeClr val="tx2">
                        <a:lumMod val="60000"/>
                        <a:lumOff val="40000"/>
                        <a:alpha val="54000"/>
                      </a:schemeClr>
                    </a:solidFill>
                    <a:prstDash val="solid"/>
                    <a:miter/>
                  </a:ln>
                </p:spPr>
                <p:txBody>
                  <a:bodyPr rtlCol="0" anchor="ctr"/>
                  <a:lstStyle/>
                  <a:p>
                    <a:endParaRPr lang="en-US" dirty="0"/>
                  </a:p>
                </p:txBody>
              </p:sp>
            </p:grpSp>
            <p:grpSp>
              <p:nvGrpSpPr>
                <p:cNvPr id="868" name="Graphic 717">
                  <a:extLst>
                    <a:ext uri="{FF2B5EF4-FFF2-40B4-BE49-F238E27FC236}">
                      <a16:creationId xmlns:a16="http://schemas.microsoft.com/office/drawing/2014/main" id="{F50771A9-A8AC-7490-940F-F68E85AB80BC}"/>
                    </a:ext>
                  </a:extLst>
                </p:cNvPr>
                <p:cNvGrpSpPr/>
                <p:nvPr/>
              </p:nvGrpSpPr>
              <p:grpSpPr>
                <a:xfrm>
                  <a:off x="3257086" y="5046298"/>
                  <a:ext cx="107112" cy="107112"/>
                  <a:chOff x="3257086" y="5046298"/>
                  <a:chExt cx="107112" cy="107112"/>
                </a:xfrm>
                <a:grpFill/>
              </p:grpSpPr>
              <p:sp>
                <p:nvSpPr>
                  <p:cNvPr id="869" name="Freeform: Shape 868">
                    <a:extLst>
                      <a:ext uri="{FF2B5EF4-FFF2-40B4-BE49-F238E27FC236}">
                        <a16:creationId xmlns:a16="http://schemas.microsoft.com/office/drawing/2014/main" id="{83F5FA6B-108B-65C5-A4B1-A7946C68D8B8}"/>
                      </a:ext>
                    </a:extLst>
                  </p:cNvPr>
                  <p:cNvSpPr/>
                  <p:nvPr/>
                </p:nvSpPr>
                <p:spPr>
                  <a:xfrm>
                    <a:off x="3262050" y="5051262"/>
                    <a:ext cx="97184" cy="97184"/>
                  </a:xfrm>
                  <a:custGeom>
                    <a:avLst/>
                    <a:gdLst>
                      <a:gd name="connsiteX0" fmla="*/ 97185 w 97184"/>
                      <a:gd name="connsiteY0" fmla="*/ 48592 h 97184"/>
                      <a:gd name="connsiteX1" fmla="*/ 48592 w 97184"/>
                      <a:gd name="connsiteY1" fmla="*/ 97185 h 97184"/>
                      <a:gd name="connsiteX2" fmla="*/ 0 w 97184"/>
                      <a:gd name="connsiteY2" fmla="*/ 48592 h 97184"/>
                      <a:gd name="connsiteX3" fmla="*/ 48592 w 97184"/>
                      <a:gd name="connsiteY3" fmla="*/ 0 h 97184"/>
                      <a:gd name="connsiteX4" fmla="*/ 97185 w 97184"/>
                      <a:gd name="connsiteY4" fmla="*/ 48592 h 97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84" h="97184">
                        <a:moveTo>
                          <a:pt x="97185" y="48592"/>
                        </a:moveTo>
                        <a:cubicBezTo>
                          <a:pt x="97185" y="75429"/>
                          <a:pt x="75429" y="97185"/>
                          <a:pt x="48592" y="97185"/>
                        </a:cubicBezTo>
                        <a:cubicBezTo>
                          <a:pt x="21755" y="97185"/>
                          <a:pt x="0" y="75429"/>
                          <a:pt x="0" y="48592"/>
                        </a:cubicBezTo>
                        <a:cubicBezTo>
                          <a:pt x="0" y="21755"/>
                          <a:pt x="21755" y="0"/>
                          <a:pt x="48592" y="0"/>
                        </a:cubicBezTo>
                        <a:cubicBezTo>
                          <a:pt x="75429" y="0"/>
                          <a:pt x="97185" y="21755"/>
                          <a:pt x="97185" y="4859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70" name="Freeform: Shape 869">
                    <a:extLst>
                      <a:ext uri="{FF2B5EF4-FFF2-40B4-BE49-F238E27FC236}">
                        <a16:creationId xmlns:a16="http://schemas.microsoft.com/office/drawing/2014/main" id="{09F31A06-5742-0BF9-20FC-D15552814A31}"/>
                      </a:ext>
                    </a:extLst>
                  </p:cNvPr>
                  <p:cNvSpPr/>
                  <p:nvPr/>
                </p:nvSpPr>
                <p:spPr>
                  <a:xfrm>
                    <a:off x="3257086" y="5046298"/>
                    <a:ext cx="107112" cy="107112"/>
                  </a:xfrm>
                  <a:custGeom>
                    <a:avLst/>
                    <a:gdLst>
                      <a:gd name="connsiteX0" fmla="*/ 53556 w 107112"/>
                      <a:gd name="connsiteY0" fmla="*/ 107112 h 107112"/>
                      <a:gd name="connsiteX1" fmla="*/ 0 w 107112"/>
                      <a:gd name="connsiteY1" fmla="*/ 53556 h 107112"/>
                      <a:gd name="connsiteX2" fmla="*/ 53556 w 107112"/>
                      <a:gd name="connsiteY2" fmla="*/ 0 h 107112"/>
                      <a:gd name="connsiteX3" fmla="*/ 107112 w 107112"/>
                      <a:gd name="connsiteY3" fmla="*/ 53556 h 107112"/>
                      <a:gd name="connsiteX4" fmla="*/ 53556 w 107112"/>
                      <a:gd name="connsiteY4" fmla="*/ 107112 h 107112"/>
                      <a:gd name="connsiteX5" fmla="*/ 53556 w 107112"/>
                      <a:gd name="connsiteY5" fmla="*/ 10058 h 107112"/>
                      <a:gd name="connsiteX6" fmla="*/ 10058 w 107112"/>
                      <a:gd name="connsiteY6" fmla="*/ 53556 h 107112"/>
                      <a:gd name="connsiteX7" fmla="*/ 53556 w 107112"/>
                      <a:gd name="connsiteY7" fmla="*/ 97054 h 107112"/>
                      <a:gd name="connsiteX8" fmla="*/ 97054 w 107112"/>
                      <a:gd name="connsiteY8" fmla="*/ 53556 h 107112"/>
                      <a:gd name="connsiteX9" fmla="*/ 53556 w 107112"/>
                      <a:gd name="connsiteY9" fmla="*/ 10058 h 107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12" h="107112">
                        <a:moveTo>
                          <a:pt x="53556" y="107112"/>
                        </a:moveTo>
                        <a:cubicBezTo>
                          <a:pt x="24035" y="107112"/>
                          <a:pt x="0" y="83077"/>
                          <a:pt x="0" y="53556"/>
                        </a:cubicBezTo>
                        <a:cubicBezTo>
                          <a:pt x="0" y="24035"/>
                          <a:pt x="24035" y="0"/>
                          <a:pt x="53556" y="0"/>
                        </a:cubicBezTo>
                        <a:cubicBezTo>
                          <a:pt x="83077" y="0"/>
                          <a:pt x="107112" y="24035"/>
                          <a:pt x="107112" y="53556"/>
                        </a:cubicBezTo>
                        <a:cubicBezTo>
                          <a:pt x="107112" y="83077"/>
                          <a:pt x="83077" y="107112"/>
                          <a:pt x="53556" y="107112"/>
                        </a:cubicBezTo>
                        <a:close/>
                        <a:moveTo>
                          <a:pt x="53556" y="10058"/>
                        </a:moveTo>
                        <a:cubicBezTo>
                          <a:pt x="29521" y="10058"/>
                          <a:pt x="10058" y="29521"/>
                          <a:pt x="10058" y="53556"/>
                        </a:cubicBezTo>
                        <a:cubicBezTo>
                          <a:pt x="10058" y="77591"/>
                          <a:pt x="29521" y="97054"/>
                          <a:pt x="53556" y="97054"/>
                        </a:cubicBezTo>
                        <a:cubicBezTo>
                          <a:pt x="77591" y="97054"/>
                          <a:pt x="97054" y="77591"/>
                          <a:pt x="97054" y="53556"/>
                        </a:cubicBezTo>
                        <a:cubicBezTo>
                          <a:pt x="97054" y="29521"/>
                          <a:pt x="77591" y="10058"/>
                          <a:pt x="53556" y="1005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sp>
              <p:nvSpPr>
                <p:cNvPr id="871" name="Freeform: Shape 870">
                  <a:extLst>
                    <a:ext uri="{FF2B5EF4-FFF2-40B4-BE49-F238E27FC236}">
                      <a16:creationId xmlns:a16="http://schemas.microsoft.com/office/drawing/2014/main" id="{5D5BBD4D-627A-FB6A-E0EA-BA6B796D542A}"/>
                    </a:ext>
                  </a:extLst>
                </p:cNvPr>
                <p:cNvSpPr/>
                <p:nvPr/>
              </p:nvSpPr>
              <p:spPr>
                <a:xfrm>
                  <a:off x="3032177" y="5282801"/>
                  <a:ext cx="83763" cy="97765"/>
                </a:xfrm>
                <a:custGeom>
                  <a:avLst/>
                  <a:gdLst>
                    <a:gd name="connsiteX0" fmla="*/ 5068 w 83763"/>
                    <a:gd name="connsiteY0" fmla="*/ 97766 h 97765"/>
                    <a:gd name="connsiteX1" fmla="*/ 1672 w 83763"/>
                    <a:gd name="connsiteY1" fmla="*/ 96460 h 97765"/>
                    <a:gd name="connsiteX2" fmla="*/ 1280 w 83763"/>
                    <a:gd name="connsiteY2" fmla="*/ 89406 h 97765"/>
                    <a:gd name="connsiteX3" fmla="*/ 74822 w 83763"/>
                    <a:gd name="connsiteY3" fmla="*/ 1887 h 97765"/>
                    <a:gd name="connsiteX4" fmla="*/ 81876 w 83763"/>
                    <a:gd name="connsiteY4" fmla="*/ 1104 h 97765"/>
                    <a:gd name="connsiteX5" fmla="*/ 82659 w 83763"/>
                    <a:gd name="connsiteY5" fmla="*/ 8158 h 97765"/>
                    <a:gd name="connsiteX6" fmla="*/ 8726 w 83763"/>
                    <a:gd name="connsiteY6" fmla="*/ 96068 h 97765"/>
                    <a:gd name="connsiteX7" fmla="*/ 4938 w 83763"/>
                    <a:gd name="connsiteY7" fmla="*/ 97766 h 9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63" h="97765">
                      <a:moveTo>
                        <a:pt x="5068" y="97766"/>
                      </a:moveTo>
                      <a:cubicBezTo>
                        <a:pt x="3893" y="97766"/>
                        <a:pt x="2717" y="97374"/>
                        <a:pt x="1672" y="96460"/>
                      </a:cubicBezTo>
                      <a:cubicBezTo>
                        <a:pt x="-418" y="94631"/>
                        <a:pt x="-549" y="91365"/>
                        <a:pt x="1280" y="89406"/>
                      </a:cubicBezTo>
                      <a:cubicBezTo>
                        <a:pt x="26491" y="61060"/>
                        <a:pt x="51179" y="31540"/>
                        <a:pt x="74822" y="1887"/>
                      </a:cubicBezTo>
                      <a:cubicBezTo>
                        <a:pt x="76520" y="-333"/>
                        <a:pt x="79786" y="-594"/>
                        <a:pt x="81876" y="1104"/>
                      </a:cubicBezTo>
                      <a:cubicBezTo>
                        <a:pt x="84096" y="2802"/>
                        <a:pt x="84357" y="6068"/>
                        <a:pt x="82659" y="8158"/>
                      </a:cubicBezTo>
                      <a:cubicBezTo>
                        <a:pt x="58886" y="37940"/>
                        <a:pt x="34067" y="67592"/>
                        <a:pt x="8726" y="96068"/>
                      </a:cubicBezTo>
                      <a:cubicBezTo>
                        <a:pt x="7681" y="97244"/>
                        <a:pt x="6375" y="97766"/>
                        <a:pt x="4938" y="9776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72" name="Freeform: Shape 871">
                  <a:extLst>
                    <a:ext uri="{FF2B5EF4-FFF2-40B4-BE49-F238E27FC236}">
                      <a16:creationId xmlns:a16="http://schemas.microsoft.com/office/drawing/2014/main" id="{E0D53C16-CB45-8197-A3ED-8392DD44451F}"/>
                    </a:ext>
                  </a:extLst>
                </p:cNvPr>
                <p:cNvSpPr/>
                <p:nvPr/>
              </p:nvSpPr>
              <p:spPr>
                <a:xfrm>
                  <a:off x="3476632" y="5046357"/>
                  <a:ext cx="213285" cy="183860"/>
                </a:xfrm>
                <a:custGeom>
                  <a:avLst/>
                  <a:gdLst>
                    <a:gd name="connsiteX0" fmla="*/ 117466 w 213285"/>
                    <a:gd name="connsiteY0" fmla="*/ 183730 h 183860"/>
                    <a:gd name="connsiteX1" fmla="*/ 114984 w 213285"/>
                    <a:gd name="connsiteY1" fmla="*/ 183077 h 183860"/>
                    <a:gd name="connsiteX2" fmla="*/ 2516 w 213285"/>
                    <a:gd name="connsiteY2" fmla="*/ 117634 h 183860"/>
                    <a:gd name="connsiteX3" fmla="*/ 687 w 213285"/>
                    <a:gd name="connsiteY3" fmla="*/ 110711 h 183860"/>
                    <a:gd name="connsiteX4" fmla="*/ 7611 w 213285"/>
                    <a:gd name="connsiteY4" fmla="*/ 108882 h 183860"/>
                    <a:gd name="connsiteX5" fmla="*/ 115507 w 213285"/>
                    <a:gd name="connsiteY5" fmla="*/ 171713 h 183860"/>
                    <a:gd name="connsiteX6" fmla="*/ 203809 w 213285"/>
                    <a:gd name="connsiteY6" fmla="*/ 2684 h 183860"/>
                    <a:gd name="connsiteX7" fmla="*/ 210602 w 213285"/>
                    <a:gd name="connsiteY7" fmla="*/ 594 h 183860"/>
                    <a:gd name="connsiteX8" fmla="*/ 212692 w 213285"/>
                    <a:gd name="connsiteY8" fmla="*/ 7387 h 183860"/>
                    <a:gd name="connsiteX9" fmla="*/ 122038 w 213285"/>
                    <a:gd name="connsiteY9" fmla="*/ 181118 h 183860"/>
                    <a:gd name="connsiteX10" fmla="*/ 118903 w 213285"/>
                    <a:gd name="connsiteY10" fmla="*/ 183599 h 183860"/>
                    <a:gd name="connsiteX11" fmla="*/ 117466 w 213285"/>
                    <a:gd name="connsiteY11" fmla="*/ 183861 h 18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3285" h="183860">
                      <a:moveTo>
                        <a:pt x="117466" y="183730"/>
                      </a:moveTo>
                      <a:cubicBezTo>
                        <a:pt x="116552" y="183730"/>
                        <a:pt x="115768" y="183469"/>
                        <a:pt x="114984" y="183077"/>
                      </a:cubicBezTo>
                      <a:lnTo>
                        <a:pt x="2516" y="117634"/>
                      </a:lnTo>
                      <a:cubicBezTo>
                        <a:pt x="165" y="116197"/>
                        <a:pt x="-750" y="113193"/>
                        <a:pt x="687" y="110711"/>
                      </a:cubicBezTo>
                      <a:cubicBezTo>
                        <a:pt x="2124" y="108359"/>
                        <a:pt x="5129" y="107445"/>
                        <a:pt x="7611" y="108882"/>
                      </a:cubicBezTo>
                      <a:lnTo>
                        <a:pt x="115507" y="171713"/>
                      </a:lnTo>
                      <a:lnTo>
                        <a:pt x="203809" y="2684"/>
                      </a:lnTo>
                      <a:cubicBezTo>
                        <a:pt x="205115" y="202"/>
                        <a:pt x="208120" y="-712"/>
                        <a:pt x="210602" y="594"/>
                      </a:cubicBezTo>
                      <a:cubicBezTo>
                        <a:pt x="213083" y="1900"/>
                        <a:pt x="213997" y="4905"/>
                        <a:pt x="212692" y="7387"/>
                      </a:cubicBezTo>
                      <a:lnTo>
                        <a:pt x="122038" y="181118"/>
                      </a:lnTo>
                      <a:cubicBezTo>
                        <a:pt x="121385" y="182293"/>
                        <a:pt x="120340" y="183207"/>
                        <a:pt x="118903" y="183599"/>
                      </a:cubicBezTo>
                      <a:cubicBezTo>
                        <a:pt x="118380" y="183730"/>
                        <a:pt x="117989" y="183861"/>
                        <a:pt x="117466" y="18386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873" name="Graphic 717">
                  <a:extLst>
                    <a:ext uri="{FF2B5EF4-FFF2-40B4-BE49-F238E27FC236}">
                      <a16:creationId xmlns:a16="http://schemas.microsoft.com/office/drawing/2014/main" id="{821CCDDB-C919-0C4C-B12B-DE1A3CE6A25E}"/>
                    </a:ext>
                  </a:extLst>
                </p:cNvPr>
                <p:cNvGrpSpPr/>
                <p:nvPr/>
              </p:nvGrpSpPr>
              <p:grpSpPr>
                <a:xfrm>
                  <a:off x="2990351" y="5354442"/>
                  <a:ext cx="62177" cy="72366"/>
                  <a:chOff x="2990351" y="5354442"/>
                  <a:chExt cx="62177" cy="72366"/>
                </a:xfrm>
                <a:grpFill/>
              </p:grpSpPr>
              <p:sp>
                <p:nvSpPr>
                  <p:cNvPr id="874" name="Freeform: Shape 873">
                    <a:extLst>
                      <a:ext uri="{FF2B5EF4-FFF2-40B4-BE49-F238E27FC236}">
                        <a16:creationId xmlns:a16="http://schemas.microsoft.com/office/drawing/2014/main" id="{1CF0C9C0-11FC-76D1-8096-1EF979CA1020}"/>
                      </a:ext>
                    </a:extLst>
                  </p:cNvPr>
                  <p:cNvSpPr/>
                  <p:nvPr/>
                </p:nvSpPr>
                <p:spPr>
                  <a:xfrm>
                    <a:off x="2994661" y="5359536"/>
                    <a:ext cx="53556" cy="62177"/>
                  </a:xfrm>
                  <a:custGeom>
                    <a:avLst/>
                    <a:gdLst>
                      <a:gd name="connsiteX0" fmla="*/ 0 w 53556"/>
                      <a:gd name="connsiteY0" fmla="*/ 31089 h 62177"/>
                      <a:gd name="connsiteX1" fmla="*/ 26778 w 53556"/>
                      <a:gd name="connsiteY1" fmla="*/ 0 h 62177"/>
                      <a:gd name="connsiteX2" fmla="*/ 53556 w 53556"/>
                      <a:gd name="connsiteY2" fmla="*/ 31089 h 62177"/>
                      <a:gd name="connsiteX3" fmla="*/ 26778 w 53556"/>
                      <a:gd name="connsiteY3" fmla="*/ 62178 h 62177"/>
                      <a:gd name="connsiteX4" fmla="*/ 0 w 53556"/>
                      <a:gd name="connsiteY4" fmla="*/ 31089 h 62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56" h="62177">
                        <a:moveTo>
                          <a:pt x="0" y="31089"/>
                        </a:moveTo>
                        <a:cubicBezTo>
                          <a:pt x="0" y="13977"/>
                          <a:pt x="12017" y="0"/>
                          <a:pt x="26778" y="0"/>
                        </a:cubicBezTo>
                        <a:cubicBezTo>
                          <a:pt x="41539" y="0"/>
                          <a:pt x="53556" y="13977"/>
                          <a:pt x="53556" y="31089"/>
                        </a:cubicBezTo>
                        <a:cubicBezTo>
                          <a:pt x="53556" y="48201"/>
                          <a:pt x="41539" y="62178"/>
                          <a:pt x="26778" y="62178"/>
                        </a:cubicBezTo>
                        <a:cubicBezTo>
                          <a:pt x="12017" y="62178"/>
                          <a:pt x="0" y="48201"/>
                          <a:pt x="0" y="310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75" name="Freeform: Shape 874">
                    <a:extLst>
                      <a:ext uri="{FF2B5EF4-FFF2-40B4-BE49-F238E27FC236}">
                        <a16:creationId xmlns:a16="http://schemas.microsoft.com/office/drawing/2014/main" id="{1B822085-2DE5-2EE7-5F25-05A920394D13}"/>
                      </a:ext>
                    </a:extLst>
                  </p:cNvPr>
                  <p:cNvSpPr/>
                  <p:nvPr/>
                </p:nvSpPr>
                <p:spPr>
                  <a:xfrm>
                    <a:off x="2990351" y="5354442"/>
                    <a:ext cx="62177" cy="72366"/>
                  </a:xfrm>
                  <a:custGeom>
                    <a:avLst/>
                    <a:gdLst>
                      <a:gd name="connsiteX0" fmla="*/ 31089 w 62177"/>
                      <a:gd name="connsiteY0" fmla="*/ 72366 h 72366"/>
                      <a:gd name="connsiteX1" fmla="*/ 0 w 62177"/>
                      <a:gd name="connsiteY1" fmla="*/ 36183 h 72366"/>
                      <a:gd name="connsiteX2" fmla="*/ 31089 w 62177"/>
                      <a:gd name="connsiteY2" fmla="*/ 0 h 72366"/>
                      <a:gd name="connsiteX3" fmla="*/ 62177 w 62177"/>
                      <a:gd name="connsiteY3" fmla="*/ 36183 h 72366"/>
                      <a:gd name="connsiteX4" fmla="*/ 31089 w 62177"/>
                      <a:gd name="connsiteY4" fmla="*/ 72366 h 72366"/>
                      <a:gd name="connsiteX5" fmla="*/ 31089 w 62177"/>
                      <a:gd name="connsiteY5" fmla="*/ 10189 h 72366"/>
                      <a:gd name="connsiteX6" fmla="*/ 8621 w 62177"/>
                      <a:gd name="connsiteY6" fmla="*/ 36183 h 72366"/>
                      <a:gd name="connsiteX7" fmla="*/ 31089 w 62177"/>
                      <a:gd name="connsiteY7" fmla="*/ 62178 h 72366"/>
                      <a:gd name="connsiteX8" fmla="*/ 53556 w 62177"/>
                      <a:gd name="connsiteY8" fmla="*/ 36183 h 72366"/>
                      <a:gd name="connsiteX9" fmla="*/ 31089 w 62177"/>
                      <a:gd name="connsiteY9" fmla="*/ 10189 h 72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177" h="72366">
                        <a:moveTo>
                          <a:pt x="31089" y="72366"/>
                        </a:moveTo>
                        <a:cubicBezTo>
                          <a:pt x="13977" y="72366"/>
                          <a:pt x="0" y="56169"/>
                          <a:pt x="0" y="36183"/>
                        </a:cubicBezTo>
                        <a:cubicBezTo>
                          <a:pt x="0" y="16198"/>
                          <a:pt x="13977" y="0"/>
                          <a:pt x="31089" y="0"/>
                        </a:cubicBezTo>
                        <a:cubicBezTo>
                          <a:pt x="48201" y="0"/>
                          <a:pt x="62177" y="16198"/>
                          <a:pt x="62177" y="36183"/>
                        </a:cubicBezTo>
                        <a:cubicBezTo>
                          <a:pt x="62177" y="56169"/>
                          <a:pt x="48201" y="72366"/>
                          <a:pt x="31089" y="72366"/>
                        </a:cubicBezTo>
                        <a:close/>
                        <a:moveTo>
                          <a:pt x="31089" y="10189"/>
                        </a:moveTo>
                        <a:cubicBezTo>
                          <a:pt x="18679" y="10189"/>
                          <a:pt x="8621" y="21815"/>
                          <a:pt x="8621" y="36183"/>
                        </a:cubicBezTo>
                        <a:cubicBezTo>
                          <a:pt x="8621" y="50552"/>
                          <a:pt x="18679" y="62178"/>
                          <a:pt x="31089" y="62178"/>
                        </a:cubicBezTo>
                        <a:cubicBezTo>
                          <a:pt x="43498" y="62178"/>
                          <a:pt x="53556" y="50552"/>
                          <a:pt x="53556" y="36183"/>
                        </a:cubicBezTo>
                        <a:cubicBezTo>
                          <a:pt x="53556" y="21815"/>
                          <a:pt x="43498" y="10189"/>
                          <a:pt x="31089" y="101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76" name="Graphic 717">
                  <a:extLst>
                    <a:ext uri="{FF2B5EF4-FFF2-40B4-BE49-F238E27FC236}">
                      <a16:creationId xmlns:a16="http://schemas.microsoft.com/office/drawing/2014/main" id="{3AFAFA9C-AD81-906B-541B-DCEBE27CAC05}"/>
                    </a:ext>
                  </a:extLst>
                </p:cNvPr>
                <p:cNvGrpSpPr/>
                <p:nvPr/>
              </p:nvGrpSpPr>
              <p:grpSpPr>
                <a:xfrm>
                  <a:off x="3662415" y="4983990"/>
                  <a:ext cx="72366" cy="72366"/>
                  <a:chOff x="3662415" y="4983990"/>
                  <a:chExt cx="72366" cy="72366"/>
                </a:xfrm>
                <a:grpFill/>
              </p:grpSpPr>
              <p:sp>
                <p:nvSpPr>
                  <p:cNvPr id="877" name="Freeform: Shape 876">
                    <a:extLst>
                      <a:ext uri="{FF2B5EF4-FFF2-40B4-BE49-F238E27FC236}">
                        <a16:creationId xmlns:a16="http://schemas.microsoft.com/office/drawing/2014/main" id="{3F5150F4-BF13-5E5D-88D6-B3E079371EA4}"/>
                      </a:ext>
                    </a:extLst>
                  </p:cNvPr>
                  <p:cNvSpPr/>
                  <p:nvPr/>
                </p:nvSpPr>
                <p:spPr>
                  <a:xfrm>
                    <a:off x="3667509" y="4989215"/>
                    <a:ext cx="62177" cy="62177"/>
                  </a:xfrm>
                  <a:custGeom>
                    <a:avLst/>
                    <a:gdLst>
                      <a:gd name="connsiteX0" fmla="*/ 0 w 62177"/>
                      <a:gd name="connsiteY0" fmla="*/ 31089 h 62177"/>
                      <a:gd name="connsiteX1" fmla="*/ 31089 w 62177"/>
                      <a:gd name="connsiteY1" fmla="*/ 0 h 62177"/>
                      <a:gd name="connsiteX2" fmla="*/ 62178 w 62177"/>
                      <a:gd name="connsiteY2" fmla="*/ 31089 h 62177"/>
                      <a:gd name="connsiteX3" fmla="*/ 31089 w 62177"/>
                      <a:gd name="connsiteY3" fmla="*/ 62177 h 62177"/>
                      <a:gd name="connsiteX4" fmla="*/ 0 w 62177"/>
                      <a:gd name="connsiteY4" fmla="*/ 31089 h 62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77" h="62177">
                        <a:moveTo>
                          <a:pt x="0" y="31089"/>
                        </a:moveTo>
                        <a:cubicBezTo>
                          <a:pt x="0" y="13977"/>
                          <a:pt x="13977" y="0"/>
                          <a:pt x="31089" y="0"/>
                        </a:cubicBezTo>
                        <a:cubicBezTo>
                          <a:pt x="48201" y="0"/>
                          <a:pt x="62178" y="13977"/>
                          <a:pt x="62178" y="31089"/>
                        </a:cubicBezTo>
                        <a:cubicBezTo>
                          <a:pt x="62178" y="48201"/>
                          <a:pt x="48201" y="62177"/>
                          <a:pt x="31089" y="62177"/>
                        </a:cubicBezTo>
                        <a:cubicBezTo>
                          <a:pt x="13977" y="62177"/>
                          <a:pt x="0" y="48201"/>
                          <a:pt x="0" y="310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78" name="Freeform: Shape 877">
                    <a:extLst>
                      <a:ext uri="{FF2B5EF4-FFF2-40B4-BE49-F238E27FC236}">
                        <a16:creationId xmlns:a16="http://schemas.microsoft.com/office/drawing/2014/main" id="{A3F2DCEB-858A-F79F-15F1-2094050A1E88}"/>
                      </a:ext>
                    </a:extLst>
                  </p:cNvPr>
                  <p:cNvSpPr/>
                  <p:nvPr/>
                </p:nvSpPr>
                <p:spPr>
                  <a:xfrm>
                    <a:off x="3662415" y="4983990"/>
                    <a:ext cx="72366" cy="72366"/>
                  </a:xfrm>
                  <a:custGeom>
                    <a:avLst/>
                    <a:gdLst>
                      <a:gd name="connsiteX0" fmla="*/ 36183 w 72366"/>
                      <a:gd name="connsiteY0" fmla="*/ 72366 h 72366"/>
                      <a:gd name="connsiteX1" fmla="*/ 0 w 72366"/>
                      <a:gd name="connsiteY1" fmla="*/ 36183 h 72366"/>
                      <a:gd name="connsiteX2" fmla="*/ 36183 w 72366"/>
                      <a:gd name="connsiteY2" fmla="*/ 0 h 72366"/>
                      <a:gd name="connsiteX3" fmla="*/ 72366 w 72366"/>
                      <a:gd name="connsiteY3" fmla="*/ 36183 h 72366"/>
                      <a:gd name="connsiteX4" fmla="*/ 36183 w 72366"/>
                      <a:gd name="connsiteY4" fmla="*/ 72366 h 72366"/>
                      <a:gd name="connsiteX5" fmla="*/ 36183 w 72366"/>
                      <a:gd name="connsiteY5" fmla="*/ 10189 h 72366"/>
                      <a:gd name="connsiteX6" fmla="*/ 10189 w 72366"/>
                      <a:gd name="connsiteY6" fmla="*/ 36183 h 72366"/>
                      <a:gd name="connsiteX7" fmla="*/ 36183 w 72366"/>
                      <a:gd name="connsiteY7" fmla="*/ 62177 h 72366"/>
                      <a:gd name="connsiteX8" fmla="*/ 62178 w 72366"/>
                      <a:gd name="connsiteY8" fmla="*/ 36183 h 72366"/>
                      <a:gd name="connsiteX9" fmla="*/ 36183 w 72366"/>
                      <a:gd name="connsiteY9" fmla="*/ 10189 h 72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66" h="72366">
                        <a:moveTo>
                          <a:pt x="36183" y="72366"/>
                        </a:moveTo>
                        <a:cubicBezTo>
                          <a:pt x="16328" y="72366"/>
                          <a:pt x="0" y="56168"/>
                          <a:pt x="0" y="36183"/>
                        </a:cubicBezTo>
                        <a:cubicBezTo>
                          <a:pt x="0" y="16197"/>
                          <a:pt x="16198" y="0"/>
                          <a:pt x="36183" y="0"/>
                        </a:cubicBezTo>
                        <a:cubicBezTo>
                          <a:pt x="56169" y="0"/>
                          <a:pt x="72366" y="16197"/>
                          <a:pt x="72366" y="36183"/>
                        </a:cubicBezTo>
                        <a:cubicBezTo>
                          <a:pt x="72366" y="56168"/>
                          <a:pt x="56169" y="72366"/>
                          <a:pt x="36183" y="72366"/>
                        </a:cubicBezTo>
                        <a:close/>
                        <a:moveTo>
                          <a:pt x="36183" y="10189"/>
                        </a:moveTo>
                        <a:cubicBezTo>
                          <a:pt x="21815" y="10189"/>
                          <a:pt x="10189" y="21814"/>
                          <a:pt x="10189" y="36183"/>
                        </a:cubicBezTo>
                        <a:cubicBezTo>
                          <a:pt x="10189" y="50552"/>
                          <a:pt x="21815" y="62177"/>
                          <a:pt x="36183" y="62177"/>
                        </a:cubicBezTo>
                        <a:cubicBezTo>
                          <a:pt x="50552" y="62177"/>
                          <a:pt x="62178" y="50552"/>
                          <a:pt x="62178" y="36183"/>
                        </a:cubicBezTo>
                        <a:cubicBezTo>
                          <a:pt x="62178" y="21814"/>
                          <a:pt x="50552" y="10189"/>
                          <a:pt x="36183" y="101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79" name="Graphic 717">
                  <a:extLst>
                    <a:ext uri="{FF2B5EF4-FFF2-40B4-BE49-F238E27FC236}">
                      <a16:creationId xmlns:a16="http://schemas.microsoft.com/office/drawing/2014/main" id="{4C96B4DA-5FCD-4255-D4F3-DBC0287A8581}"/>
                    </a:ext>
                  </a:extLst>
                </p:cNvPr>
                <p:cNvGrpSpPr/>
                <p:nvPr/>
              </p:nvGrpSpPr>
              <p:grpSpPr>
                <a:xfrm>
                  <a:off x="3557915" y="5188810"/>
                  <a:ext cx="72366" cy="72366"/>
                  <a:chOff x="3557915" y="5188810"/>
                  <a:chExt cx="72366" cy="72366"/>
                </a:xfrm>
                <a:grpFill/>
              </p:grpSpPr>
              <p:sp>
                <p:nvSpPr>
                  <p:cNvPr id="880" name="Freeform: Shape 879">
                    <a:extLst>
                      <a:ext uri="{FF2B5EF4-FFF2-40B4-BE49-F238E27FC236}">
                        <a16:creationId xmlns:a16="http://schemas.microsoft.com/office/drawing/2014/main" id="{952DEA47-7E80-647B-C002-684C9CC79D0A}"/>
                      </a:ext>
                    </a:extLst>
                  </p:cNvPr>
                  <p:cNvSpPr/>
                  <p:nvPr/>
                </p:nvSpPr>
                <p:spPr>
                  <a:xfrm>
                    <a:off x="3563010" y="5194035"/>
                    <a:ext cx="62177" cy="62177"/>
                  </a:xfrm>
                  <a:custGeom>
                    <a:avLst/>
                    <a:gdLst>
                      <a:gd name="connsiteX0" fmla="*/ 0 w 62177"/>
                      <a:gd name="connsiteY0" fmla="*/ 31089 h 62177"/>
                      <a:gd name="connsiteX1" fmla="*/ 31089 w 62177"/>
                      <a:gd name="connsiteY1" fmla="*/ 0 h 62177"/>
                      <a:gd name="connsiteX2" fmla="*/ 62178 w 62177"/>
                      <a:gd name="connsiteY2" fmla="*/ 31089 h 62177"/>
                      <a:gd name="connsiteX3" fmla="*/ 31089 w 62177"/>
                      <a:gd name="connsiteY3" fmla="*/ 62177 h 62177"/>
                      <a:gd name="connsiteX4" fmla="*/ 0 w 62177"/>
                      <a:gd name="connsiteY4" fmla="*/ 31089 h 62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77" h="62177">
                        <a:moveTo>
                          <a:pt x="0" y="31089"/>
                        </a:moveTo>
                        <a:cubicBezTo>
                          <a:pt x="0" y="13977"/>
                          <a:pt x="13977" y="0"/>
                          <a:pt x="31089" y="0"/>
                        </a:cubicBezTo>
                        <a:cubicBezTo>
                          <a:pt x="48201" y="0"/>
                          <a:pt x="62178" y="13977"/>
                          <a:pt x="62178" y="31089"/>
                        </a:cubicBezTo>
                        <a:cubicBezTo>
                          <a:pt x="62178" y="48200"/>
                          <a:pt x="48201" y="62177"/>
                          <a:pt x="31089" y="62177"/>
                        </a:cubicBezTo>
                        <a:cubicBezTo>
                          <a:pt x="13977" y="62177"/>
                          <a:pt x="0" y="48200"/>
                          <a:pt x="0" y="310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81" name="Freeform: Shape 880">
                    <a:extLst>
                      <a:ext uri="{FF2B5EF4-FFF2-40B4-BE49-F238E27FC236}">
                        <a16:creationId xmlns:a16="http://schemas.microsoft.com/office/drawing/2014/main" id="{D8A1292B-75C4-F82C-A519-AA9E5993CF62}"/>
                      </a:ext>
                    </a:extLst>
                  </p:cNvPr>
                  <p:cNvSpPr/>
                  <p:nvPr/>
                </p:nvSpPr>
                <p:spPr>
                  <a:xfrm>
                    <a:off x="3557915" y="5188810"/>
                    <a:ext cx="72366" cy="72366"/>
                  </a:xfrm>
                  <a:custGeom>
                    <a:avLst/>
                    <a:gdLst>
                      <a:gd name="connsiteX0" fmla="*/ 36183 w 72366"/>
                      <a:gd name="connsiteY0" fmla="*/ 72366 h 72366"/>
                      <a:gd name="connsiteX1" fmla="*/ 0 w 72366"/>
                      <a:gd name="connsiteY1" fmla="*/ 36183 h 72366"/>
                      <a:gd name="connsiteX2" fmla="*/ 36183 w 72366"/>
                      <a:gd name="connsiteY2" fmla="*/ 0 h 72366"/>
                      <a:gd name="connsiteX3" fmla="*/ 72366 w 72366"/>
                      <a:gd name="connsiteY3" fmla="*/ 36183 h 72366"/>
                      <a:gd name="connsiteX4" fmla="*/ 36183 w 72366"/>
                      <a:gd name="connsiteY4" fmla="*/ 72366 h 72366"/>
                      <a:gd name="connsiteX5" fmla="*/ 36183 w 72366"/>
                      <a:gd name="connsiteY5" fmla="*/ 10189 h 72366"/>
                      <a:gd name="connsiteX6" fmla="*/ 10189 w 72366"/>
                      <a:gd name="connsiteY6" fmla="*/ 36183 h 72366"/>
                      <a:gd name="connsiteX7" fmla="*/ 36183 w 72366"/>
                      <a:gd name="connsiteY7" fmla="*/ 62178 h 72366"/>
                      <a:gd name="connsiteX8" fmla="*/ 62178 w 72366"/>
                      <a:gd name="connsiteY8" fmla="*/ 36183 h 72366"/>
                      <a:gd name="connsiteX9" fmla="*/ 36183 w 72366"/>
                      <a:gd name="connsiteY9" fmla="*/ 10189 h 72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66" h="72366">
                        <a:moveTo>
                          <a:pt x="36183" y="72366"/>
                        </a:moveTo>
                        <a:cubicBezTo>
                          <a:pt x="16328" y="72366"/>
                          <a:pt x="0" y="56169"/>
                          <a:pt x="0" y="36183"/>
                        </a:cubicBezTo>
                        <a:cubicBezTo>
                          <a:pt x="0" y="16198"/>
                          <a:pt x="16198" y="0"/>
                          <a:pt x="36183" y="0"/>
                        </a:cubicBezTo>
                        <a:cubicBezTo>
                          <a:pt x="56169" y="0"/>
                          <a:pt x="72366" y="16198"/>
                          <a:pt x="72366" y="36183"/>
                        </a:cubicBezTo>
                        <a:cubicBezTo>
                          <a:pt x="72366" y="56169"/>
                          <a:pt x="56169" y="72366"/>
                          <a:pt x="36183" y="72366"/>
                        </a:cubicBezTo>
                        <a:close/>
                        <a:moveTo>
                          <a:pt x="36183" y="10189"/>
                        </a:moveTo>
                        <a:cubicBezTo>
                          <a:pt x="21815" y="10189"/>
                          <a:pt x="10189" y="21814"/>
                          <a:pt x="10189" y="36183"/>
                        </a:cubicBezTo>
                        <a:cubicBezTo>
                          <a:pt x="10189" y="50552"/>
                          <a:pt x="21815" y="62178"/>
                          <a:pt x="36183" y="62178"/>
                        </a:cubicBezTo>
                        <a:cubicBezTo>
                          <a:pt x="50552" y="62178"/>
                          <a:pt x="62178" y="50552"/>
                          <a:pt x="62178" y="36183"/>
                        </a:cubicBezTo>
                        <a:cubicBezTo>
                          <a:pt x="62178" y="21814"/>
                          <a:pt x="50552" y="10189"/>
                          <a:pt x="36183" y="101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sp>
              <p:nvSpPr>
                <p:cNvPr id="882" name="Freeform: Shape 881">
                  <a:extLst>
                    <a:ext uri="{FF2B5EF4-FFF2-40B4-BE49-F238E27FC236}">
                      <a16:creationId xmlns:a16="http://schemas.microsoft.com/office/drawing/2014/main" id="{565EC196-71E2-6798-BEF0-D8C4DF53DF11}"/>
                    </a:ext>
                  </a:extLst>
                </p:cNvPr>
                <p:cNvSpPr/>
                <p:nvPr/>
              </p:nvSpPr>
              <p:spPr>
                <a:xfrm>
                  <a:off x="3175071" y="5132528"/>
                  <a:ext cx="105641" cy="131391"/>
                </a:xfrm>
                <a:custGeom>
                  <a:avLst/>
                  <a:gdLst>
                    <a:gd name="connsiteX0" fmla="*/ 5077 w 105641"/>
                    <a:gd name="connsiteY0" fmla="*/ 131261 h 131391"/>
                    <a:gd name="connsiteX1" fmla="*/ 1942 w 105641"/>
                    <a:gd name="connsiteY1" fmla="*/ 130216 h 131391"/>
                    <a:gd name="connsiteX2" fmla="*/ 1158 w 105641"/>
                    <a:gd name="connsiteY2" fmla="*/ 123162 h 131391"/>
                    <a:gd name="connsiteX3" fmla="*/ 96645 w 105641"/>
                    <a:gd name="connsiteY3" fmla="*/ 1942 h 131391"/>
                    <a:gd name="connsiteX4" fmla="*/ 103699 w 105641"/>
                    <a:gd name="connsiteY4" fmla="*/ 1158 h 131391"/>
                    <a:gd name="connsiteX5" fmla="*/ 104483 w 105641"/>
                    <a:gd name="connsiteY5" fmla="*/ 8212 h 131391"/>
                    <a:gd name="connsiteX6" fmla="*/ 8996 w 105641"/>
                    <a:gd name="connsiteY6" fmla="*/ 129432 h 131391"/>
                    <a:gd name="connsiteX7" fmla="*/ 5077 w 105641"/>
                    <a:gd name="connsiteY7" fmla="*/ 131391 h 131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1" h="131391">
                      <a:moveTo>
                        <a:pt x="5077" y="131261"/>
                      </a:moveTo>
                      <a:cubicBezTo>
                        <a:pt x="4032" y="131261"/>
                        <a:pt x="2857" y="130869"/>
                        <a:pt x="1942" y="130216"/>
                      </a:cubicBezTo>
                      <a:cubicBezTo>
                        <a:pt x="-278" y="128518"/>
                        <a:pt x="-670" y="125383"/>
                        <a:pt x="1158" y="123162"/>
                      </a:cubicBezTo>
                      <a:lnTo>
                        <a:pt x="96645" y="1942"/>
                      </a:lnTo>
                      <a:cubicBezTo>
                        <a:pt x="98343" y="-278"/>
                        <a:pt x="101478" y="-670"/>
                        <a:pt x="103699" y="1158"/>
                      </a:cubicBezTo>
                      <a:cubicBezTo>
                        <a:pt x="105920" y="2857"/>
                        <a:pt x="106311" y="5992"/>
                        <a:pt x="104483" y="8212"/>
                      </a:cubicBezTo>
                      <a:lnTo>
                        <a:pt x="8996" y="129432"/>
                      </a:lnTo>
                      <a:cubicBezTo>
                        <a:pt x="7951" y="130738"/>
                        <a:pt x="6514" y="131391"/>
                        <a:pt x="5077" y="13139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83" name="Freeform: Shape 882">
                  <a:extLst>
                    <a:ext uri="{FF2B5EF4-FFF2-40B4-BE49-F238E27FC236}">
                      <a16:creationId xmlns:a16="http://schemas.microsoft.com/office/drawing/2014/main" id="{E8D11DD8-7683-7844-317B-196353399D00}"/>
                    </a:ext>
                  </a:extLst>
                </p:cNvPr>
                <p:cNvSpPr/>
                <p:nvPr/>
              </p:nvSpPr>
              <p:spPr>
                <a:xfrm>
                  <a:off x="3346888" y="5121209"/>
                  <a:ext cx="75506" cy="50358"/>
                </a:xfrm>
                <a:custGeom>
                  <a:avLst/>
                  <a:gdLst>
                    <a:gd name="connsiteX0" fmla="*/ 70475 w 75506"/>
                    <a:gd name="connsiteY0" fmla="*/ 50359 h 50358"/>
                    <a:gd name="connsiteX1" fmla="*/ 67862 w 75506"/>
                    <a:gd name="connsiteY1" fmla="*/ 49575 h 50358"/>
                    <a:gd name="connsiteX2" fmla="*/ 2419 w 75506"/>
                    <a:gd name="connsiteY2" fmla="*/ 9342 h 50358"/>
                    <a:gd name="connsiteX3" fmla="*/ 721 w 75506"/>
                    <a:gd name="connsiteY3" fmla="*/ 2419 h 50358"/>
                    <a:gd name="connsiteX4" fmla="*/ 7644 w 75506"/>
                    <a:gd name="connsiteY4" fmla="*/ 721 h 50358"/>
                    <a:gd name="connsiteX5" fmla="*/ 73087 w 75506"/>
                    <a:gd name="connsiteY5" fmla="*/ 40954 h 50358"/>
                    <a:gd name="connsiteX6" fmla="*/ 74785 w 75506"/>
                    <a:gd name="connsiteY6" fmla="*/ 47877 h 50358"/>
                    <a:gd name="connsiteX7" fmla="*/ 70475 w 75506"/>
                    <a:gd name="connsiteY7" fmla="*/ 50228 h 5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06" h="50358">
                      <a:moveTo>
                        <a:pt x="70475" y="50359"/>
                      </a:moveTo>
                      <a:cubicBezTo>
                        <a:pt x="69560" y="50359"/>
                        <a:pt x="68646" y="50097"/>
                        <a:pt x="67862" y="49575"/>
                      </a:cubicBezTo>
                      <a:lnTo>
                        <a:pt x="2419" y="9342"/>
                      </a:lnTo>
                      <a:cubicBezTo>
                        <a:pt x="68" y="7906"/>
                        <a:pt x="-716" y="4771"/>
                        <a:pt x="721" y="2419"/>
                      </a:cubicBezTo>
                      <a:cubicBezTo>
                        <a:pt x="2158" y="68"/>
                        <a:pt x="5293" y="-716"/>
                        <a:pt x="7644" y="721"/>
                      </a:cubicBezTo>
                      <a:lnTo>
                        <a:pt x="73087" y="40954"/>
                      </a:lnTo>
                      <a:cubicBezTo>
                        <a:pt x="75439" y="42391"/>
                        <a:pt x="76222" y="45525"/>
                        <a:pt x="74785" y="47877"/>
                      </a:cubicBezTo>
                      <a:cubicBezTo>
                        <a:pt x="73871" y="49444"/>
                        <a:pt x="72173" y="50228"/>
                        <a:pt x="70475" y="5022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85" name="Graphic 717">
                <a:extLst>
                  <a:ext uri="{FF2B5EF4-FFF2-40B4-BE49-F238E27FC236}">
                    <a16:creationId xmlns:a16="http://schemas.microsoft.com/office/drawing/2014/main" id="{F9AF05D7-20FE-4B49-36C3-409DE1F5C988}"/>
                  </a:ext>
                </a:extLst>
              </p:cNvPr>
              <p:cNvGrpSpPr/>
              <p:nvPr/>
            </p:nvGrpSpPr>
            <p:grpSpPr>
              <a:xfrm>
                <a:off x="6102781" y="2368761"/>
                <a:ext cx="576761" cy="692016"/>
                <a:chOff x="154748" y="4569518"/>
                <a:chExt cx="443601" cy="517012"/>
              </a:xfrm>
              <a:noFill/>
            </p:grpSpPr>
            <p:grpSp>
              <p:nvGrpSpPr>
                <p:cNvPr id="886" name="Graphic 717">
                  <a:extLst>
                    <a:ext uri="{FF2B5EF4-FFF2-40B4-BE49-F238E27FC236}">
                      <a16:creationId xmlns:a16="http://schemas.microsoft.com/office/drawing/2014/main" id="{033192F3-A9E2-7F63-C55F-EE24825D470E}"/>
                    </a:ext>
                  </a:extLst>
                </p:cNvPr>
                <p:cNvGrpSpPr/>
                <p:nvPr/>
              </p:nvGrpSpPr>
              <p:grpSpPr>
                <a:xfrm>
                  <a:off x="154748" y="4938924"/>
                  <a:ext cx="443601" cy="147606"/>
                  <a:chOff x="154748" y="4938924"/>
                  <a:chExt cx="443601" cy="147606"/>
                </a:xfrm>
                <a:grpFill/>
              </p:grpSpPr>
              <p:sp>
                <p:nvSpPr>
                  <p:cNvPr id="887" name="Freeform: Shape 886">
                    <a:extLst>
                      <a:ext uri="{FF2B5EF4-FFF2-40B4-BE49-F238E27FC236}">
                        <a16:creationId xmlns:a16="http://schemas.microsoft.com/office/drawing/2014/main" id="{95DED050-B017-E1DD-A0C2-6A8692870334}"/>
                      </a:ext>
                    </a:extLst>
                  </p:cNvPr>
                  <p:cNvSpPr/>
                  <p:nvPr/>
                </p:nvSpPr>
                <p:spPr>
                  <a:xfrm>
                    <a:off x="158536" y="4942713"/>
                    <a:ext cx="436025" cy="140029"/>
                  </a:xfrm>
                  <a:custGeom>
                    <a:avLst/>
                    <a:gdLst>
                      <a:gd name="connsiteX0" fmla="*/ 0 w 436025"/>
                      <a:gd name="connsiteY0" fmla="*/ 0 h 140029"/>
                      <a:gd name="connsiteX1" fmla="*/ 436025 w 436025"/>
                      <a:gd name="connsiteY1" fmla="*/ 0 h 140029"/>
                      <a:gd name="connsiteX2" fmla="*/ 436025 w 436025"/>
                      <a:gd name="connsiteY2" fmla="*/ 140030 h 140029"/>
                      <a:gd name="connsiteX3" fmla="*/ 0 w 436025"/>
                      <a:gd name="connsiteY3" fmla="*/ 140030 h 140029"/>
                    </a:gdLst>
                    <a:ahLst/>
                    <a:cxnLst>
                      <a:cxn ang="0">
                        <a:pos x="connsiteX0" y="connsiteY0"/>
                      </a:cxn>
                      <a:cxn ang="0">
                        <a:pos x="connsiteX1" y="connsiteY1"/>
                      </a:cxn>
                      <a:cxn ang="0">
                        <a:pos x="connsiteX2" y="connsiteY2"/>
                      </a:cxn>
                      <a:cxn ang="0">
                        <a:pos x="connsiteX3" y="connsiteY3"/>
                      </a:cxn>
                    </a:cxnLst>
                    <a:rect l="l" t="t" r="r" b="b"/>
                    <a:pathLst>
                      <a:path w="436025" h="140029">
                        <a:moveTo>
                          <a:pt x="0" y="0"/>
                        </a:moveTo>
                        <a:lnTo>
                          <a:pt x="436025" y="0"/>
                        </a:lnTo>
                        <a:lnTo>
                          <a:pt x="436025" y="140030"/>
                        </a:lnTo>
                        <a:lnTo>
                          <a:pt x="0" y="140030"/>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88" name="Freeform: Shape 887">
                    <a:extLst>
                      <a:ext uri="{FF2B5EF4-FFF2-40B4-BE49-F238E27FC236}">
                        <a16:creationId xmlns:a16="http://schemas.microsoft.com/office/drawing/2014/main" id="{10C57655-DBD2-0403-5343-0039B47CD7F4}"/>
                      </a:ext>
                    </a:extLst>
                  </p:cNvPr>
                  <p:cNvSpPr/>
                  <p:nvPr/>
                </p:nvSpPr>
                <p:spPr>
                  <a:xfrm>
                    <a:off x="154748" y="4938924"/>
                    <a:ext cx="443601" cy="147606"/>
                  </a:xfrm>
                  <a:custGeom>
                    <a:avLst/>
                    <a:gdLst>
                      <a:gd name="connsiteX0" fmla="*/ 439814 w 443601"/>
                      <a:gd name="connsiteY0" fmla="*/ 147606 h 147606"/>
                      <a:gd name="connsiteX1" fmla="*/ 3788 w 443601"/>
                      <a:gd name="connsiteY1" fmla="*/ 147606 h 147606"/>
                      <a:gd name="connsiteX2" fmla="*/ 0 w 443601"/>
                      <a:gd name="connsiteY2" fmla="*/ 143818 h 147606"/>
                      <a:gd name="connsiteX3" fmla="*/ 0 w 443601"/>
                      <a:gd name="connsiteY3" fmla="*/ 3788 h 147606"/>
                      <a:gd name="connsiteX4" fmla="*/ 3788 w 443601"/>
                      <a:gd name="connsiteY4" fmla="*/ 0 h 147606"/>
                      <a:gd name="connsiteX5" fmla="*/ 439814 w 443601"/>
                      <a:gd name="connsiteY5" fmla="*/ 0 h 147606"/>
                      <a:gd name="connsiteX6" fmla="*/ 443602 w 443601"/>
                      <a:gd name="connsiteY6" fmla="*/ 3788 h 147606"/>
                      <a:gd name="connsiteX7" fmla="*/ 443602 w 443601"/>
                      <a:gd name="connsiteY7" fmla="*/ 143818 h 147606"/>
                      <a:gd name="connsiteX8" fmla="*/ 439814 w 443601"/>
                      <a:gd name="connsiteY8" fmla="*/ 147606 h 147606"/>
                      <a:gd name="connsiteX9" fmla="*/ 7576 w 443601"/>
                      <a:gd name="connsiteY9" fmla="*/ 140030 h 147606"/>
                      <a:gd name="connsiteX10" fmla="*/ 436025 w 443601"/>
                      <a:gd name="connsiteY10" fmla="*/ 140030 h 147606"/>
                      <a:gd name="connsiteX11" fmla="*/ 436025 w 443601"/>
                      <a:gd name="connsiteY11" fmla="*/ 7707 h 147606"/>
                      <a:gd name="connsiteX12" fmla="*/ 7576 w 443601"/>
                      <a:gd name="connsiteY12" fmla="*/ 7707 h 147606"/>
                      <a:gd name="connsiteX13" fmla="*/ 7576 w 443601"/>
                      <a:gd name="connsiteY13" fmla="*/ 140030 h 14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3601" h="147606">
                        <a:moveTo>
                          <a:pt x="439814" y="147606"/>
                        </a:moveTo>
                        <a:lnTo>
                          <a:pt x="3788" y="147606"/>
                        </a:lnTo>
                        <a:cubicBezTo>
                          <a:pt x="1698" y="147606"/>
                          <a:pt x="0" y="145908"/>
                          <a:pt x="0" y="143818"/>
                        </a:cubicBezTo>
                        <a:lnTo>
                          <a:pt x="0" y="3788"/>
                        </a:lnTo>
                        <a:cubicBezTo>
                          <a:pt x="0" y="1698"/>
                          <a:pt x="1698" y="0"/>
                          <a:pt x="3788" y="0"/>
                        </a:cubicBezTo>
                        <a:lnTo>
                          <a:pt x="439814" y="0"/>
                        </a:lnTo>
                        <a:cubicBezTo>
                          <a:pt x="441904" y="0"/>
                          <a:pt x="443602" y="1698"/>
                          <a:pt x="443602" y="3788"/>
                        </a:cubicBezTo>
                        <a:lnTo>
                          <a:pt x="443602" y="143818"/>
                        </a:lnTo>
                        <a:cubicBezTo>
                          <a:pt x="443602" y="145908"/>
                          <a:pt x="441904" y="147606"/>
                          <a:pt x="439814" y="147606"/>
                        </a:cubicBezTo>
                        <a:close/>
                        <a:moveTo>
                          <a:pt x="7576" y="140030"/>
                        </a:moveTo>
                        <a:lnTo>
                          <a:pt x="436025" y="140030"/>
                        </a:lnTo>
                        <a:cubicBezTo>
                          <a:pt x="436025" y="140030"/>
                          <a:pt x="436025" y="7707"/>
                          <a:pt x="436025" y="7707"/>
                        </a:cubicBezTo>
                        <a:lnTo>
                          <a:pt x="7576" y="7707"/>
                        </a:lnTo>
                        <a:cubicBezTo>
                          <a:pt x="7576" y="7707"/>
                          <a:pt x="7576" y="140030"/>
                          <a:pt x="7576" y="140030"/>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89" name="Graphic 717">
                  <a:extLst>
                    <a:ext uri="{FF2B5EF4-FFF2-40B4-BE49-F238E27FC236}">
                      <a16:creationId xmlns:a16="http://schemas.microsoft.com/office/drawing/2014/main" id="{9D4B9559-2412-7BDF-7602-9E84978514E0}"/>
                    </a:ext>
                  </a:extLst>
                </p:cNvPr>
                <p:cNvGrpSpPr/>
                <p:nvPr/>
              </p:nvGrpSpPr>
              <p:grpSpPr>
                <a:xfrm>
                  <a:off x="154748" y="4569518"/>
                  <a:ext cx="443601" cy="147606"/>
                  <a:chOff x="154748" y="4569518"/>
                  <a:chExt cx="443601" cy="147606"/>
                </a:xfrm>
                <a:grpFill/>
              </p:grpSpPr>
              <p:sp>
                <p:nvSpPr>
                  <p:cNvPr id="890" name="Freeform: Shape 889">
                    <a:extLst>
                      <a:ext uri="{FF2B5EF4-FFF2-40B4-BE49-F238E27FC236}">
                        <a16:creationId xmlns:a16="http://schemas.microsoft.com/office/drawing/2014/main" id="{E461E249-94F9-D95A-457F-739CF52D4DAF}"/>
                      </a:ext>
                    </a:extLst>
                  </p:cNvPr>
                  <p:cNvSpPr/>
                  <p:nvPr/>
                </p:nvSpPr>
                <p:spPr>
                  <a:xfrm>
                    <a:off x="158536" y="4573306"/>
                    <a:ext cx="436025" cy="140029"/>
                  </a:xfrm>
                  <a:custGeom>
                    <a:avLst/>
                    <a:gdLst>
                      <a:gd name="connsiteX0" fmla="*/ 0 w 436025"/>
                      <a:gd name="connsiteY0" fmla="*/ 0 h 140029"/>
                      <a:gd name="connsiteX1" fmla="*/ 436025 w 436025"/>
                      <a:gd name="connsiteY1" fmla="*/ 0 h 140029"/>
                      <a:gd name="connsiteX2" fmla="*/ 436025 w 436025"/>
                      <a:gd name="connsiteY2" fmla="*/ 140030 h 140029"/>
                      <a:gd name="connsiteX3" fmla="*/ 0 w 436025"/>
                      <a:gd name="connsiteY3" fmla="*/ 140030 h 140029"/>
                    </a:gdLst>
                    <a:ahLst/>
                    <a:cxnLst>
                      <a:cxn ang="0">
                        <a:pos x="connsiteX0" y="connsiteY0"/>
                      </a:cxn>
                      <a:cxn ang="0">
                        <a:pos x="connsiteX1" y="connsiteY1"/>
                      </a:cxn>
                      <a:cxn ang="0">
                        <a:pos x="connsiteX2" y="connsiteY2"/>
                      </a:cxn>
                      <a:cxn ang="0">
                        <a:pos x="connsiteX3" y="connsiteY3"/>
                      </a:cxn>
                    </a:cxnLst>
                    <a:rect l="l" t="t" r="r" b="b"/>
                    <a:pathLst>
                      <a:path w="436025" h="140029">
                        <a:moveTo>
                          <a:pt x="0" y="0"/>
                        </a:moveTo>
                        <a:lnTo>
                          <a:pt x="436025" y="0"/>
                        </a:lnTo>
                        <a:lnTo>
                          <a:pt x="436025" y="140030"/>
                        </a:lnTo>
                        <a:lnTo>
                          <a:pt x="0" y="140030"/>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91" name="Freeform: Shape 890">
                    <a:extLst>
                      <a:ext uri="{FF2B5EF4-FFF2-40B4-BE49-F238E27FC236}">
                        <a16:creationId xmlns:a16="http://schemas.microsoft.com/office/drawing/2014/main" id="{1881B0EE-04A9-70F8-DD9F-0B6B2589B0FD}"/>
                      </a:ext>
                    </a:extLst>
                  </p:cNvPr>
                  <p:cNvSpPr/>
                  <p:nvPr/>
                </p:nvSpPr>
                <p:spPr>
                  <a:xfrm>
                    <a:off x="154748" y="4569518"/>
                    <a:ext cx="443601" cy="147606"/>
                  </a:xfrm>
                  <a:custGeom>
                    <a:avLst/>
                    <a:gdLst>
                      <a:gd name="connsiteX0" fmla="*/ 439814 w 443601"/>
                      <a:gd name="connsiteY0" fmla="*/ 147606 h 147606"/>
                      <a:gd name="connsiteX1" fmla="*/ 3788 w 443601"/>
                      <a:gd name="connsiteY1" fmla="*/ 147606 h 147606"/>
                      <a:gd name="connsiteX2" fmla="*/ 0 w 443601"/>
                      <a:gd name="connsiteY2" fmla="*/ 143818 h 147606"/>
                      <a:gd name="connsiteX3" fmla="*/ 0 w 443601"/>
                      <a:gd name="connsiteY3" fmla="*/ 3788 h 147606"/>
                      <a:gd name="connsiteX4" fmla="*/ 3788 w 443601"/>
                      <a:gd name="connsiteY4" fmla="*/ 0 h 147606"/>
                      <a:gd name="connsiteX5" fmla="*/ 439814 w 443601"/>
                      <a:gd name="connsiteY5" fmla="*/ 0 h 147606"/>
                      <a:gd name="connsiteX6" fmla="*/ 443602 w 443601"/>
                      <a:gd name="connsiteY6" fmla="*/ 3788 h 147606"/>
                      <a:gd name="connsiteX7" fmla="*/ 443602 w 443601"/>
                      <a:gd name="connsiteY7" fmla="*/ 143818 h 147606"/>
                      <a:gd name="connsiteX8" fmla="*/ 439814 w 443601"/>
                      <a:gd name="connsiteY8" fmla="*/ 147606 h 147606"/>
                      <a:gd name="connsiteX9" fmla="*/ 7576 w 443601"/>
                      <a:gd name="connsiteY9" fmla="*/ 140030 h 147606"/>
                      <a:gd name="connsiteX10" fmla="*/ 436025 w 443601"/>
                      <a:gd name="connsiteY10" fmla="*/ 140030 h 147606"/>
                      <a:gd name="connsiteX11" fmla="*/ 436025 w 443601"/>
                      <a:gd name="connsiteY11" fmla="*/ 7707 h 147606"/>
                      <a:gd name="connsiteX12" fmla="*/ 7576 w 443601"/>
                      <a:gd name="connsiteY12" fmla="*/ 7707 h 147606"/>
                      <a:gd name="connsiteX13" fmla="*/ 7576 w 443601"/>
                      <a:gd name="connsiteY13" fmla="*/ 140030 h 14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3601" h="147606">
                        <a:moveTo>
                          <a:pt x="439814" y="147606"/>
                        </a:moveTo>
                        <a:lnTo>
                          <a:pt x="3788" y="147606"/>
                        </a:lnTo>
                        <a:cubicBezTo>
                          <a:pt x="1698" y="147606"/>
                          <a:pt x="0" y="145908"/>
                          <a:pt x="0" y="143818"/>
                        </a:cubicBezTo>
                        <a:lnTo>
                          <a:pt x="0" y="3788"/>
                        </a:lnTo>
                        <a:cubicBezTo>
                          <a:pt x="0" y="1698"/>
                          <a:pt x="1698" y="0"/>
                          <a:pt x="3788" y="0"/>
                        </a:cubicBezTo>
                        <a:lnTo>
                          <a:pt x="439814" y="0"/>
                        </a:lnTo>
                        <a:cubicBezTo>
                          <a:pt x="441904" y="0"/>
                          <a:pt x="443602" y="1698"/>
                          <a:pt x="443602" y="3788"/>
                        </a:cubicBezTo>
                        <a:lnTo>
                          <a:pt x="443602" y="143818"/>
                        </a:lnTo>
                        <a:cubicBezTo>
                          <a:pt x="443602" y="145908"/>
                          <a:pt x="441904" y="147606"/>
                          <a:pt x="439814" y="147606"/>
                        </a:cubicBezTo>
                        <a:close/>
                        <a:moveTo>
                          <a:pt x="7576" y="140030"/>
                        </a:moveTo>
                        <a:lnTo>
                          <a:pt x="436025" y="140030"/>
                        </a:lnTo>
                        <a:lnTo>
                          <a:pt x="436025" y="7707"/>
                        </a:lnTo>
                        <a:lnTo>
                          <a:pt x="7576" y="7707"/>
                        </a:lnTo>
                        <a:lnTo>
                          <a:pt x="7576" y="140030"/>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92" name="Graphic 717">
                  <a:extLst>
                    <a:ext uri="{FF2B5EF4-FFF2-40B4-BE49-F238E27FC236}">
                      <a16:creationId xmlns:a16="http://schemas.microsoft.com/office/drawing/2014/main" id="{A94BAD9C-CEFD-C99B-A6CB-1CE7E8CD7BBA}"/>
                    </a:ext>
                  </a:extLst>
                </p:cNvPr>
                <p:cNvGrpSpPr/>
                <p:nvPr/>
              </p:nvGrpSpPr>
              <p:grpSpPr>
                <a:xfrm>
                  <a:off x="154748" y="4754221"/>
                  <a:ext cx="443601" cy="147606"/>
                  <a:chOff x="154748" y="4754221"/>
                  <a:chExt cx="443601" cy="147606"/>
                </a:xfrm>
                <a:grpFill/>
              </p:grpSpPr>
              <p:sp>
                <p:nvSpPr>
                  <p:cNvPr id="893" name="Freeform: Shape 892">
                    <a:extLst>
                      <a:ext uri="{FF2B5EF4-FFF2-40B4-BE49-F238E27FC236}">
                        <a16:creationId xmlns:a16="http://schemas.microsoft.com/office/drawing/2014/main" id="{7B868411-A58E-C2E8-4AEB-DCD5FDADE8A7}"/>
                      </a:ext>
                    </a:extLst>
                  </p:cNvPr>
                  <p:cNvSpPr/>
                  <p:nvPr/>
                </p:nvSpPr>
                <p:spPr>
                  <a:xfrm>
                    <a:off x="158536" y="4758009"/>
                    <a:ext cx="436025" cy="140029"/>
                  </a:xfrm>
                  <a:custGeom>
                    <a:avLst/>
                    <a:gdLst>
                      <a:gd name="connsiteX0" fmla="*/ 0 w 436025"/>
                      <a:gd name="connsiteY0" fmla="*/ 0 h 140029"/>
                      <a:gd name="connsiteX1" fmla="*/ 436025 w 436025"/>
                      <a:gd name="connsiteY1" fmla="*/ 0 h 140029"/>
                      <a:gd name="connsiteX2" fmla="*/ 436025 w 436025"/>
                      <a:gd name="connsiteY2" fmla="*/ 140030 h 140029"/>
                      <a:gd name="connsiteX3" fmla="*/ 0 w 436025"/>
                      <a:gd name="connsiteY3" fmla="*/ 140030 h 140029"/>
                    </a:gdLst>
                    <a:ahLst/>
                    <a:cxnLst>
                      <a:cxn ang="0">
                        <a:pos x="connsiteX0" y="connsiteY0"/>
                      </a:cxn>
                      <a:cxn ang="0">
                        <a:pos x="connsiteX1" y="connsiteY1"/>
                      </a:cxn>
                      <a:cxn ang="0">
                        <a:pos x="connsiteX2" y="connsiteY2"/>
                      </a:cxn>
                      <a:cxn ang="0">
                        <a:pos x="connsiteX3" y="connsiteY3"/>
                      </a:cxn>
                    </a:cxnLst>
                    <a:rect l="l" t="t" r="r" b="b"/>
                    <a:pathLst>
                      <a:path w="436025" h="140029">
                        <a:moveTo>
                          <a:pt x="0" y="0"/>
                        </a:moveTo>
                        <a:lnTo>
                          <a:pt x="436025" y="0"/>
                        </a:lnTo>
                        <a:lnTo>
                          <a:pt x="436025" y="140030"/>
                        </a:lnTo>
                        <a:lnTo>
                          <a:pt x="0" y="140030"/>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94" name="Freeform: Shape 893">
                    <a:extLst>
                      <a:ext uri="{FF2B5EF4-FFF2-40B4-BE49-F238E27FC236}">
                        <a16:creationId xmlns:a16="http://schemas.microsoft.com/office/drawing/2014/main" id="{F0B9C99E-5666-560A-EAA9-CF2707A24E2A}"/>
                      </a:ext>
                    </a:extLst>
                  </p:cNvPr>
                  <p:cNvSpPr/>
                  <p:nvPr/>
                </p:nvSpPr>
                <p:spPr>
                  <a:xfrm>
                    <a:off x="154748" y="4754221"/>
                    <a:ext cx="443601" cy="147606"/>
                  </a:xfrm>
                  <a:custGeom>
                    <a:avLst/>
                    <a:gdLst>
                      <a:gd name="connsiteX0" fmla="*/ 439814 w 443601"/>
                      <a:gd name="connsiteY0" fmla="*/ 147606 h 147606"/>
                      <a:gd name="connsiteX1" fmla="*/ 3788 w 443601"/>
                      <a:gd name="connsiteY1" fmla="*/ 147606 h 147606"/>
                      <a:gd name="connsiteX2" fmla="*/ 0 w 443601"/>
                      <a:gd name="connsiteY2" fmla="*/ 143818 h 147606"/>
                      <a:gd name="connsiteX3" fmla="*/ 0 w 443601"/>
                      <a:gd name="connsiteY3" fmla="*/ 3788 h 147606"/>
                      <a:gd name="connsiteX4" fmla="*/ 3788 w 443601"/>
                      <a:gd name="connsiteY4" fmla="*/ 0 h 147606"/>
                      <a:gd name="connsiteX5" fmla="*/ 439814 w 443601"/>
                      <a:gd name="connsiteY5" fmla="*/ 0 h 147606"/>
                      <a:gd name="connsiteX6" fmla="*/ 443602 w 443601"/>
                      <a:gd name="connsiteY6" fmla="*/ 3788 h 147606"/>
                      <a:gd name="connsiteX7" fmla="*/ 443602 w 443601"/>
                      <a:gd name="connsiteY7" fmla="*/ 143818 h 147606"/>
                      <a:gd name="connsiteX8" fmla="*/ 439814 w 443601"/>
                      <a:gd name="connsiteY8" fmla="*/ 147606 h 147606"/>
                      <a:gd name="connsiteX9" fmla="*/ 7576 w 443601"/>
                      <a:gd name="connsiteY9" fmla="*/ 140030 h 147606"/>
                      <a:gd name="connsiteX10" fmla="*/ 436025 w 443601"/>
                      <a:gd name="connsiteY10" fmla="*/ 140030 h 147606"/>
                      <a:gd name="connsiteX11" fmla="*/ 436025 w 443601"/>
                      <a:gd name="connsiteY11" fmla="*/ 7707 h 147606"/>
                      <a:gd name="connsiteX12" fmla="*/ 7576 w 443601"/>
                      <a:gd name="connsiteY12" fmla="*/ 7707 h 147606"/>
                      <a:gd name="connsiteX13" fmla="*/ 7576 w 443601"/>
                      <a:gd name="connsiteY13" fmla="*/ 140030 h 14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3601" h="147606">
                        <a:moveTo>
                          <a:pt x="439814" y="147606"/>
                        </a:moveTo>
                        <a:lnTo>
                          <a:pt x="3788" y="147606"/>
                        </a:lnTo>
                        <a:cubicBezTo>
                          <a:pt x="1698" y="147606"/>
                          <a:pt x="0" y="145908"/>
                          <a:pt x="0" y="143818"/>
                        </a:cubicBezTo>
                        <a:lnTo>
                          <a:pt x="0" y="3788"/>
                        </a:lnTo>
                        <a:cubicBezTo>
                          <a:pt x="0" y="1698"/>
                          <a:pt x="1698" y="0"/>
                          <a:pt x="3788" y="0"/>
                        </a:cubicBezTo>
                        <a:lnTo>
                          <a:pt x="439814" y="0"/>
                        </a:lnTo>
                        <a:cubicBezTo>
                          <a:pt x="441904" y="0"/>
                          <a:pt x="443602" y="1698"/>
                          <a:pt x="443602" y="3788"/>
                        </a:cubicBezTo>
                        <a:lnTo>
                          <a:pt x="443602" y="143818"/>
                        </a:lnTo>
                        <a:cubicBezTo>
                          <a:pt x="443602" y="145908"/>
                          <a:pt x="441904" y="147606"/>
                          <a:pt x="439814" y="147606"/>
                        </a:cubicBezTo>
                        <a:close/>
                        <a:moveTo>
                          <a:pt x="7576" y="140030"/>
                        </a:moveTo>
                        <a:lnTo>
                          <a:pt x="436025" y="140030"/>
                        </a:lnTo>
                        <a:lnTo>
                          <a:pt x="436025" y="7707"/>
                        </a:lnTo>
                        <a:lnTo>
                          <a:pt x="7576" y="7707"/>
                        </a:lnTo>
                        <a:lnTo>
                          <a:pt x="7576" y="140030"/>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95" name="Graphic 717">
                  <a:extLst>
                    <a:ext uri="{FF2B5EF4-FFF2-40B4-BE49-F238E27FC236}">
                      <a16:creationId xmlns:a16="http://schemas.microsoft.com/office/drawing/2014/main" id="{A0F89041-E256-2F63-7463-F03B3DCF59E2}"/>
                    </a:ext>
                  </a:extLst>
                </p:cNvPr>
                <p:cNvGrpSpPr/>
                <p:nvPr/>
              </p:nvGrpSpPr>
              <p:grpSpPr>
                <a:xfrm>
                  <a:off x="209480" y="4806994"/>
                  <a:ext cx="42061" cy="42061"/>
                  <a:chOff x="209480" y="4806994"/>
                  <a:chExt cx="42061" cy="42061"/>
                </a:xfrm>
                <a:grpFill/>
              </p:grpSpPr>
              <p:sp>
                <p:nvSpPr>
                  <p:cNvPr id="896" name="Freeform: Shape 895">
                    <a:extLst>
                      <a:ext uri="{FF2B5EF4-FFF2-40B4-BE49-F238E27FC236}">
                        <a16:creationId xmlns:a16="http://schemas.microsoft.com/office/drawing/2014/main" id="{B93830FF-D8C4-6EE9-A49B-6995799239CF}"/>
                      </a:ext>
                    </a:extLst>
                  </p:cNvPr>
                  <p:cNvSpPr/>
                  <p:nvPr/>
                </p:nvSpPr>
                <p:spPr>
                  <a:xfrm>
                    <a:off x="213268" y="4810782"/>
                    <a:ext cx="34484" cy="34484"/>
                  </a:xfrm>
                  <a:custGeom>
                    <a:avLst/>
                    <a:gdLst>
                      <a:gd name="connsiteX0" fmla="*/ 34485 w 34484"/>
                      <a:gd name="connsiteY0" fmla="*/ 17243 h 34484"/>
                      <a:gd name="connsiteX1" fmla="*/ 17242 w 34484"/>
                      <a:gd name="connsiteY1" fmla="*/ 34485 h 34484"/>
                      <a:gd name="connsiteX2" fmla="*/ 0 w 34484"/>
                      <a:gd name="connsiteY2" fmla="*/ 17243 h 34484"/>
                      <a:gd name="connsiteX3" fmla="*/ 17242 w 34484"/>
                      <a:gd name="connsiteY3" fmla="*/ 0 h 34484"/>
                      <a:gd name="connsiteX4" fmla="*/ 34485 w 34484"/>
                      <a:gd name="connsiteY4" fmla="*/ 17243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34485" y="17243"/>
                        </a:moveTo>
                        <a:cubicBezTo>
                          <a:pt x="34485" y="26765"/>
                          <a:pt x="26765" y="34485"/>
                          <a:pt x="17242" y="34485"/>
                        </a:cubicBezTo>
                        <a:cubicBezTo>
                          <a:pt x="7720" y="34485"/>
                          <a:pt x="0" y="26765"/>
                          <a:pt x="0" y="17243"/>
                        </a:cubicBezTo>
                        <a:cubicBezTo>
                          <a:pt x="0" y="7720"/>
                          <a:pt x="7720" y="0"/>
                          <a:pt x="17242" y="0"/>
                        </a:cubicBezTo>
                        <a:cubicBezTo>
                          <a:pt x="26765" y="0"/>
                          <a:pt x="34485" y="7720"/>
                          <a:pt x="34485" y="1724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97" name="Freeform: Shape 896">
                    <a:extLst>
                      <a:ext uri="{FF2B5EF4-FFF2-40B4-BE49-F238E27FC236}">
                        <a16:creationId xmlns:a16="http://schemas.microsoft.com/office/drawing/2014/main" id="{2BF6B531-2F84-51E6-EC9A-6D5559096751}"/>
                      </a:ext>
                    </a:extLst>
                  </p:cNvPr>
                  <p:cNvSpPr/>
                  <p:nvPr/>
                </p:nvSpPr>
                <p:spPr>
                  <a:xfrm>
                    <a:off x="209480" y="4806994"/>
                    <a:ext cx="42061" cy="42061"/>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576 h 42061"/>
                      <a:gd name="connsiteX6" fmla="*/ 7576 w 42061"/>
                      <a:gd name="connsiteY6" fmla="*/ 21031 h 42061"/>
                      <a:gd name="connsiteX7" fmla="*/ 21031 w 42061"/>
                      <a:gd name="connsiteY7" fmla="*/ 34485 h 42061"/>
                      <a:gd name="connsiteX8" fmla="*/ 34485 w 42061"/>
                      <a:gd name="connsiteY8" fmla="*/ 21031 h 42061"/>
                      <a:gd name="connsiteX9" fmla="*/ 21031 w 42061"/>
                      <a:gd name="connsiteY9" fmla="*/ 757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576"/>
                        </a:moveTo>
                        <a:cubicBezTo>
                          <a:pt x="13585" y="7576"/>
                          <a:pt x="7576" y="13585"/>
                          <a:pt x="7576" y="21031"/>
                        </a:cubicBezTo>
                        <a:cubicBezTo>
                          <a:pt x="7576" y="28476"/>
                          <a:pt x="13585" y="34485"/>
                          <a:pt x="21031" y="34485"/>
                        </a:cubicBezTo>
                        <a:cubicBezTo>
                          <a:pt x="28476" y="34485"/>
                          <a:pt x="34485" y="28476"/>
                          <a:pt x="34485" y="21031"/>
                        </a:cubicBezTo>
                        <a:cubicBezTo>
                          <a:pt x="34485" y="13585"/>
                          <a:pt x="28476" y="7576"/>
                          <a:pt x="21031" y="757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98" name="Graphic 717">
                  <a:extLst>
                    <a:ext uri="{FF2B5EF4-FFF2-40B4-BE49-F238E27FC236}">
                      <a16:creationId xmlns:a16="http://schemas.microsoft.com/office/drawing/2014/main" id="{C9426E63-08F2-7501-9B23-4BB2E2B02A6C}"/>
                    </a:ext>
                  </a:extLst>
                </p:cNvPr>
                <p:cNvGrpSpPr/>
                <p:nvPr/>
              </p:nvGrpSpPr>
              <p:grpSpPr>
                <a:xfrm>
                  <a:off x="209480" y="4991697"/>
                  <a:ext cx="42061" cy="42061"/>
                  <a:chOff x="209480" y="4991697"/>
                  <a:chExt cx="42061" cy="42061"/>
                </a:xfrm>
                <a:grpFill/>
              </p:grpSpPr>
              <p:sp>
                <p:nvSpPr>
                  <p:cNvPr id="899" name="Freeform: Shape 898">
                    <a:extLst>
                      <a:ext uri="{FF2B5EF4-FFF2-40B4-BE49-F238E27FC236}">
                        <a16:creationId xmlns:a16="http://schemas.microsoft.com/office/drawing/2014/main" id="{D28A62D9-BF77-5E2D-4798-C18A18208739}"/>
                      </a:ext>
                    </a:extLst>
                  </p:cNvPr>
                  <p:cNvSpPr/>
                  <p:nvPr/>
                </p:nvSpPr>
                <p:spPr>
                  <a:xfrm>
                    <a:off x="213268" y="4995485"/>
                    <a:ext cx="34484" cy="34484"/>
                  </a:xfrm>
                  <a:custGeom>
                    <a:avLst/>
                    <a:gdLst>
                      <a:gd name="connsiteX0" fmla="*/ 34485 w 34484"/>
                      <a:gd name="connsiteY0" fmla="*/ 17242 h 34484"/>
                      <a:gd name="connsiteX1" fmla="*/ 17242 w 34484"/>
                      <a:gd name="connsiteY1" fmla="*/ 34485 h 34484"/>
                      <a:gd name="connsiteX2" fmla="*/ 0 w 34484"/>
                      <a:gd name="connsiteY2" fmla="*/ 17242 h 34484"/>
                      <a:gd name="connsiteX3" fmla="*/ 17242 w 34484"/>
                      <a:gd name="connsiteY3" fmla="*/ 0 h 34484"/>
                      <a:gd name="connsiteX4" fmla="*/ 34485 w 34484"/>
                      <a:gd name="connsiteY4" fmla="*/ 17242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34485" y="17242"/>
                        </a:moveTo>
                        <a:cubicBezTo>
                          <a:pt x="34485" y="26765"/>
                          <a:pt x="26765" y="34485"/>
                          <a:pt x="17242" y="34485"/>
                        </a:cubicBezTo>
                        <a:cubicBezTo>
                          <a:pt x="7720" y="34485"/>
                          <a:pt x="0" y="26765"/>
                          <a:pt x="0" y="17242"/>
                        </a:cubicBezTo>
                        <a:cubicBezTo>
                          <a:pt x="0" y="7720"/>
                          <a:pt x="7720" y="0"/>
                          <a:pt x="17242" y="0"/>
                        </a:cubicBezTo>
                        <a:cubicBezTo>
                          <a:pt x="26765" y="0"/>
                          <a:pt x="34485" y="7720"/>
                          <a:pt x="34485" y="1724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00" name="Freeform: Shape 899">
                    <a:extLst>
                      <a:ext uri="{FF2B5EF4-FFF2-40B4-BE49-F238E27FC236}">
                        <a16:creationId xmlns:a16="http://schemas.microsoft.com/office/drawing/2014/main" id="{148B40C9-1B6A-60DE-A8FA-AC6B6A5F6F88}"/>
                      </a:ext>
                    </a:extLst>
                  </p:cNvPr>
                  <p:cNvSpPr/>
                  <p:nvPr/>
                </p:nvSpPr>
                <p:spPr>
                  <a:xfrm>
                    <a:off x="209480" y="4991697"/>
                    <a:ext cx="42061" cy="42061"/>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576 h 42061"/>
                      <a:gd name="connsiteX6" fmla="*/ 7576 w 42061"/>
                      <a:gd name="connsiteY6" fmla="*/ 21031 h 42061"/>
                      <a:gd name="connsiteX7" fmla="*/ 21031 w 42061"/>
                      <a:gd name="connsiteY7" fmla="*/ 34485 h 42061"/>
                      <a:gd name="connsiteX8" fmla="*/ 34485 w 42061"/>
                      <a:gd name="connsiteY8" fmla="*/ 21031 h 42061"/>
                      <a:gd name="connsiteX9" fmla="*/ 21031 w 42061"/>
                      <a:gd name="connsiteY9" fmla="*/ 757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576"/>
                        </a:moveTo>
                        <a:cubicBezTo>
                          <a:pt x="13585" y="7576"/>
                          <a:pt x="7576" y="13585"/>
                          <a:pt x="7576" y="21031"/>
                        </a:cubicBezTo>
                        <a:cubicBezTo>
                          <a:pt x="7576" y="28476"/>
                          <a:pt x="13585" y="34485"/>
                          <a:pt x="21031" y="34485"/>
                        </a:cubicBezTo>
                        <a:cubicBezTo>
                          <a:pt x="28476" y="34485"/>
                          <a:pt x="34485" y="28476"/>
                          <a:pt x="34485" y="21031"/>
                        </a:cubicBezTo>
                        <a:cubicBezTo>
                          <a:pt x="34485" y="13585"/>
                          <a:pt x="28476" y="7576"/>
                          <a:pt x="21031" y="757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01" name="Graphic 717">
                  <a:extLst>
                    <a:ext uri="{FF2B5EF4-FFF2-40B4-BE49-F238E27FC236}">
                      <a16:creationId xmlns:a16="http://schemas.microsoft.com/office/drawing/2014/main" id="{560463ED-2C0D-5224-F8A0-2ACBDA274AF8}"/>
                    </a:ext>
                  </a:extLst>
                </p:cNvPr>
                <p:cNvGrpSpPr/>
                <p:nvPr/>
              </p:nvGrpSpPr>
              <p:grpSpPr>
                <a:xfrm>
                  <a:off x="209480" y="4991697"/>
                  <a:ext cx="42061" cy="42061"/>
                  <a:chOff x="209480" y="4991697"/>
                  <a:chExt cx="42061" cy="42061"/>
                </a:xfrm>
                <a:grpFill/>
              </p:grpSpPr>
              <p:sp>
                <p:nvSpPr>
                  <p:cNvPr id="902" name="Freeform: Shape 901">
                    <a:extLst>
                      <a:ext uri="{FF2B5EF4-FFF2-40B4-BE49-F238E27FC236}">
                        <a16:creationId xmlns:a16="http://schemas.microsoft.com/office/drawing/2014/main" id="{DDACDA33-35B9-8DE7-B3C7-E6ABD890C449}"/>
                      </a:ext>
                    </a:extLst>
                  </p:cNvPr>
                  <p:cNvSpPr/>
                  <p:nvPr/>
                </p:nvSpPr>
                <p:spPr>
                  <a:xfrm>
                    <a:off x="213268" y="4995485"/>
                    <a:ext cx="34484" cy="34484"/>
                  </a:xfrm>
                  <a:custGeom>
                    <a:avLst/>
                    <a:gdLst>
                      <a:gd name="connsiteX0" fmla="*/ 34485 w 34484"/>
                      <a:gd name="connsiteY0" fmla="*/ 17242 h 34484"/>
                      <a:gd name="connsiteX1" fmla="*/ 17242 w 34484"/>
                      <a:gd name="connsiteY1" fmla="*/ 34485 h 34484"/>
                      <a:gd name="connsiteX2" fmla="*/ 0 w 34484"/>
                      <a:gd name="connsiteY2" fmla="*/ 17242 h 34484"/>
                      <a:gd name="connsiteX3" fmla="*/ 17242 w 34484"/>
                      <a:gd name="connsiteY3" fmla="*/ 0 h 34484"/>
                      <a:gd name="connsiteX4" fmla="*/ 34485 w 34484"/>
                      <a:gd name="connsiteY4" fmla="*/ 17242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34485" y="17242"/>
                        </a:moveTo>
                        <a:cubicBezTo>
                          <a:pt x="34485" y="26765"/>
                          <a:pt x="26765" y="34485"/>
                          <a:pt x="17242" y="34485"/>
                        </a:cubicBezTo>
                        <a:cubicBezTo>
                          <a:pt x="7720" y="34485"/>
                          <a:pt x="0" y="26765"/>
                          <a:pt x="0" y="17242"/>
                        </a:cubicBezTo>
                        <a:cubicBezTo>
                          <a:pt x="0" y="7720"/>
                          <a:pt x="7720" y="0"/>
                          <a:pt x="17242" y="0"/>
                        </a:cubicBezTo>
                        <a:cubicBezTo>
                          <a:pt x="26765" y="0"/>
                          <a:pt x="34485" y="7720"/>
                          <a:pt x="34485" y="1724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03" name="Freeform: Shape 902">
                    <a:extLst>
                      <a:ext uri="{FF2B5EF4-FFF2-40B4-BE49-F238E27FC236}">
                        <a16:creationId xmlns:a16="http://schemas.microsoft.com/office/drawing/2014/main" id="{2E81B4C8-8669-CD6B-3AC5-1BD5EF42ADFA}"/>
                      </a:ext>
                    </a:extLst>
                  </p:cNvPr>
                  <p:cNvSpPr/>
                  <p:nvPr/>
                </p:nvSpPr>
                <p:spPr>
                  <a:xfrm>
                    <a:off x="209480" y="4991697"/>
                    <a:ext cx="42061" cy="42061"/>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576 h 42061"/>
                      <a:gd name="connsiteX6" fmla="*/ 7576 w 42061"/>
                      <a:gd name="connsiteY6" fmla="*/ 21031 h 42061"/>
                      <a:gd name="connsiteX7" fmla="*/ 21031 w 42061"/>
                      <a:gd name="connsiteY7" fmla="*/ 34485 h 42061"/>
                      <a:gd name="connsiteX8" fmla="*/ 34485 w 42061"/>
                      <a:gd name="connsiteY8" fmla="*/ 21031 h 42061"/>
                      <a:gd name="connsiteX9" fmla="*/ 21031 w 42061"/>
                      <a:gd name="connsiteY9" fmla="*/ 757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576"/>
                        </a:moveTo>
                        <a:cubicBezTo>
                          <a:pt x="13585" y="7576"/>
                          <a:pt x="7576" y="13585"/>
                          <a:pt x="7576" y="21031"/>
                        </a:cubicBezTo>
                        <a:cubicBezTo>
                          <a:pt x="7576" y="28476"/>
                          <a:pt x="13585" y="34485"/>
                          <a:pt x="21031" y="34485"/>
                        </a:cubicBezTo>
                        <a:cubicBezTo>
                          <a:pt x="28476" y="34485"/>
                          <a:pt x="34485" y="28476"/>
                          <a:pt x="34485" y="21031"/>
                        </a:cubicBezTo>
                        <a:cubicBezTo>
                          <a:pt x="34485" y="13585"/>
                          <a:pt x="28476" y="7576"/>
                          <a:pt x="21031" y="757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04" name="Graphic 717">
                  <a:extLst>
                    <a:ext uri="{FF2B5EF4-FFF2-40B4-BE49-F238E27FC236}">
                      <a16:creationId xmlns:a16="http://schemas.microsoft.com/office/drawing/2014/main" id="{542ECB39-E945-BD77-A45F-88CC2C7C2D02}"/>
                    </a:ext>
                  </a:extLst>
                </p:cNvPr>
                <p:cNvGrpSpPr/>
                <p:nvPr/>
              </p:nvGrpSpPr>
              <p:grpSpPr>
                <a:xfrm>
                  <a:off x="298044" y="4991697"/>
                  <a:ext cx="42061" cy="42061"/>
                  <a:chOff x="298044" y="4991697"/>
                  <a:chExt cx="42061" cy="42061"/>
                </a:xfrm>
                <a:grpFill/>
              </p:grpSpPr>
              <p:sp>
                <p:nvSpPr>
                  <p:cNvPr id="905" name="Freeform: Shape 904">
                    <a:extLst>
                      <a:ext uri="{FF2B5EF4-FFF2-40B4-BE49-F238E27FC236}">
                        <a16:creationId xmlns:a16="http://schemas.microsoft.com/office/drawing/2014/main" id="{A34A2FDF-92B2-A2FC-9E33-85AB8DC8509E}"/>
                      </a:ext>
                    </a:extLst>
                  </p:cNvPr>
                  <p:cNvSpPr/>
                  <p:nvPr/>
                </p:nvSpPr>
                <p:spPr>
                  <a:xfrm>
                    <a:off x="301832" y="4995485"/>
                    <a:ext cx="34484" cy="34484"/>
                  </a:xfrm>
                  <a:custGeom>
                    <a:avLst/>
                    <a:gdLst>
                      <a:gd name="connsiteX0" fmla="*/ 0 w 34484"/>
                      <a:gd name="connsiteY0" fmla="*/ 17243 h 34484"/>
                      <a:gd name="connsiteX1" fmla="*/ 17242 w 34484"/>
                      <a:gd name="connsiteY1" fmla="*/ 0 h 34484"/>
                      <a:gd name="connsiteX2" fmla="*/ 34485 w 34484"/>
                      <a:gd name="connsiteY2" fmla="*/ 17243 h 34484"/>
                      <a:gd name="connsiteX3" fmla="*/ 17242 w 34484"/>
                      <a:gd name="connsiteY3" fmla="*/ 34485 h 34484"/>
                      <a:gd name="connsiteX4" fmla="*/ 0 w 34484"/>
                      <a:gd name="connsiteY4" fmla="*/ 17243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0" y="17243"/>
                        </a:moveTo>
                        <a:cubicBezTo>
                          <a:pt x="0" y="7707"/>
                          <a:pt x="7707" y="0"/>
                          <a:pt x="17242" y="0"/>
                        </a:cubicBezTo>
                        <a:cubicBezTo>
                          <a:pt x="26778" y="0"/>
                          <a:pt x="34485" y="7707"/>
                          <a:pt x="34485" y="17243"/>
                        </a:cubicBezTo>
                        <a:cubicBezTo>
                          <a:pt x="34485" y="26778"/>
                          <a:pt x="26778" y="34485"/>
                          <a:pt x="17242" y="34485"/>
                        </a:cubicBezTo>
                        <a:cubicBezTo>
                          <a:pt x="7707" y="34485"/>
                          <a:pt x="0" y="26778"/>
                          <a:pt x="0" y="1724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06" name="Freeform: Shape 905">
                    <a:extLst>
                      <a:ext uri="{FF2B5EF4-FFF2-40B4-BE49-F238E27FC236}">
                        <a16:creationId xmlns:a16="http://schemas.microsoft.com/office/drawing/2014/main" id="{E373F4EE-A02C-A192-9B3C-C9B95B051EA1}"/>
                      </a:ext>
                    </a:extLst>
                  </p:cNvPr>
                  <p:cNvSpPr/>
                  <p:nvPr/>
                </p:nvSpPr>
                <p:spPr>
                  <a:xfrm>
                    <a:off x="298044" y="4991697"/>
                    <a:ext cx="42061" cy="42061"/>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576 h 42061"/>
                      <a:gd name="connsiteX6" fmla="*/ 7576 w 42061"/>
                      <a:gd name="connsiteY6" fmla="*/ 21031 h 42061"/>
                      <a:gd name="connsiteX7" fmla="*/ 21031 w 42061"/>
                      <a:gd name="connsiteY7" fmla="*/ 34485 h 42061"/>
                      <a:gd name="connsiteX8" fmla="*/ 34485 w 42061"/>
                      <a:gd name="connsiteY8" fmla="*/ 21031 h 42061"/>
                      <a:gd name="connsiteX9" fmla="*/ 21031 w 42061"/>
                      <a:gd name="connsiteY9" fmla="*/ 757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576"/>
                        </a:moveTo>
                        <a:cubicBezTo>
                          <a:pt x="13585" y="7576"/>
                          <a:pt x="7576" y="13585"/>
                          <a:pt x="7576" y="21031"/>
                        </a:cubicBezTo>
                        <a:cubicBezTo>
                          <a:pt x="7576" y="28476"/>
                          <a:pt x="13585" y="34485"/>
                          <a:pt x="21031" y="34485"/>
                        </a:cubicBezTo>
                        <a:cubicBezTo>
                          <a:pt x="28476" y="34485"/>
                          <a:pt x="34485" y="28476"/>
                          <a:pt x="34485" y="21031"/>
                        </a:cubicBezTo>
                        <a:cubicBezTo>
                          <a:pt x="34485" y="13585"/>
                          <a:pt x="28476" y="7576"/>
                          <a:pt x="21031" y="757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07" name="Graphic 717">
                  <a:extLst>
                    <a:ext uri="{FF2B5EF4-FFF2-40B4-BE49-F238E27FC236}">
                      <a16:creationId xmlns:a16="http://schemas.microsoft.com/office/drawing/2014/main" id="{08BE6299-488B-117F-8E3B-C4308BEE6982}"/>
                    </a:ext>
                  </a:extLst>
                </p:cNvPr>
                <p:cNvGrpSpPr/>
                <p:nvPr/>
              </p:nvGrpSpPr>
              <p:grpSpPr>
                <a:xfrm>
                  <a:off x="209480" y="4622290"/>
                  <a:ext cx="42061" cy="42061"/>
                  <a:chOff x="209480" y="4622290"/>
                  <a:chExt cx="42061" cy="42061"/>
                </a:xfrm>
                <a:grpFill/>
              </p:grpSpPr>
              <p:sp>
                <p:nvSpPr>
                  <p:cNvPr id="908" name="Freeform: Shape 907">
                    <a:extLst>
                      <a:ext uri="{FF2B5EF4-FFF2-40B4-BE49-F238E27FC236}">
                        <a16:creationId xmlns:a16="http://schemas.microsoft.com/office/drawing/2014/main" id="{11A70D66-4B11-38EB-4498-728AA509AB62}"/>
                      </a:ext>
                    </a:extLst>
                  </p:cNvPr>
                  <p:cNvSpPr/>
                  <p:nvPr/>
                </p:nvSpPr>
                <p:spPr>
                  <a:xfrm>
                    <a:off x="213268" y="4626078"/>
                    <a:ext cx="34484" cy="34484"/>
                  </a:xfrm>
                  <a:custGeom>
                    <a:avLst/>
                    <a:gdLst>
                      <a:gd name="connsiteX0" fmla="*/ 34485 w 34484"/>
                      <a:gd name="connsiteY0" fmla="*/ 17243 h 34484"/>
                      <a:gd name="connsiteX1" fmla="*/ 17242 w 34484"/>
                      <a:gd name="connsiteY1" fmla="*/ 34485 h 34484"/>
                      <a:gd name="connsiteX2" fmla="*/ 0 w 34484"/>
                      <a:gd name="connsiteY2" fmla="*/ 17243 h 34484"/>
                      <a:gd name="connsiteX3" fmla="*/ 17242 w 34484"/>
                      <a:gd name="connsiteY3" fmla="*/ 0 h 34484"/>
                      <a:gd name="connsiteX4" fmla="*/ 34485 w 34484"/>
                      <a:gd name="connsiteY4" fmla="*/ 17243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34485" y="17243"/>
                        </a:moveTo>
                        <a:cubicBezTo>
                          <a:pt x="34485" y="26765"/>
                          <a:pt x="26765" y="34485"/>
                          <a:pt x="17242" y="34485"/>
                        </a:cubicBezTo>
                        <a:cubicBezTo>
                          <a:pt x="7720" y="34485"/>
                          <a:pt x="0" y="26765"/>
                          <a:pt x="0" y="17243"/>
                        </a:cubicBezTo>
                        <a:cubicBezTo>
                          <a:pt x="0" y="7720"/>
                          <a:pt x="7720" y="0"/>
                          <a:pt x="17242" y="0"/>
                        </a:cubicBezTo>
                        <a:cubicBezTo>
                          <a:pt x="26765" y="0"/>
                          <a:pt x="34485" y="7720"/>
                          <a:pt x="34485" y="1724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09" name="Freeform: Shape 908">
                    <a:extLst>
                      <a:ext uri="{FF2B5EF4-FFF2-40B4-BE49-F238E27FC236}">
                        <a16:creationId xmlns:a16="http://schemas.microsoft.com/office/drawing/2014/main" id="{51B8F108-9A75-705F-A52A-36E673C39407}"/>
                      </a:ext>
                    </a:extLst>
                  </p:cNvPr>
                  <p:cNvSpPr/>
                  <p:nvPr/>
                </p:nvSpPr>
                <p:spPr>
                  <a:xfrm>
                    <a:off x="209480" y="4622290"/>
                    <a:ext cx="42061" cy="42061"/>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446 h 42061"/>
                      <a:gd name="connsiteX6" fmla="*/ 7576 w 42061"/>
                      <a:gd name="connsiteY6" fmla="*/ 20900 h 42061"/>
                      <a:gd name="connsiteX7" fmla="*/ 21031 w 42061"/>
                      <a:gd name="connsiteY7" fmla="*/ 34354 h 42061"/>
                      <a:gd name="connsiteX8" fmla="*/ 34485 w 42061"/>
                      <a:gd name="connsiteY8" fmla="*/ 20900 h 42061"/>
                      <a:gd name="connsiteX9" fmla="*/ 21031 w 42061"/>
                      <a:gd name="connsiteY9" fmla="*/ 744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446"/>
                        </a:moveTo>
                        <a:cubicBezTo>
                          <a:pt x="13585" y="7446"/>
                          <a:pt x="7576" y="13454"/>
                          <a:pt x="7576" y="20900"/>
                        </a:cubicBezTo>
                        <a:cubicBezTo>
                          <a:pt x="7576" y="28346"/>
                          <a:pt x="13585" y="34354"/>
                          <a:pt x="21031" y="34354"/>
                        </a:cubicBezTo>
                        <a:cubicBezTo>
                          <a:pt x="28476" y="34354"/>
                          <a:pt x="34485" y="28346"/>
                          <a:pt x="34485" y="20900"/>
                        </a:cubicBezTo>
                        <a:cubicBezTo>
                          <a:pt x="34485" y="13454"/>
                          <a:pt x="28476" y="7446"/>
                          <a:pt x="21031"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10" name="Graphic 717">
                  <a:extLst>
                    <a:ext uri="{FF2B5EF4-FFF2-40B4-BE49-F238E27FC236}">
                      <a16:creationId xmlns:a16="http://schemas.microsoft.com/office/drawing/2014/main" id="{A310790A-21F8-742F-2E5A-EFA2F3D48DAD}"/>
                    </a:ext>
                  </a:extLst>
                </p:cNvPr>
                <p:cNvGrpSpPr/>
                <p:nvPr/>
              </p:nvGrpSpPr>
              <p:grpSpPr>
                <a:xfrm>
                  <a:off x="298044" y="4622290"/>
                  <a:ext cx="42061" cy="42061"/>
                  <a:chOff x="298044" y="4622290"/>
                  <a:chExt cx="42061" cy="42061"/>
                </a:xfrm>
                <a:grpFill/>
              </p:grpSpPr>
              <p:sp>
                <p:nvSpPr>
                  <p:cNvPr id="911" name="Freeform: Shape 910">
                    <a:extLst>
                      <a:ext uri="{FF2B5EF4-FFF2-40B4-BE49-F238E27FC236}">
                        <a16:creationId xmlns:a16="http://schemas.microsoft.com/office/drawing/2014/main" id="{EE2D39B5-45FD-0A70-C742-20A26281D4AB}"/>
                      </a:ext>
                    </a:extLst>
                  </p:cNvPr>
                  <p:cNvSpPr/>
                  <p:nvPr/>
                </p:nvSpPr>
                <p:spPr>
                  <a:xfrm>
                    <a:off x="301832" y="4626078"/>
                    <a:ext cx="34484" cy="34484"/>
                  </a:xfrm>
                  <a:custGeom>
                    <a:avLst/>
                    <a:gdLst>
                      <a:gd name="connsiteX0" fmla="*/ 0 w 34484"/>
                      <a:gd name="connsiteY0" fmla="*/ 17243 h 34484"/>
                      <a:gd name="connsiteX1" fmla="*/ 17242 w 34484"/>
                      <a:gd name="connsiteY1" fmla="*/ 0 h 34484"/>
                      <a:gd name="connsiteX2" fmla="*/ 34485 w 34484"/>
                      <a:gd name="connsiteY2" fmla="*/ 17243 h 34484"/>
                      <a:gd name="connsiteX3" fmla="*/ 17242 w 34484"/>
                      <a:gd name="connsiteY3" fmla="*/ 34485 h 34484"/>
                      <a:gd name="connsiteX4" fmla="*/ 0 w 34484"/>
                      <a:gd name="connsiteY4" fmla="*/ 17243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0" y="17243"/>
                        </a:moveTo>
                        <a:cubicBezTo>
                          <a:pt x="0" y="7707"/>
                          <a:pt x="7707" y="0"/>
                          <a:pt x="17242" y="0"/>
                        </a:cubicBezTo>
                        <a:cubicBezTo>
                          <a:pt x="26778" y="0"/>
                          <a:pt x="34485" y="7707"/>
                          <a:pt x="34485" y="17243"/>
                        </a:cubicBezTo>
                        <a:cubicBezTo>
                          <a:pt x="34485" y="26778"/>
                          <a:pt x="26778" y="34485"/>
                          <a:pt x="17242" y="34485"/>
                        </a:cubicBezTo>
                        <a:cubicBezTo>
                          <a:pt x="7707" y="34485"/>
                          <a:pt x="0" y="26778"/>
                          <a:pt x="0" y="1724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12" name="Freeform: Shape 911">
                    <a:extLst>
                      <a:ext uri="{FF2B5EF4-FFF2-40B4-BE49-F238E27FC236}">
                        <a16:creationId xmlns:a16="http://schemas.microsoft.com/office/drawing/2014/main" id="{A5FE6096-EA1B-2B20-4549-2BDD16D47D4C}"/>
                      </a:ext>
                    </a:extLst>
                  </p:cNvPr>
                  <p:cNvSpPr/>
                  <p:nvPr/>
                </p:nvSpPr>
                <p:spPr>
                  <a:xfrm>
                    <a:off x="298044" y="4622290"/>
                    <a:ext cx="42061" cy="42061"/>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446 h 42061"/>
                      <a:gd name="connsiteX6" fmla="*/ 7576 w 42061"/>
                      <a:gd name="connsiteY6" fmla="*/ 20900 h 42061"/>
                      <a:gd name="connsiteX7" fmla="*/ 21031 w 42061"/>
                      <a:gd name="connsiteY7" fmla="*/ 34354 h 42061"/>
                      <a:gd name="connsiteX8" fmla="*/ 34485 w 42061"/>
                      <a:gd name="connsiteY8" fmla="*/ 20900 h 42061"/>
                      <a:gd name="connsiteX9" fmla="*/ 21031 w 42061"/>
                      <a:gd name="connsiteY9" fmla="*/ 744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446"/>
                        </a:moveTo>
                        <a:cubicBezTo>
                          <a:pt x="13585" y="7446"/>
                          <a:pt x="7576" y="13454"/>
                          <a:pt x="7576" y="20900"/>
                        </a:cubicBezTo>
                        <a:cubicBezTo>
                          <a:pt x="7576" y="28346"/>
                          <a:pt x="13585" y="34354"/>
                          <a:pt x="21031" y="34354"/>
                        </a:cubicBezTo>
                        <a:cubicBezTo>
                          <a:pt x="28476" y="34354"/>
                          <a:pt x="34485" y="28346"/>
                          <a:pt x="34485" y="20900"/>
                        </a:cubicBezTo>
                        <a:cubicBezTo>
                          <a:pt x="34485" y="13454"/>
                          <a:pt x="28476" y="7446"/>
                          <a:pt x="21031"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nvGrpSpPr>
              <p:cNvPr id="923" name="Graphic 717">
                <a:extLst>
                  <a:ext uri="{FF2B5EF4-FFF2-40B4-BE49-F238E27FC236}">
                    <a16:creationId xmlns:a16="http://schemas.microsoft.com/office/drawing/2014/main" id="{54D25448-8D0D-C390-76DC-302A1A7F568A}"/>
                  </a:ext>
                </a:extLst>
              </p:cNvPr>
              <p:cNvGrpSpPr/>
              <p:nvPr/>
            </p:nvGrpSpPr>
            <p:grpSpPr>
              <a:xfrm>
                <a:off x="8821066" y="2898909"/>
                <a:ext cx="386517" cy="463605"/>
                <a:chOff x="2934966" y="4212128"/>
                <a:chExt cx="435111" cy="506954"/>
              </a:xfrm>
              <a:noFill/>
            </p:grpSpPr>
            <p:grpSp>
              <p:nvGrpSpPr>
                <p:cNvPr id="924" name="Graphic 717">
                  <a:extLst>
                    <a:ext uri="{FF2B5EF4-FFF2-40B4-BE49-F238E27FC236}">
                      <a16:creationId xmlns:a16="http://schemas.microsoft.com/office/drawing/2014/main" id="{AE8AA508-CA68-9928-69EF-20EB9E4C7D67}"/>
                    </a:ext>
                  </a:extLst>
                </p:cNvPr>
                <p:cNvGrpSpPr/>
                <p:nvPr/>
              </p:nvGrpSpPr>
              <p:grpSpPr>
                <a:xfrm>
                  <a:off x="2934966" y="4574220"/>
                  <a:ext cx="435111" cy="144863"/>
                  <a:chOff x="2934966" y="4574220"/>
                  <a:chExt cx="435111" cy="144863"/>
                </a:xfrm>
                <a:grpFill/>
              </p:grpSpPr>
              <p:sp>
                <p:nvSpPr>
                  <p:cNvPr id="925" name="Freeform: Shape 924">
                    <a:extLst>
                      <a:ext uri="{FF2B5EF4-FFF2-40B4-BE49-F238E27FC236}">
                        <a16:creationId xmlns:a16="http://schemas.microsoft.com/office/drawing/2014/main" id="{6EB34D65-C025-E907-54B2-0757CEEC7970}"/>
                      </a:ext>
                    </a:extLst>
                  </p:cNvPr>
                  <p:cNvSpPr/>
                  <p:nvPr/>
                </p:nvSpPr>
                <p:spPr>
                  <a:xfrm>
                    <a:off x="2938754" y="4578139"/>
                    <a:ext cx="427534" cy="137286"/>
                  </a:xfrm>
                  <a:custGeom>
                    <a:avLst/>
                    <a:gdLst>
                      <a:gd name="connsiteX0" fmla="*/ 0 w 427534"/>
                      <a:gd name="connsiteY0" fmla="*/ 0 h 137286"/>
                      <a:gd name="connsiteX1" fmla="*/ 427535 w 427534"/>
                      <a:gd name="connsiteY1" fmla="*/ 0 h 137286"/>
                      <a:gd name="connsiteX2" fmla="*/ 427535 w 427534"/>
                      <a:gd name="connsiteY2" fmla="*/ 137287 h 137286"/>
                      <a:gd name="connsiteX3" fmla="*/ 0 w 427534"/>
                      <a:gd name="connsiteY3" fmla="*/ 137287 h 137286"/>
                    </a:gdLst>
                    <a:ahLst/>
                    <a:cxnLst>
                      <a:cxn ang="0">
                        <a:pos x="connsiteX0" y="connsiteY0"/>
                      </a:cxn>
                      <a:cxn ang="0">
                        <a:pos x="connsiteX1" y="connsiteY1"/>
                      </a:cxn>
                      <a:cxn ang="0">
                        <a:pos x="connsiteX2" y="connsiteY2"/>
                      </a:cxn>
                      <a:cxn ang="0">
                        <a:pos x="connsiteX3" y="connsiteY3"/>
                      </a:cxn>
                    </a:cxnLst>
                    <a:rect l="l" t="t" r="r" b="b"/>
                    <a:pathLst>
                      <a:path w="427534" h="137286">
                        <a:moveTo>
                          <a:pt x="0" y="0"/>
                        </a:moveTo>
                        <a:lnTo>
                          <a:pt x="427535" y="0"/>
                        </a:lnTo>
                        <a:lnTo>
                          <a:pt x="427535" y="137287"/>
                        </a:lnTo>
                        <a:lnTo>
                          <a:pt x="0" y="13728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26" name="Freeform: Shape 925">
                    <a:extLst>
                      <a:ext uri="{FF2B5EF4-FFF2-40B4-BE49-F238E27FC236}">
                        <a16:creationId xmlns:a16="http://schemas.microsoft.com/office/drawing/2014/main" id="{FE85F037-6889-66A1-46A4-5BFCF449B3E1}"/>
                      </a:ext>
                    </a:extLst>
                  </p:cNvPr>
                  <p:cNvSpPr/>
                  <p:nvPr/>
                </p:nvSpPr>
                <p:spPr>
                  <a:xfrm>
                    <a:off x="2934966" y="4574220"/>
                    <a:ext cx="435111" cy="144863"/>
                  </a:xfrm>
                  <a:custGeom>
                    <a:avLst/>
                    <a:gdLst>
                      <a:gd name="connsiteX0" fmla="*/ 431323 w 435111"/>
                      <a:gd name="connsiteY0" fmla="*/ 144863 h 144863"/>
                      <a:gd name="connsiteX1" fmla="*/ 3788 w 435111"/>
                      <a:gd name="connsiteY1" fmla="*/ 144863 h 144863"/>
                      <a:gd name="connsiteX2" fmla="*/ 0 w 435111"/>
                      <a:gd name="connsiteY2" fmla="*/ 141075 h 144863"/>
                      <a:gd name="connsiteX3" fmla="*/ 0 w 435111"/>
                      <a:gd name="connsiteY3" fmla="*/ 3788 h 144863"/>
                      <a:gd name="connsiteX4" fmla="*/ 3788 w 435111"/>
                      <a:gd name="connsiteY4" fmla="*/ 0 h 144863"/>
                      <a:gd name="connsiteX5" fmla="*/ 431323 w 435111"/>
                      <a:gd name="connsiteY5" fmla="*/ 0 h 144863"/>
                      <a:gd name="connsiteX6" fmla="*/ 435111 w 435111"/>
                      <a:gd name="connsiteY6" fmla="*/ 3788 h 144863"/>
                      <a:gd name="connsiteX7" fmla="*/ 435111 w 435111"/>
                      <a:gd name="connsiteY7" fmla="*/ 141075 h 144863"/>
                      <a:gd name="connsiteX8" fmla="*/ 431323 w 435111"/>
                      <a:gd name="connsiteY8" fmla="*/ 144863 h 144863"/>
                      <a:gd name="connsiteX9" fmla="*/ 7576 w 435111"/>
                      <a:gd name="connsiteY9" fmla="*/ 137417 h 144863"/>
                      <a:gd name="connsiteX10" fmla="*/ 427535 w 435111"/>
                      <a:gd name="connsiteY10" fmla="*/ 137417 h 144863"/>
                      <a:gd name="connsiteX11" fmla="*/ 427535 w 435111"/>
                      <a:gd name="connsiteY11" fmla="*/ 7707 h 144863"/>
                      <a:gd name="connsiteX12" fmla="*/ 7576 w 435111"/>
                      <a:gd name="connsiteY12" fmla="*/ 7707 h 144863"/>
                      <a:gd name="connsiteX13" fmla="*/ 7576 w 435111"/>
                      <a:gd name="connsiteY13" fmla="*/ 137417 h 14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111" h="144863">
                        <a:moveTo>
                          <a:pt x="431323" y="144863"/>
                        </a:moveTo>
                        <a:lnTo>
                          <a:pt x="3788" y="144863"/>
                        </a:lnTo>
                        <a:cubicBezTo>
                          <a:pt x="1698" y="144863"/>
                          <a:pt x="0" y="143165"/>
                          <a:pt x="0" y="141075"/>
                        </a:cubicBezTo>
                        <a:lnTo>
                          <a:pt x="0" y="3788"/>
                        </a:lnTo>
                        <a:cubicBezTo>
                          <a:pt x="0" y="1698"/>
                          <a:pt x="1698" y="0"/>
                          <a:pt x="3788" y="0"/>
                        </a:cubicBezTo>
                        <a:lnTo>
                          <a:pt x="431323" y="0"/>
                        </a:lnTo>
                        <a:cubicBezTo>
                          <a:pt x="433413" y="0"/>
                          <a:pt x="435111" y="1698"/>
                          <a:pt x="435111" y="3788"/>
                        </a:cubicBezTo>
                        <a:lnTo>
                          <a:pt x="435111" y="141075"/>
                        </a:lnTo>
                        <a:cubicBezTo>
                          <a:pt x="435111" y="143165"/>
                          <a:pt x="433413" y="144863"/>
                          <a:pt x="431323" y="144863"/>
                        </a:cubicBezTo>
                        <a:close/>
                        <a:moveTo>
                          <a:pt x="7576" y="137417"/>
                        </a:moveTo>
                        <a:lnTo>
                          <a:pt x="427535" y="137417"/>
                        </a:lnTo>
                        <a:cubicBezTo>
                          <a:pt x="427535" y="137417"/>
                          <a:pt x="427535" y="7707"/>
                          <a:pt x="427535" y="7707"/>
                        </a:cubicBezTo>
                        <a:lnTo>
                          <a:pt x="7576" y="7707"/>
                        </a:lnTo>
                        <a:cubicBezTo>
                          <a:pt x="7576" y="7707"/>
                          <a:pt x="7576" y="137417"/>
                          <a:pt x="7576" y="13741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27" name="Graphic 717">
                  <a:extLst>
                    <a:ext uri="{FF2B5EF4-FFF2-40B4-BE49-F238E27FC236}">
                      <a16:creationId xmlns:a16="http://schemas.microsoft.com/office/drawing/2014/main" id="{5B3B9E1D-EB8B-544C-D41B-4F87897E5B14}"/>
                    </a:ext>
                  </a:extLst>
                </p:cNvPr>
                <p:cNvGrpSpPr/>
                <p:nvPr/>
              </p:nvGrpSpPr>
              <p:grpSpPr>
                <a:xfrm>
                  <a:off x="2934966" y="4212128"/>
                  <a:ext cx="435111" cy="144863"/>
                  <a:chOff x="2934966" y="4212128"/>
                  <a:chExt cx="435111" cy="144863"/>
                </a:xfrm>
                <a:grpFill/>
              </p:grpSpPr>
              <p:sp>
                <p:nvSpPr>
                  <p:cNvPr id="928" name="Freeform: Shape 927">
                    <a:extLst>
                      <a:ext uri="{FF2B5EF4-FFF2-40B4-BE49-F238E27FC236}">
                        <a16:creationId xmlns:a16="http://schemas.microsoft.com/office/drawing/2014/main" id="{978D1D3B-72A4-7E2D-F03C-759E545A3D43}"/>
                      </a:ext>
                    </a:extLst>
                  </p:cNvPr>
                  <p:cNvSpPr/>
                  <p:nvPr/>
                </p:nvSpPr>
                <p:spPr>
                  <a:xfrm>
                    <a:off x="2938754" y="4216047"/>
                    <a:ext cx="427534" cy="137286"/>
                  </a:xfrm>
                  <a:custGeom>
                    <a:avLst/>
                    <a:gdLst>
                      <a:gd name="connsiteX0" fmla="*/ 0 w 427534"/>
                      <a:gd name="connsiteY0" fmla="*/ 0 h 137286"/>
                      <a:gd name="connsiteX1" fmla="*/ 427535 w 427534"/>
                      <a:gd name="connsiteY1" fmla="*/ 0 h 137286"/>
                      <a:gd name="connsiteX2" fmla="*/ 427535 w 427534"/>
                      <a:gd name="connsiteY2" fmla="*/ 137287 h 137286"/>
                      <a:gd name="connsiteX3" fmla="*/ 0 w 427534"/>
                      <a:gd name="connsiteY3" fmla="*/ 137287 h 137286"/>
                    </a:gdLst>
                    <a:ahLst/>
                    <a:cxnLst>
                      <a:cxn ang="0">
                        <a:pos x="connsiteX0" y="connsiteY0"/>
                      </a:cxn>
                      <a:cxn ang="0">
                        <a:pos x="connsiteX1" y="connsiteY1"/>
                      </a:cxn>
                      <a:cxn ang="0">
                        <a:pos x="connsiteX2" y="connsiteY2"/>
                      </a:cxn>
                      <a:cxn ang="0">
                        <a:pos x="connsiteX3" y="connsiteY3"/>
                      </a:cxn>
                    </a:cxnLst>
                    <a:rect l="l" t="t" r="r" b="b"/>
                    <a:pathLst>
                      <a:path w="427534" h="137286">
                        <a:moveTo>
                          <a:pt x="0" y="0"/>
                        </a:moveTo>
                        <a:lnTo>
                          <a:pt x="427535" y="0"/>
                        </a:lnTo>
                        <a:lnTo>
                          <a:pt x="427535" y="137287"/>
                        </a:lnTo>
                        <a:lnTo>
                          <a:pt x="0" y="13728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29" name="Freeform: Shape 928">
                    <a:extLst>
                      <a:ext uri="{FF2B5EF4-FFF2-40B4-BE49-F238E27FC236}">
                        <a16:creationId xmlns:a16="http://schemas.microsoft.com/office/drawing/2014/main" id="{938601A8-D00B-B2A7-B86F-C75D1C0C5986}"/>
                      </a:ext>
                    </a:extLst>
                  </p:cNvPr>
                  <p:cNvSpPr/>
                  <p:nvPr/>
                </p:nvSpPr>
                <p:spPr>
                  <a:xfrm>
                    <a:off x="2934966" y="4212128"/>
                    <a:ext cx="435111" cy="144863"/>
                  </a:xfrm>
                  <a:custGeom>
                    <a:avLst/>
                    <a:gdLst>
                      <a:gd name="connsiteX0" fmla="*/ 431323 w 435111"/>
                      <a:gd name="connsiteY0" fmla="*/ 144863 h 144863"/>
                      <a:gd name="connsiteX1" fmla="*/ 3788 w 435111"/>
                      <a:gd name="connsiteY1" fmla="*/ 144863 h 144863"/>
                      <a:gd name="connsiteX2" fmla="*/ 0 w 435111"/>
                      <a:gd name="connsiteY2" fmla="*/ 141075 h 144863"/>
                      <a:gd name="connsiteX3" fmla="*/ 0 w 435111"/>
                      <a:gd name="connsiteY3" fmla="*/ 3788 h 144863"/>
                      <a:gd name="connsiteX4" fmla="*/ 3788 w 435111"/>
                      <a:gd name="connsiteY4" fmla="*/ 0 h 144863"/>
                      <a:gd name="connsiteX5" fmla="*/ 431323 w 435111"/>
                      <a:gd name="connsiteY5" fmla="*/ 0 h 144863"/>
                      <a:gd name="connsiteX6" fmla="*/ 435111 w 435111"/>
                      <a:gd name="connsiteY6" fmla="*/ 3788 h 144863"/>
                      <a:gd name="connsiteX7" fmla="*/ 435111 w 435111"/>
                      <a:gd name="connsiteY7" fmla="*/ 141075 h 144863"/>
                      <a:gd name="connsiteX8" fmla="*/ 431323 w 435111"/>
                      <a:gd name="connsiteY8" fmla="*/ 144863 h 144863"/>
                      <a:gd name="connsiteX9" fmla="*/ 7576 w 435111"/>
                      <a:gd name="connsiteY9" fmla="*/ 137417 h 144863"/>
                      <a:gd name="connsiteX10" fmla="*/ 427535 w 435111"/>
                      <a:gd name="connsiteY10" fmla="*/ 137417 h 144863"/>
                      <a:gd name="connsiteX11" fmla="*/ 427535 w 435111"/>
                      <a:gd name="connsiteY11" fmla="*/ 7707 h 144863"/>
                      <a:gd name="connsiteX12" fmla="*/ 7576 w 435111"/>
                      <a:gd name="connsiteY12" fmla="*/ 7707 h 144863"/>
                      <a:gd name="connsiteX13" fmla="*/ 7576 w 435111"/>
                      <a:gd name="connsiteY13" fmla="*/ 137417 h 14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111" h="144863">
                        <a:moveTo>
                          <a:pt x="431323" y="144863"/>
                        </a:moveTo>
                        <a:lnTo>
                          <a:pt x="3788" y="144863"/>
                        </a:lnTo>
                        <a:cubicBezTo>
                          <a:pt x="1698" y="144863"/>
                          <a:pt x="0" y="143165"/>
                          <a:pt x="0" y="141075"/>
                        </a:cubicBezTo>
                        <a:lnTo>
                          <a:pt x="0" y="3788"/>
                        </a:lnTo>
                        <a:cubicBezTo>
                          <a:pt x="0" y="1698"/>
                          <a:pt x="1698" y="0"/>
                          <a:pt x="3788" y="0"/>
                        </a:cubicBezTo>
                        <a:lnTo>
                          <a:pt x="431323" y="0"/>
                        </a:lnTo>
                        <a:cubicBezTo>
                          <a:pt x="433413" y="0"/>
                          <a:pt x="435111" y="1698"/>
                          <a:pt x="435111" y="3788"/>
                        </a:cubicBezTo>
                        <a:lnTo>
                          <a:pt x="435111" y="141075"/>
                        </a:lnTo>
                        <a:cubicBezTo>
                          <a:pt x="435111" y="143165"/>
                          <a:pt x="433413" y="144863"/>
                          <a:pt x="431323" y="144863"/>
                        </a:cubicBezTo>
                        <a:close/>
                        <a:moveTo>
                          <a:pt x="7576" y="137417"/>
                        </a:moveTo>
                        <a:lnTo>
                          <a:pt x="427535" y="137417"/>
                        </a:lnTo>
                        <a:lnTo>
                          <a:pt x="427535" y="7707"/>
                        </a:lnTo>
                        <a:lnTo>
                          <a:pt x="7576" y="7707"/>
                        </a:lnTo>
                        <a:lnTo>
                          <a:pt x="7576" y="13741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30" name="Graphic 717">
                  <a:extLst>
                    <a:ext uri="{FF2B5EF4-FFF2-40B4-BE49-F238E27FC236}">
                      <a16:creationId xmlns:a16="http://schemas.microsoft.com/office/drawing/2014/main" id="{55CB85DB-E12B-A459-B90D-877B98569C62}"/>
                    </a:ext>
                  </a:extLst>
                </p:cNvPr>
                <p:cNvGrpSpPr/>
                <p:nvPr/>
              </p:nvGrpSpPr>
              <p:grpSpPr>
                <a:xfrm>
                  <a:off x="2934966" y="4393174"/>
                  <a:ext cx="435111" cy="144863"/>
                  <a:chOff x="2934966" y="4393174"/>
                  <a:chExt cx="435111" cy="144863"/>
                </a:xfrm>
                <a:grpFill/>
              </p:grpSpPr>
              <p:sp>
                <p:nvSpPr>
                  <p:cNvPr id="931" name="Freeform: Shape 930">
                    <a:extLst>
                      <a:ext uri="{FF2B5EF4-FFF2-40B4-BE49-F238E27FC236}">
                        <a16:creationId xmlns:a16="http://schemas.microsoft.com/office/drawing/2014/main" id="{922B1780-B33A-863C-727E-2C43C56B939A}"/>
                      </a:ext>
                    </a:extLst>
                  </p:cNvPr>
                  <p:cNvSpPr/>
                  <p:nvPr/>
                </p:nvSpPr>
                <p:spPr>
                  <a:xfrm>
                    <a:off x="2938754" y="4397093"/>
                    <a:ext cx="427534" cy="137286"/>
                  </a:xfrm>
                  <a:custGeom>
                    <a:avLst/>
                    <a:gdLst>
                      <a:gd name="connsiteX0" fmla="*/ 0 w 427534"/>
                      <a:gd name="connsiteY0" fmla="*/ 0 h 137286"/>
                      <a:gd name="connsiteX1" fmla="*/ 427535 w 427534"/>
                      <a:gd name="connsiteY1" fmla="*/ 0 h 137286"/>
                      <a:gd name="connsiteX2" fmla="*/ 427535 w 427534"/>
                      <a:gd name="connsiteY2" fmla="*/ 137287 h 137286"/>
                      <a:gd name="connsiteX3" fmla="*/ 0 w 427534"/>
                      <a:gd name="connsiteY3" fmla="*/ 137287 h 137286"/>
                    </a:gdLst>
                    <a:ahLst/>
                    <a:cxnLst>
                      <a:cxn ang="0">
                        <a:pos x="connsiteX0" y="connsiteY0"/>
                      </a:cxn>
                      <a:cxn ang="0">
                        <a:pos x="connsiteX1" y="connsiteY1"/>
                      </a:cxn>
                      <a:cxn ang="0">
                        <a:pos x="connsiteX2" y="connsiteY2"/>
                      </a:cxn>
                      <a:cxn ang="0">
                        <a:pos x="connsiteX3" y="connsiteY3"/>
                      </a:cxn>
                    </a:cxnLst>
                    <a:rect l="l" t="t" r="r" b="b"/>
                    <a:pathLst>
                      <a:path w="427534" h="137286">
                        <a:moveTo>
                          <a:pt x="0" y="0"/>
                        </a:moveTo>
                        <a:lnTo>
                          <a:pt x="427535" y="0"/>
                        </a:lnTo>
                        <a:lnTo>
                          <a:pt x="427535" y="137287"/>
                        </a:lnTo>
                        <a:lnTo>
                          <a:pt x="0" y="13728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32" name="Freeform: Shape 931">
                    <a:extLst>
                      <a:ext uri="{FF2B5EF4-FFF2-40B4-BE49-F238E27FC236}">
                        <a16:creationId xmlns:a16="http://schemas.microsoft.com/office/drawing/2014/main" id="{315D0176-0CD8-774F-5588-1EC1F61EF476}"/>
                      </a:ext>
                    </a:extLst>
                  </p:cNvPr>
                  <p:cNvSpPr/>
                  <p:nvPr/>
                </p:nvSpPr>
                <p:spPr>
                  <a:xfrm>
                    <a:off x="2934966" y="4393174"/>
                    <a:ext cx="435111" cy="144863"/>
                  </a:xfrm>
                  <a:custGeom>
                    <a:avLst/>
                    <a:gdLst>
                      <a:gd name="connsiteX0" fmla="*/ 431323 w 435111"/>
                      <a:gd name="connsiteY0" fmla="*/ 144863 h 144863"/>
                      <a:gd name="connsiteX1" fmla="*/ 3788 w 435111"/>
                      <a:gd name="connsiteY1" fmla="*/ 144863 h 144863"/>
                      <a:gd name="connsiteX2" fmla="*/ 0 w 435111"/>
                      <a:gd name="connsiteY2" fmla="*/ 141075 h 144863"/>
                      <a:gd name="connsiteX3" fmla="*/ 0 w 435111"/>
                      <a:gd name="connsiteY3" fmla="*/ 3788 h 144863"/>
                      <a:gd name="connsiteX4" fmla="*/ 3788 w 435111"/>
                      <a:gd name="connsiteY4" fmla="*/ 0 h 144863"/>
                      <a:gd name="connsiteX5" fmla="*/ 431323 w 435111"/>
                      <a:gd name="connsiteY5" fmla="*/ 0 h 144863"/>
                      <a:gd name="connsiteX6" fmla="*/ 435111 w 435111"/>
                      <a:gd name="connsiteY6" fmla="*/ 3788 h 144863"/>
                      <a:gd name="connsiteX7" fmla="*/ 435111 w 435111"/>
                      <a:gd name="connsiteY7" fmla="*/ 141075 h 144863"/>
                      <a:gd name="connsiteX8" fmla="*/ 431323 w 435111"/>
                      <a:gd name="connsiteY8" fmla="*/ 144863 h 144863"/>
                      <a:gd name="connsiteX9" fmla="*/ 7576 w 435111"/>
                      <a:gd name="connsiteY9" fmla="*/ 137417 h 144863"/>
                      <a:gd name="connsiteX10" fmla="*/ 427535 w 435111"/>
                      <a:gd name="connsiteY10" fmla="*/ 137417 h 144863"/>
                      <a:gd name="connsiteX11" fmla="*/ 427535 w 435111"/>
                      <a:gd name="connsiteY11" fmla="*/ 7707 h 144863"/>
                      <a:gd name="connsiteX12" fmla="*/ 7576 w 435111"/>
                      <a:gd name="connsiteY12" fmla="*/ 7707 h 144863"/>
                      <a:gd name="connsiteX13" fmla="*/ 7576 w 435111"/>
                      <a:gd name="connsiteY13" fmla="*/ 137417 h 14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111" h="144863">
                        <a:moveTo>
                          <a:pt x="431323" y="144863"/>
                        </a:moveTo>
                        <a:lnTo>
                          <a:pt x="3788" y="144863"/>
                        </a:lnTo>
                        <a:cubicBezTo>
                          <a:pt x="1698" y="144863"/>
                          <a:pt x="0" y="143165"/>
                          <a:pt x="0" y="141075"/>
                        </a:cubicBezTo>
                        <a:lnTo>
                          <a:pt x="0" y="3788"/>
                        </a:lnTo>
                        <a:cubicBezTo>
                          <a:pt x="0" y="1698"/>
                          <a:pt x="1698" y="0"/>
                          <a:pt x="3788" y="0"/>
                        </a:cubicBezTo>
                        <a:lnTo>
                          <a:pt x="431323" y="0"/>
                        </a:lnTo>
                        <a:cubicBezTo>
                          <a:pt x="433413" y="0"/>
                          <a:pt x="435111" y="1698"/>
                          <a:pt x="435111" y="3788"/>
                        </a:cubicBezTo>
                        <a:lnTo>
                          <a:pt x="435111" y="141075"/>
                        </a:lnTo>
                        <a:cubicBezTo>
                          <a:pt x="435111" y="143165"/>
                          <a:pt x="433413" y="144863"/>
                          <a:pt x="431323" y="144863"/>
                        </a:cubicBezTo>
                        <a:close/>
                        <a:moveTo>
                          <a:pt x="7576" y="137417"/>
                        </a:moveTo>
                        <a:lnTo>
                          <a:pt x="427535" y="137417"/>
                        </a:lnTo>
                        <a:cubicBezTo>
                          <a:pt x="427535" y="137417"/>
                          <a:pt x="427535" y="7707"/>
                          <a:pt x="427535" y="7707"/>
                        </a:cubicBezTo>
                        <a:lnTo>
                          <a:pt x="7576" y="7707"/>
                        </a:lnTo>
                        <a:cubicBezTo>
                          <a:pt x="7576" y="7707"/>
                          <a:pt x="7576" y="137417"/>
                          <a:pt x="7576" y="13741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33" name="Graphic 717">
                  <a:extLst>
                    <a:ext uri="{FF2B5EF4-FFF2-40B4-BE49-F238E27FC236}">
                      <a16:creationId xmlns:a16="http://schemas.microsoft.com/office/drawing/2014/main" id="{00320B44-DBC6-B0AF-6733-4C1AC7AF9A54}"/>
                    </a:ext>
                  </a:extLst>
                </p:cNvPr>
                <p:cNvGrpSpPr/>
                <p:nvPr/>
              </p:nvGrpSpPr>
              <p:grpSpPr>
                <a:xfrm>
                  <a:off x="2988652" y="4262680"/>
                  <a:ext cx="41277" cy="41277"/>
                  <a:chOff x="2988652" y="4262680"/>
                  <a:chExt cx="41277" cy="41277"/>
                </a:xfrm>
                <a:grpFill/>
              </p:grpSpPr>
              <p:sp>
                <p:nvSpPr>
                  <p:cNvPr id="934" name="Freeform: Shape 933">
                    <a:extLst>
                      <a:ext uri="{FF2B5EF4-FFF2-40B4-BE49-F238E27FC236}">
                        <a16:creationId xmlns:a16="http://schemas.microsoft.com/office/drawing/2014/main" id="{F3A00A1F-94E3-75F2-0B7A-7990B7DD5FE9}"/>
                      </a:ext>
                    </a:extLst>
                  </p:cNvPr>
                  <p:cNvSpPr/>
                  <p:nvPr/>
                </p:nvSpPr>
                <p:spPr>
                  <a:xfrm>
                    <a:off x="2992310" y="4266207"/>
                    <a:ext cx="33962" cy="33962"/>
                  </a:xfrm>
                  <a:custGeom>
                    <a:avLst/>
                    <a:gdLst>
                      <a:gd name="connsiteX0" fmla="*/ 33963 w 33962"/>
                      <a:gd name="connsiteY0" fmla="*/ 16981 h 33962"/>
                      <a:gd name="connsiteX1" fmla="*/ 16981 w 33962"/>
                      <a:gd name="connsiteY1" fmla="*/ 33962 h 33962"/>
                      <a:gd name="connsiteX2" fmla="*/ 0 w 33962"/>
                      <a:gd name="connsiteY2" fmla="*/ 16981 h 33962"/>
                      <a:gd name="connsiteX3" fmla="*/ 16981 w 33962"/>
                      <a:gd name="connsiteY3" fmla="*/ 0 h 33962"/>
                      <a:gd name="connsiteX4" fmla="*/ 33963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33963" y="16981"/>
                        </a:moveTo>
                        <a:cubicBezTo>
                          <a:pt x="33963" y="26360"/>
                          <a:pt x="26360" y="33962"/>
                          <a:pt x="16981" y="33962"/>
                        </a:cubicBezTo>
                        <a:cubicBezTo>
                          <a:pt x="7603" y="33962"/>
                          <a:pt x="0" y="26360"/>
                          <a:pt x="0" y="16981"/>
                        </a:cubicBezTo>
                        <a:cubicBezTo>
                          <a:pt x="0" y="7603"/>
                          <a:pt x="7603" y="0"/>
                          <a:pt x="16981" y="0"/>
                        </a:cubicBezTo>
                        <a:cubicBezTo>
                          <a:pt x="26360" y="0"/>
                          <a:pt x="33963" y="7603"/>
                          <a:pt x="33963"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35" name="Freeform: Shape 934">
                    <a:extLst>
                      <a:ext uri="{FF2B5EF4-FFF2-40B4-BE49-F238E27FC236}">
                        <a16:creationId xmlns:a16="http://schemas.microsoft.com/office/drawing/2014/main" id="{CBE7D9C6-2A64-FA5B-3F17-D78D95D00E6F}"/>
                      </a:ext>
                    </a:extLst>
                  </p:cNvPr>
                  <p:cNvSpPr/>
                  <p:nvPr/>
                </p:nvSpPr>
                <p:spPr>
                  <a:xfrm>
                    <a:off x="2988652" y="4262680"/>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36" name="Graphic 717">
                  <a:extLst>
                    <a:ext uri="{FF2B5EF4-FFF2-40B4-BE49-F238E27FC236}">
                      <a16:creationId xmlns:a16="http://schemas.microsoft.com/office/drawing/2014/main" id="{9DC55A29-A003-BC24-7A0E-33A2D09F7E6A}"/>
                    </a:ext>
                  </a:extLst>
                </p:cNvPr>
                <p:cNvGrpSpPr/>
                <p:nvPr/>
              </p:nvGrpSpPr>
              <p:grpSpPr>
                <a:xfrm>
                  <a:off x="2988652" y="4262680"/>
                  <a:ext cx="41277" cy="41277"/>
                  <a:chOff x="2988652" y="4262680"/>
                  <a:chExt cx="41277" cy="41277"/>
                </a:xfrm>
                <a:grpFill/>
              </p:grpSpPr>
              <p:sp>
                <p:nvSpPr>
                  <p:cNvPr id="937" name="Freeform: Shape 936">
                    <a:extLst>
                      <a:ext uri="{FF2B5EF4-FFF2-40B4-BE49-F238E27FC236}">
                        <a16:creationId xmlns:a16="http://schemas.microsoft.com/office/drawing/2014/main" id="{5A0EC9CA-BCE0-F4EA-99B8-63D614FBD3D4}"/>
                      </a:ext>
                    </a:extLst>
                  </p:cNvPr>
                  <p:cNvSpPr/>
                  <p:nvPr/>
                </p:nvSpPr>
                <p:spPr>
                  <a:xfrm>
                    <a:off x="2992310" y="4266207"/>
                    <a:ext cx="33962" cy="33962"/>
                  </a:xfrm>
                  <a:custGeom>
                    <a:avLst/>
                    <a:gdLst>
                      <a:gd name="connsiteX0" fmla="*/ 33963 w 33962"/>
                      <a:gd name="connsiteY0" fmla="*/ 16981 h 33962"/>
                      <a:gd name="connsiteX1" fmla="*/ 16981 w 33962"/>
                      <a:gd name="connsiteY1" fmla="*/ 33962 h 33962"/>
                      <a:gd name="connsiteX2" fmla="*/ 0 w 33962"/>
                      <a:gd name="connsiteY2" fmla="*/ 16981 h 33962"/>
                      <a:gd name="connsiteX3" fmla="*/ 16981 w 33962"/>
                      <a:gd name="connsiteY3" fmla="*/ 0 h 33962"/>
                      <a:gd name="connsiteX4" fmla="*/ 33963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33963" y="16981"/>
                        </a:moveTo>
                        <a:cubicBezTo>
                          <a:pt x="33963" y="26360"/>
                          <a:pt x="26360" y="33962"/>
                          <a:pt x="16981" y="33962"/>
                        </a:cubicBezTo>
                        <a:cubicBezTo>
                          <a:pt x="7603" y="33962"/>
                          <a:pt x="0" y="26360"/>
                          <a:pt x="0" y="16981"/>
                        </a:cubicBezTo>
                        <a:cubicBezTo>
                          <a:pt x="0" y="7603"/>
                          <a:pt x="7603" y="0"/>
                          <a:pt x="16981" y="0"/>
                        </a:cubicBezTo>
                        <a:cubicBezTo>
                          <a:pt x="26360" y="0"/>
                          <a:pt x="33963" y="7603"/>
                          <a:pt x="33963"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38" name="Freeform: Shape 937">
                    <a:extLst>
                      <a:ext uri="{FF2B5EF4-FFF2-40B4-BE49-F238E27FC236}">
                        <a16:creationId xmlns:a16="http://schemas.microsoft.com/office/drawing/2014/main" id="{1F57BA9D-F7B5-50DD-2FE3-D9DAF1A2BD4D}"/>
                      </a:ext>
                    </a:extLst>
                  </p:cNvPr>
                  <p:cNvSpPr/>
                  <p:nvPr/>
                </p:nvSpPr>
                <p:spPr>
                  <a:xfrm>
                    <a:off x="2988652" y="4262680"/>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39" name="Graphic 717">
                  <a:extLst>
                    <a:ext uri="{FF2B5EF4-FFF2-40B4-BE49-F238E27FC236}">
                      <a16:creationId xmlns:a16="http://schemas.microsoft.com/office/drawing/2014/main" id="{B1AD67DA-46F5-F015-1F2A-1C4600452971}"/>
                    </a:ext>
                  </a:extLst>
                </p:cNvPr>
                <p:cNvGrpSpPr/>
                <p:nvPr/>
              </p:nvGrpSpPr>
              <p:grpSpPr>
                <a:xfrm>
                  <a:off x="2988652" y="4445032"/>
                  <a:ext cx="41277" cy="41277"/>
                  <a:chOff x="2988652" y="4445032"/>
                  <a:chExt cx="41277" cy="41277"/>
                </a:xfrm>
                <a:grpFill/>
              </p:grpSpPr>
              <p:sp>
                <p:nvSpPr>
                  <p:cNvPr id="940" name="Freeform: Shape 939">
                    <a:extLst>
                      <a:ext uri="{FF2B5EF4-FFF2-40B4-BE49-F238E27FC236}">
                        <a16:creationId xmlns:a16="http://schemas.microsoft.com/office/drawing/2014/main" id="{7416D585-2BF8-F76E-9A91-53C8BCEDFC47}"/>
                      </a:ext>
                    </a:extLst>
                  </p:cNvPr>
                  <p:cNvSpPr/>
                  <p:nvPr/>
                </p:nvSpPr>
                <p:spPr>
                  <a:xfrm>
                    <a:off x="2992310" y="4448690"/>
                    <a:ext cx="33962" cy="33962"/>
                  </a:xfrm>
                  <a:custGeom>
                    <a:avLst/>
                    <a:gdLst>
                      <a:gd name="connsiteX0" fmla="*/ 0 w 33962"/>
                      <a:gd name="connsiteY0" fmla="*/ 16981 h 33962"/>
                      <a:gd name="connsiteX1" fmla="*/ 16981 w 33962"/>
                      <a:gd name="connsiteY1" fmla="*/ 0 h 33962"/>
                      <a:gd name="connsiteX2" fmla="*/ 33963 w 33962"/>
                      <a:gd name="connsiteY2" fmla="*/ 16981 h 33962"/>
                      <a:gd name="connsiteX3" fmla="*/ 16981 w 33962"/>
                      <a:gd name="connsiteY3" fmla="*/ 33963 h 33962"/>
                      <a:gd name="connsiteX4" fmla="*/ 0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0" y="16981"/>
                        </a:moveTo>
                        <a:cubicBezTo>
                          <a:pt x="0" y="7576"/>
                          <a:pt x="7576" y="0"/>
                          <a:pt x="16981" y="0"/>
                        </a:cubicBezTo>
                        <a:cubicBezTo>
                          <a:pt x="26386" y="0"/>
                          <a:pt x="33963" y="7576"/>
                          <a:pt x="33963" y="16981"/>
                        </a:cubicBezTo>
                        <a:cubicBezTo>
                          <a:pt x="33963" y="26386"/>
                          <a:pt x="26386" y="33963"/>
                          <a:pt x="16981" y="33963"/>
                        </a:cubicBezTo>
                        <a:cubicBezTo>
                          <a:pt x="7576" y="33963"/>
                          <a:pt x="0" y="26386"/>
                          <a:pt x="0"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41" name="Freeform: Shape 940">
                    <a:extLst>
                      <a:ext uri="{FF2B5EF4-FFF2-40B4-BE49-F238E27FC236}">
                        <a16:creationId xmlns:a16="http://schemas.microsoft.com/office/drawing/2014/main" id="{7EADDAC0-6317-1B04-9B38-8FE5959F34D0}"/>
                      </a:ext>
                    </a:extLst>
                  </p:cNvPr>
                  <p:cNvSpPr/>
                  <p:nvPr/>
                </p:nvSpPr>
                <p:spPr>
                  <a:xfrm>
                    <a:off x="2988652" y="4445032"/>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42" name="Graphic 717">
                  <a:extLst>
                    <a:ext uri="{FF2B5EF4-FFF2-40B4-BE49-F238E27FC236}">
                      <a16:creationId xmlns:a16="http://schemas.microsoft.com/office/drawing/2014/main" id="{2078B32A-E4A5-6BE7-7F77-47605A5676CE}"/>
                    </a:ext>
                  </a:extLst>
                </p:cNvPr>
                <p:cNvGrpSpPr/>
                <p:nvPr/>
              </p:nvGrpSpPr>
              <p:grpSpPr>
                <a:xfrm>
                  <a:off x="2988652" y="4626078"/>
                  <a:ext cx="41277" cy="41277"/>
                  <a:chOff x="2988652" y="4626078"/>
                  <a:chExt cx="41277" cy="41277"/>
                </a:xfrm>
                <a:grpFill/>
              </p:grpSpPr>
              <p:sp>
                <p:nvSpPr>
                  <p:cNvPr id="943" name="Freeform: Shape 942">
                    <a:extLst>
                      <a:ext uri="{FF2B5EF4-FFF2-40B4-BE49-F238E27FC236}">
                        <a16:creationId xmlns:a16="http://schemas.microsoft.com/office/drawing/2014/main" id="{343B1A0D-C341-54CD-570E-9FF2A3ABB9A7}"/>
                      </a:ext>
                    </a:extLst>
                  </p:cNvPr>
                  <p:cNvSpPr/>
                  <p:nvPr/>
                </p:nvSpPr>
                <p:spPr>
                  <a:xfrm>
                    <a:off x="2992310" y="4629736"/>
                    <a:ext cx="33962" cy="33962"/>
                  </a:xfrm>
                  <a:custGeom>
                    <a:avLst/>
                    <a:gdLst>
                      <a:gd name="connsiteX0" fmla="*/ 0 w 33962"/>
                      <a:gd name="connsiteY0" fmla="*/ 16981 h 33962"/>
                      <a:gd name="connsiteX1" fmla="*/ 16981 w 33962"/>
                      <a:gd name="connsiteY1" fmla="*/ 0 h 33962"/>
                      <a:gd name="connsiteX2" fmla="*/ 33963 w 33962"/>
                      <a:gd name="connsiteY2" fmla="*/ 16981 h 33962"/>
                      <a:gd name="connsiteX3" fmla="*/ 16981 w 33962"/>
                      <a:gd name="connsiteY3" fmla="*/ 33963 h 33962"/>
                      <a:gd name="connsiteX4" fmla="*/ 0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0" y="16981"/>
                        </a:moveTo>
                        <a:cubicBezTo>
                          <a:pt x="0" y="7576"/>
                          <a:pt x="7576" y="0"/>
                          <a:pt x="16981" y="0"/>
                        </a:cubicBezTo>
                        <a:cubicBezTo>
                          <a:pt x="26386" y="0"/>
                          <a:pt x="33963" y="7576"/>
                          <a:pt x="33963" y="16981"/>
                        </a:cubicBezTo>
                        <a:cubicBezTo>
                          <a:pt x="33963" y="26386"/>
                          <a:pt x="26386" y="33963"/>
                          <a:pt x="16981" y="33963"/>
                        </a:cubicBezTo>
                        <a:cubicBezTo>
                          <a:pt x="7576" y="33963"/>
                          <a:pt x="0" y="26386"/>
                          <a:pt x="0"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44" name="Freeform: Shape 943">
                    <a:extLst>
                      <a:ext uri="{FF2B5EF4-FFF2-40B4-BE49-F238E27FC236}">
                        <a16:creationId xmlns:a16="http://schemas.microsoft.com/office/drawing/2014/main" id="{1CF06D60-1FB7-5610-902A-3F8A24F21799}"/>
                      </a:ext>
                    </a:extLst>
                  </p:cNvPr>
                  <p:cNvSpPr/>
                  <p:nvPr/>
                </p:nvSpPr>
                <p:spPr>
                  <a:xfrm>
                    <a:off x="2988652" y="4626078"/>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45" name="Graphic 717">
                  <a:extLst>
                    <a:ext uri="{FF2B5EF4-FFF2-40B4-BE49-F238E27FC236}">
                      <a16:creationId xmlns:a16="http://schemas.microsoft.com/office/drawing/2014/main" id="{405A3006-949C-028F-09C9-5FC291F572CC}"/>
                    </a:ext>
                  </a:extLst>
                </p:cNvPr>
                <p:cNvGrpSpPr/>
                <p:nvPr/>
              </p:nvGrpSpPr>
              <p:grpSpPr>
                <a:xfrm>
                  <a:off x="2988652" y="4626078"/>
                  <a:ext cx="41277" cy="41277"/>
                  <a:chOff x="2988652" y="4626078"/>
                  <a:chExt cx="41277" cy="41277"/>
                </a:xfrm>
                <a:grpFill/>
              </p:grpSpPr>
              <p:sp>
                <p:nvSpPr>
                  <p:cNvPr id="946" name="Freeform: Shape 945">
                    <a:extLst>
                      <a:ext uri="{FF2B5EF4-FFF2-40B4-BE49-F238E27FC236}">
                        <a16:creationId xmlns:a16="http://schemas.microsoft.com/office/drawing/2014/main" id="{64AB049E-480C-0EBB-34DB-2F50B9116AF2}"/>
                      </a:ext>
                    </a:extLst>
                  </p:cNvPr>
                  <p:cNvSpPr/>
                  <p:nvPr/>
                </p:nvSpPr>
                <p:spPr>
                  <a:xfrm>
                    <a:off x="2992310" y="4629736"/>
                    <a:ext cx="33962" cy="33962"/>
                  </a:xfrm>
                  <a:custGeom>
                    <a:avLst/>
                    <a:gdLst>
                      <a:gd name="connsiteX0" fmla="*/ 0 w 33962"/>
                      <a:gd name="connsiteY0" fmla="*/ 16981 h 33962"/>
                      <a:gd name="connsiteX1" fmla="*/ 16981 w 33962"/>
                      <a:gd name="connsiteY1" fmla="*/ 0 h 33962"/>
                      <a:gd name="connsiteX2" fmla="*/ 33963 w 33962"/>
                      <a:gd name="connsiteY2" fmla="*/ 16981 h 33962"/>
                      <a:gd name="connsiteX3" fmla="*/ 16981 w 33962"/>
                      <a:gd name="connsiteY3" fmla="*/ 33963 h 33962"/>
                      <a:gd name="connsiteX4" fmla="*/ 0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0" y="16981"/>
                        </a:moveTo>
                        <a:cubicBezTo>
                          <a:pt x="0" y="7576"/>
                          <a:pt x="7576" y="0"/>
                          <a:pt x="16981" y="0"/>
                        </a:cubicBezTo>
                        <a:cubicBezTo>
                          <a:pt x="26386" y="0"/>
                          <a:pt x="33963" y="7576"/>
                          <a:pt x="33963" y="16981"/>
                        </a:cubicBezTo>
                        <a:cubicBezTo>
                          <a:pt x="33963" y="26386"/>
                          <a:pt x="26386" y="33963"/>
                          <a:pt x="16981" y="33963"/>
                        </a:cubicBezTo>
                        <a:cubicBezTo>
                          <a:pt x="7576" y="33963"/>
                          <a:pt x="0" y="26386"/>
                          <a:pt x="0"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47" name="Freeform: Shape 946">
                    <a:extLst>
                      <a:ext uri="{FF2B5EF4-FFF2-40B4-BE49-F238E27FC236}">
                        <a16:creationId xmlns:a16="http://schemas.microsoft.com/office/drawing/2014/main" id="{E8004F5C-B262-2D2B-DA8F-CA74E94FB2FA}"/>
                      </a:ext>
                    </a:extLst>
                  </p:cNvPr>
                  <p:cNvSpPr/>
                  <p:nvPr/>
                </p:nvSpPr>
                <p:spPr>
                  <a:xfrm>
                    <a:off x="2988652" y="4626078"/>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48" name="Graphic 717">
                  <a:extLst>
                    <a:ext uri="{FF2B5EF4-FFF2-40B4-BE49-F238E27FC236}">
                      <a16:creationId xmlns:a16="http://schemas.microsoft.com/office/drawing/2014/main" id="{A1197031-6042-12E6-EBF4-8DA738A7A7DF}"/>
                    </a:ext>
                  </a:extLst>
                </p:cNvPr>
                <p:cNvGrpSpPr/>
                <p:nvPr/>
              </p:nvGrpSpPr>
              <p:grpSpPr>
                <a:xfrm>
                  <a:off x="3075518" y="4445032"/>
                  <a:ext cx="41277" cy="41277"/>
                  <a:chOff x="3075518" y="4445032"/>
                  <a:chExt cx="41277" cy="41277"/>
                </a:xfrm>
                <a:grpFill/>
              </p:grpSpPr>
              <p:sp>
                <p:nvSpPr>
                  <p:cNvPr id="949" name="Freeform: Shape 948">
                    <a:extLst>
                      <a:ext uri="{FF2B5EF4-FFF2-40B4-BE49-F238E27FC236}">
                        <a16:creationId xmlns:a16="http://schemas.microsoft.com/office/drawing/2014/main" id="{3B4C9335-6C2B-606F-1106-2BFF9E4B4A55}"/>
                      </a:ext>
                    </a:extLst>
                  </p:cNvPr>
                  <p:cNvSpPr/>
                  <p:nvPr/>
                </p:nvSpPr>
                <p:spPr>
                  <a:xfrm>
                    <a:off x="3079175" y="4448690"/>
                    <a:ext cx="33962" cy="33962"/>
                  </a:xfrm>
                  <a:custGeom>
                    <a:avLst/>
                    <a:gdLst>
                      <a:gd name="connsiteX0" fmla="*/ 0 w 33962"/>
                      <a:gd name="connsiteY0" fmla="*/ 16981 h 33962"/>
                      <a:gd name="connsiteX1" fmla="*/ 16981 w 33962"/>
                      <a:gd name="connsiteY1" fmla="*/ 0 h 33962"/>
                      <a:gd name="connsiteX2" fmla="*/ 33963 w 33962"/>
                      <a:gd name="connsiteY2" fmla="*/ 16981 h 33962"/>
                      <a:gd name="connsiteX3" fmla="*/ 16981 w 33962"/>
                      <a:gd name="connsiteY3" fmla="*/ 33963 h 33962"/>
                      <a:gd name="connsiteX4" fmla="*/ 0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0" y="16981"/>
                        </a:moveTo>
                        <a:cubicBezTo>
                          <a:pt x="0" y="7576"/>
                          <a:pt x="7576" y="0"/>
                          <a:pt x="16981" y="0"/>
                        </a:cubicBezTo>
                        <a:cubicBezTo>
                          <a:pt x="26386" y="0"/>
                          <a:pt x="33963" y="7576"/>
                          <a:pt x="33963" y="16981"/>
                        </a:cubicBezTo>
                        <a:cubicBezTo>
                          <a:pt x="33963" y="26386"/>
                          <a:pt x="26386" y="33963"/>
                          <a:pt x="16981" y="33963"/>
                        </a:cubicBezTo>
                        <a:cubicBezTo>
                          <a:pt x="7576" y="33963"/>
                          <a:pt x="0" y="26386"/>
                          <a:pt x="0"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50" name="Freeform: Shape 949">
                    <a:extLst>
                      <a:ext uri="{FF2B5EF4-FFF2-40B4-BE49-F238E27FC236}">
                        <a16:creationId xmlns:a16="http://schemas.microsoft.com/office/drawing/2014/main" id="{9985E07C-DB00-E755-890C-EB58A1D30CFA}"/>
                      </a:ext>
                    </a:extLst>
                  </p:cNvPr>
                  <p:cNvSpPr/>
                  <p:nvPr/>
                </p:nvSpPr>
                <p:spPr>
                  <a:xfrm>
                    <a:off x="3075518" y="4445032"/>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nvGrpSpPr>
              <p:cNvPr id="951" name="Graphic 717">
                <a:extLst>
                  <a:ext uri="{FF2B5EF4-FFF2-40B4-BE49-F238E27FC236}">
                    <a16:creationId xmlns:a16="http://schemas.microsoft.com/office/drawing/2014/main" id="{4F12713C-36FF-6012-4414-AF52737ACD41}"/>
                  </a:ext>
                </a:extLst>
              </p:cNvPr>
              <p:cNvGrpSpPr/>
              <p:nvPr/>
            </p:nvGrpSpPr>
            <p:grpSpPr>
              <a:xfrm>
                <a:off x="9296033" y="2781675"/>
                <a:ext cx="151524" cy="150084"/>
                <a:chOff x="3469647" y="4083932"/>
                <a:chExt cx="170574" cy="164117"/>
              </a:xfrm>
              <a:noFill/>
            </p:grpSpPr>
            <p:sp>
              <p:nvSpPr>
                <p:cNvPr id="952" name="Freeform: Shape 951">
                  <a:extLst>
                    <a:ext uri="{FF2B5EF4-FFF2-40B4-BE49-F238E27FC236}">
                      <a16:creationId xmlns:a16="http://schemas.microsoft.com/office/drawing/2014/main" id="{C007FBA8-C62A-1D06-2187-7DC845B1BC8D}"/>
                    </a:ext>
                  </a:extLst>
                </p:cNvPr>
                <p:cNvSpPr/>
                <p:nvPr/>
              </p:nvSpPr>
              <p:spPr>
                <a:xfrm>
                  <a:off x="3473223" y="4088688"/>
                  <a:ext cx="161238" cy="155835"/>
                </a:xfrm>
                <a:custGeom>
                  <a:avLst/>
                  <a:gdLst>
                    <a:gd name="connsiteX0" fmla="*/ 137596 w 161238"/>
                    <a:gd name="connsiteY0" fmla="*/ 64659 h 155835"/>
                    <a:gd name="connsiteX1" fmla="*/ 131195 w 161238"/>
                    <a:gd name="connsiteY1" fmla="*/ 42976 h 155835"/>
                    <a:gd name="connsiteX2" fmla="*/ 144649 w 161238"/>
                    <a:gd name="connsiteY2" fmla="*/ 23512 h 155835"/>
                    <a:gd name="connsiteX3" fmla="*/ 111471 w 161238"/>
                    <a:gd name="connsiteY3" fmla="*/ 0 h 155835"/>
                    <a:gd name="connsiteX4" fmla="*/ 98669 w 161238"/>
                    <a:gd name="connsiteY4" fmla="*/ 21422 h 155835"/>
                    <a:gd name="connsiteX5" fmla="*/ 97885 w 161238"/>
                    <a:gd name="connsiteY5" fmla="*/ 22467 h 155835"/>
                    <a:gd name="connsiteX6" fmla="*/ 96187 w 161238"/>
                    <a:gd name="connsiteY6" fmla="*/ 22859 h 155835"/>
                    <a:gd name="connsiteX7" fmla="*/ 73981 w 161238"/>
                    <a:gd name="connsiteY7" fmla="*/ 22467 h 155835"/>
                    <a:gd name="connsiteX8" fmla="*/ 62747 w 161238"/>
                    <a:gd name="connsiteY8" fmla="*/ 2221 h 155835"/>
                    <a:gd name="connsiteX9" fmla="*/ 61441 w 161238"/>
                    <a:gd name="connsiteY9" fmla="*/ 1045 h 155835"/>
                    <a:gd name="connsiteX10" fmla="*/ 59743 w 161238"/>
                    <a:gd name="connsiteY10" fmla="*/ 1568 h 155835"/>
                    <a:gd name="connsiteX11" fmla="*/ 33357 w 161238"/>
                    <a:gd name="connsiteY11" fmla="*/ 17765 h 155835"/>
                    <a:gd name="connsiteX12" fmla="*/ 32704 w 161238"/>
                    <a:gd name="connsiteY12" fmla="*/ 18288 h 155835"/>
                    <a:gd name="connsiteX13" fmla="*/ 32965 w 161238"/>
                    <a:gd name="connsiteY13" fmla="*/ 20247 h 155835"/>
                    <a:gd name="connsiteX14" fmla="*/ 44721 w 161238"/>
                    <a:gd name="connsiteY14" fmla="*/ 36967 h 155835"/>
                    <a:gd name="connsiteX15" fmla="*/ 32050 w 161238"/>
                    <a:gd name="connsiteY15" fmla="*/ 58128 h 155835"/>
                    <a:gd name="connsiteX16" fmla="*/ 27871 w 161238"/>
                    <a:gd name="connsiteY16" fmla="*/ 61916 h 155835"/>
                    <a:gd name="connsiteX17" fmla="*/ 23168 w 161238"/>
                    <a:gd name="connsiteY17" fmla="*/ 61524 h 155835"/>
                    <a:gd name="connsiteX18" fmla="*/ 4750 w 161238"/>
                    <a:gd name="connsiteY18" fmla="*/ 55385 h 155835"/>
                    <a:gd name="connsiteX19" fmla="*/ 2007 w 161238"/>
                    <a:gd name="connsiteY19" fmla="*/ 95095 h 155835"/>
                    <a:gd name="connsiteX20" fmla="*/ 25519 w 161238"/>
                    <a:gd name="connsiteY20" fmla="*/ 92744 h 155835"/>
                    <a:gd name="connsiteX21" fmla="*/ 39235 w 161238"/>
                    <a:gd name="connsiteY21" fmla="*/ 117040 h 155835"/>
                    <a:gd name="connsiteX22" fmla="*/ 28263 w 161238"/>
                    <a:gd name="connsiteY22" fmla="*/ 135458 h 155835"/>
                    <a:gd name="connsiteX23" fmla="*/ 53473 w 161238"/>
                    <a:gd name="connsiteY23" fmla="*/ 154268 h 155835"/>
                    <a:gd name="connsiteX24" fmla="*/ 66536 w 161238"/>
                    <a:gd name="connsiteY24" fmla="*/ 134674 h 155835"/>
                    <a:gd name="connsiteX25" fmla="*/ 89656 w 161238"/>
                    <a:gd name="connsiteY25" fmla="*/ 135197 h 155835"/>
                    <a:gd name="connsiteX26" fmla="*/ 98539 w 161238"/>
                    <a:gd name="connsiteY26" fmla="*/ 155835 h 155835"/>
                    <a:gd name="connsiteX27" fmla="*/ 133024 w 161238"/>
                    <a:gd name="connsiteY27" fmla="*/ 143687 h 155835"/>
                    <a:gd name="connsiteX28" fmla="*/ 124664 w 161238"/>
                    <a:gd name="connsiteY28" fmla="*/ 122526 h 155835"/>
                    <a:gd name="connsiteX29" fmla="*/ 137073 w 161238"/>
                    <a:gd name="connsiteY29" fmla="*/ 102018 h 155835"/>
                    <a:gd name="connsiteX30" fmla="*/ 160455 w 161238"/>
                    <a:gd name="connsiteY30" fmla="*/ 100059 h 155835"/>
                    <a:gd name="connsiteX31" fmla="*/ 161239 w 161238"/>
                    <a:gd name="connsiteY31" fmla="*/ 70929 h 155835"/>
                    <a:gd name="connsiteX32" fmla="*/ 137857 w 161238"/>
                    <a:gd name="connsiteY32" fmla="*/ 64659 h 155835"/>
                    <a:gd name="connsiteX33" fmla="*/ 97885 w 161238"/>
                    <a:gd name="connsiteY33" fmla="*/ 75632 h 155835"/>
                    <a:gd name="connsiteX34" fmla="*/ 96841 w 161238"/>
                    <a:gd name="connsiteY34" fmla="*/ 79550 h 155835"/>
                    <a:gd name="connsiteX35" fmla="*/ 95665 w 161238"/>
                    <a:gd name="connsiteY35" fmla="*/ 81902 h 155835"/>
                    <a:gd name="connsiteX36" fmla="*/ 92530 w 161238"/>
                    <a:gd name="connsiteY36" fmla="*/ 85690 h 155835"/>
                    <a:gd name="connsiteX37" fmla="*/ 84170 w 161238"/>
                    <a:gd name="connsiteY37" fmla="*/ 90915 h 155835"/>
                    <a:gd name="connsiteX38" fmla="*/ 80251 w 161238"/>
                    <a:gd name="connsiteY38" fmla="*/ 91960 h 155835"/>
                    <a:gd name="connsiteX39" fmla="*/ 76855 w 161238"/>
                    <a:gd name="connsiteY39" fmla="*/ 92091 h 155835"/>
                    <a:gd name="connsiteX40" fmla="*/ 74634 w 161238"/>
                    <a:gd name="connsiteY40" fmla="*/ 91829 h 155835"/>
                    <a:gd name="connsiteX41" fmla="*/ 73589 w 161238"/>
                    <a:gd name="connsiteY41" fmla="*/ 91568 h 155835"/>
                    <a:gd name="connsiteX42" fmla="*/ 64837 w 161238"/>
                    <a:gd name="connsiteY42" fmla="*/ 84253 h 155835"/>
                    <a:gd name="connsiteX43" fmla="*/ 62747 w 161238"/>
                    <a:gd name="connsiteY43" fmla="*/ 77722 h 155835"/>
                    <a:gd name="connsiteX44" fmla="*/ 63923 w 161238"/>
                    <a:gd name="connsiteY44" fmla="*/ 71713 h 155835"/>
                    <a:gd name="connsiteX45" fmla="*/ 67972 w 161238"/>
                    <a:gd name="connsiteY45" fmla="*/ 63876 h 155835"/>
                    <a:gd name="connsiteX46" fmla="*/ 75026 w 161238"/>
                    <a:gd name="connsiteY46" fmla="*/ 56822 h 155835"/>
                    <a:gd name="connsiteX47" fmla="*/ 84170 w 161238"/>
                    <a:gd name="connsiteY47" fmla="*/ 56169 h 155835"/>
                    <a:gd name="connsiteX48" fmla="*/ 87958 w 161238"/>
                    <a:gd name="connsiteY48" fmla="*/ 55907 h 155835"/>
                    <a:gd name="connsiteX49" fmla="*/ 93444 w 161238"/>
                    <a:gd name="connsiteY49" fmla="*/ 59565 h 155835"/>
                    <a:gd name="connsiteX50" fmla="*/ 96710 w 161238"/>
                    <a:gd name="connsiteY50" fmla="*/ 65312 h 155835"/>
                    <a:gd name="connsiteX51" fmla="*/ 97363 w 161238"/>
                    <a:gd name="connsiteY51" fmla="*/ 67402 h 155835"/>
                    <a:gd name="connsiteX52" fmla="*/ 97624 w 161238"/>
                    <a:gd name="connsiteY52" fmla="*/ 68709 h 155835"/>
                    <a:gd name="connsiteX53" fmla="*/ 97885 w 161238"/>
                    <a:gd name="connsiteY53" fmla="*/ 70668 h 155835"/>
                    <a:gd name="connsiteX54" fmla="*/ 97885 w 161238"/>
                    <a:gd name="connsiteY54" fmla="*/ 70276 h 155835"/>
                    <a:gd name="connsiteX55" fmla="*/ 97885 w 161238"/>
                    <a:gd name="connsiteY55" fmla="*/ 70276 h 155835"/>
                    <a:gd name="connsiteX56" fmla="*/ 98147 w 161238"/>
                    <a:gd name="connsiteY56" fmla="*/ 72235 h 155835"/>
                    <a:gd name="connsiteX57" fmla="*/ 98147 w 161238"/>
                    <a:gd name="connsiteY57" fmla="*/ 73281 h 155835"/>
                    <a:gd name="connsiteX58" fmla="*/ 97885 w 161238"/>
                    <a:gd name="connsiteY58" fmla="*/ 75762 h 15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1238" h="155835">
                      <a:moveTo>
                        <a:pt x="137596" y="64659"/>
                      </a:moveTo>
                      <a:lnTo>
                        <a:pt x="131195" y="42976"/>
                      </a:lnTo>
                      <a:lnTo>
                        <a:pt x="144649" y="23512"/>
                      </a:lnTo>
                      <a:lnTo>
                        <a:pt x="111471" y="0"/>
                      </a:lnTo>
                      <a:cubicBezTo>
                        <a:pt x="107160" y="7184"/>
                        <a:pt x="102849" y="14238"/>
                        <a:pt x="98669" y="21422"/>
                      </a:cubicBezTo>
                      <a:cubicBezTo>
                        <a:pt x="98408" y="21814"/>
                        <a:pt x="98147" y="22206"/>
                        <a:pt x="97885" y="22467"/>
                      </a:cubicBezTo>
                      <a:cubicBezTo>
                        <a:pt x="97363" y="22859"/>
                        <a:pt x="96710" y="22859"/>
                        <a:pt x="96187" y="22859"/>
                      </a:cubicBezTo>
                      <a:cubicBezTo>
                        <a:pt x="88742" y="22859"/>
                        <a:pt x="81427" y="22598"/>
                        <a:pt x="73981" y="22467"/>
                      </a:cubicBezTo>
                      <a:cubicBezTo>
                        <a:pt x="70324" y="15414"/>
                        <a:pt x="66797" y="8621"/>
                        <a:pt x="62747" y="2221"/>
                      </a:cubicBezTo>
                      <a:cubicBezTo>
                        <a:pt x="62486" y="1698"/>
                        <a:pt x="62094" y="1176"/>
                        <a:pt x="61441" y="1045"/>
                      </a:cubicBezTo>
                      <a:cubicBezTo>
                        <a:pt x="60919" y="914"/>
                        <a:pt x="60265" y="1176"/>
                        <a:pt x="59743" y="1568"/>
                      </a:cubicBezTo>
                      <a:cubicBezTo>
                        <a:pt x="50991" y="6923"/>
                        <a:pt x="42109" y="12409"/>
                        <a:pt x="33357" y="17765"/>
                      </a:cubicBezTo>
                      <a:cubicBezTo>
                        <a:pt x="33096" y="17896"/>
                        <a:pt x="32834" y="18026"/>
                        <a:pt x="32704" y="18288"/>
                      </a:cubicBezTo>
                      <a:cubicBezTo>
                        <a:pt x="32312" y="18810"/>
                        <a:pt x="32704" y="19594"/>
                        <a:pt x="32965" y="20247"/>
                      </a:cubicBezTo>
                      <a:cubicBezTo>
                        <a:pt x="36231" y="26256"/>
                        <a:pt x="40280" y="31872"/>
                        <a:pt x="44721" y="36967"/>
                      </a:cubicBezTo>
                      <a:cubicBezTo>
                        <a:pt x="40803" y="44413"/>
                        <a:pt x="36622" y="51466"/>
                        <a:pt x="32050" y="58128"/>
                      </a:cubicBezTo>
                      <a:cubicBezTo>
                        <a:pt x="31006" y="59696"/>
                        <a:pt x="29699" y="61394"/>
                        <a:pt x="27871" y="61916"/>
                      </a:cubicBezTo>
                      <a:cubicBezTo>
                        <a:pt x="26303" y="62439"/>
                        <a:pt x="24736" y="61916"/>
                        <a:pt x="23168" y="61524"/>
                      </a:cubicBezTo>
                      <a:cubicBezTo>
                        <a:pt x="17029" y="59696"/>
                        <a:pt x="10889" y="57736"/>
                        <a:pt x="4750" y="55385"/>
                      </a:cubicBezTo>
                      <a:cubicBezTo>
                        <a:pt x="-475" y="67794"/>
                        <a:pt x="-1389" y="82032"/>
                        <a:pt x="2007" y="95095"/>
                      </a:cubicBezTo>
                      <a:cubicBezTo>
                        <a:pt x="2530" y="96140"/>
                        <a:pt x="25519" y="92744"/>
                        <a:pt x="25519" y="92744"/>
                      </a:cubicBezTo>
                      <a:lnTo>
                        <a:pt x="39235" y="117040"/>
                      </a:lnTo>
                      <a:lnTo>
                        <a:pt x="28263" y="135458"/>
                      </a:lnTo>
                      <a:lnTo>
                        <a:pt x="53473" y="154268"/>
                      </a:lnTo>
                      <a:lnTo>
                        <a:pt x="66536" y="134674"/>
                      </a:lnTo>
                      <a:lnTo>
                        <a:pt x="89656" y="135197"/>
                      </a:lnTo>
                      <a:lnTo>
                        <a:pt x="98539" y="155835"/>
                      </a:lnTo>
                      <a:lnTo>
                        <a:pt x="133024" y="143687"/>
                      </a:lnTo>
                      <a:lnTo>
                        <a:pt x="124664" y="122526"/>
                      </a:lnTo>
                      <a:lnTo>
                        <a:pt x="137073" y="102018"/>
                      </a:lnTo>
                      <a:lnTo>
                        <a:pt x="160455" y="100059"/>
                      </a:lnTo>
                      <a:lnTo>
                        <a:pt x="161239" y="70929"/>
                      </a:lnTo>
                      <a:lnTo>
                        <a:pt x="137857" y="64659"/>
                      </a:lnTo>
                      <a:close/>
                      <a:moveTo>
                        <a:pt x="97885" y="75632"/>
                      </a:moveTo>
                      <a:cubicBezTo>
                        <a:pt x="98147" y="76677"/>
                        <a:pt x="97233" y="78636"/>
                        <a:pt x="96841" y="79550"/>
                      </a:cubicBezTo>
                      <a:cubicBezTo>
                        <a:pt x="96449" y="80334"/>
                        <a:pt x="96187" y="81118"/>
                        <a:pt x="95665" y="81902"/>
                      </a:cubicBezTo>
                      <a:cubicBezTo>
                        <a:pt x="94751" y="83208"/>
                        <a:pt x="93705" y="84645"/>
                        <a:pt x="92530" y="85690"/>
                      </a:cubicBezTo>
                      <a:cubicBezTo>
                        <a:pt x="90048" y="88041"/>
                        <a:pt x="87305" y="89739"/>
                        <a:pt x="84170" y="90915"/>
                      </a:cubicBezTo>
                      <a:cubicBezTo>
                        <a:pt x="82864" y="91437"/>
                        <a:pt x="81557" y="91699"/>
                        <a:pt x="80251" y="91960"/>
                      </a:cubicBezTo>
                      <a:cubicBezTo>
                        <a:pt x="79075" y="92221"/>
                        <a:pt x="78031" y="92221"/>
                        <a:pt x="76855" y="92091"/>
                      </a:cubicBezTo>
                      <a:cubicBezTo>
                        <a:pt x="76071" y="92091"/>
                        <a:pt x="75418" y="91829"/>
                        <a:pt x="74634" y="91829"/>
                      </a:cubicBezTo>
                      <a:cubicBezTo>
                        <a:pt x="76724" y="91829"/>
                        <a:pt x="74504" y="91829"/>
                        <a:pt x="73589" y="91568"/>
                      </a:cubicBezTo>
                      <a:cubicBezTo>
                        <a:pt x="70062" y="90523"/>
                        <a:pt x="66536" y="87519"/>
                        <a:pt x="64837" y="84253"/>
                      </a:cubicBezTo>
                      <a:cubicBezTo>
                        <a:pt x="63793" y="82294"/>
                        <a:pt x="62878" y="80073"/>
                        <a:pt x="62747" y="77722"/>
                      </a:cubicBezTo>
                      <a:cubicBezTo>
                        <a:pt x="62747" y="75632"/>
                        <a:pt x="63139" y="73542"/>
                        <a:pt x="63923" y="71713"/>
                      </a:cubicBezTo>
                      <a:cubicBezTo>
                        <a:pt x="65099" y="68970"/>
                        <a:pt x="66275" y="66357"/>
                        <a:pt x="67972" y="63876"/>
                      </a:cubicBezTo>
                      <a:cubicBezTo>
                        <a:pt x="69801" y="61132"/>
                        <a:pt x="72152" y="58389"/>
                        <a:pt x="75026" y="56822"/>
                      </a:cubicBezTo>
                      <a:cubicBezTo>
                        <a:pt x="78031" y="55254"/>
                        <a:pt x="81166" y="54993"/>
                        <a:pt x="84170" y="56169"/>
                      </a:cubicBezTo>
                      <a:cubicBezTo>
                        <a:pt x="85346" y="55646"/>
                        <a:pt x="86782" y="55385"/>
                        <a:pt x="87958" y="55907"/>
                      </a:cubicBezTo>
                      <a:cubicBezTo>
                        <a:pt x="90179" y="56691"/>
                        <a:pt x="91877" y="57736"/>
                        <a:pt x="93444" y="59565"/>
                      </a:cubicBezTo>
                      <a:cubicBezTo>
                        <a:pt x="94881" y="61394"/>
                        <a:pt x="95926" y="63092"/>
                        <a:pt x="96710" y="65312"/>
                      </a:cubicBezTo>
                      <a:cubicBezTo>
                        <a:pt x="96971" y="65966"/>
                        <a:pt x="97233" y="66619"/>
                        <a:pt x="97363" y="67402"/>
                      </a:cubicBezTo>
                      <a:cubicBezTo>
                        <a:pt x="97363" y="67794"/>
                        <a:pt x="97494" y="68186"/>
                        <a:pt x="97624" y="68709"/>
                      </a:cubicBezTo>
                      <a:cubicBezTo>
                        <a:pt x="97624" y="69362"/>
                        <a:pt x="97755" y="70015"/>
                        <a:pt x="97885" y="70668"/>
                      </a:cubicBezTo>
                      <a:cubicBezTo>
                        <a:pt x="97885" y="70538"/>
                        <a:pt x="97885" y="70407"/>
                        <a:pt x="97885" y="70276"/>
                      </a:cubicBezTo>
                      <a:cubicBezTo>
                        <a:pt x="97885" y="69754"/>
                        <a:pt x="97885" y="69754"/>
                        <a:pt x="97885" y="70276"/>
                      </a:cubicBezTo>
                      <a:cubicBezTo>
                        <a:pt x="97885" y="70929"/>
                        <a:pt x="98016" y="71583"/>
                        <a:pt x="98147" y="72235"/>
                      </a:cubicBezTo>
                      <a:cubicBezTo>
                        <a:pt x="98147" y="72627"/>
                        <a:pt x="98147" y="72889"/>
                        <a:pt x="98147" y="73281"/>
                      </a:cubicBezTo>
                      <a:cubicBezTo>
                        <a:pt x="98147" y="74064"/>
                        <a:pt x="98147" y="74979"/>
                        <a:pt x="97885" y="7576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53" name="Freeform: Shape 952">
                  <a:extLst>
                    <a:ext uri="{FF2B5EF4-FFF2-40B4-BE49-F238E27FC236}">
                      <a16:creationId xmlns:a16="http://schemas.microsoft.com/office/drawing/2014/main" id="{F046F894-1229-9479-4BCE-0A8448829B4E}"/>
                    </a:ext>
                  </a:extLst>
                </p:cNvPr>
                <p:cNvSpPr/>
                <p:nvPr/>
              </p:nvSpPr>
              <p:spPr>
                <a:xfrm>
                  <a:off x="3531761" y="4165716"/>
                  <a:ext cx="43929" cy="25483"/>
                </a:xfrm>
                <a:custGeom>
                  <a:avLst/>
                  <a:gdLst>
                    <a:gd name="connsiteX0" fmla="*/ 43919 w 43929"/>
                    <a:gd name="connsiteY0" fmla="*/ 2915 h 25483"/>
                    <a:gd name="connsiteX1" fmla="*/ 37388 w 43929"/>
                    <a:gd name="connsiteY1" fmla="*/ 2392 h 25483"/>
                    <a:gd name="connsiteX2" fmla="*/ 33077 w 43929"/>
                    <a:gd name="connsiteY2" fmla="*/ 8793 h 25483"/>
                    <a:gd name="connsiteX3" fmla="*/ 25501 w 43929"/>
                    <a:gd name="connsiteY3" fmla="*/ 12842 h 25483"/>
                    <a:gd name="connsiteX4" fmla="*/ 18186 w 43929"/>
                    <a:gd name="connsiteY4" fmla="*/ 14018 h 25483"/>
                    <a:gd name="connsiteX5" fmla="*/ 16488 w 43929"/>
                    <a:gd name="connsiteY5" fmla="*/ 13626 h 25483"/>
                    <a:gd name="connsiteX6" fmla="*/ 11132 w 43929"/>
                    <a:gd name="connsiteY6" fmla="*/ 11013 h 25483"/>
                    <a:gd name="connsiteX7" fmla="*/ 6168 w 43929"/>
                    <a:gd name="connsiteY7" fmla="*/ 8531 h 25483"/>
                    <a:gd name="connsiteX8" fmla="*/ 2642 w 43929"/>
                    <a:gd name="connsiteY8" fmla="*/ 18851 h 25483"/>
                    <a:gd name="connsiteX9" fmla="*/ 30987 w 43929"/>
                    <a:gd name="connsiteY9" fmla="*/ 22769 h 25483"/>
                    <a:gd name="connsiteX10" fmla="*/ 42090 w 43929"/>
                    <a:gd name="connsiteY10" fmla="*/ 8923 h 25483"/>
                    <a:gd name="connsiteX11" fmla="*/ 43919 w 43929"/>
                    <a:gd name="connsiteY11" fmla="*/ 2915 h 2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929" h="25483">
                      <a:moveTo>
                        <a:pt x="43919" y="2915"/>
                      </a:moveTo>
                      <a:cubicBezTo>
                        <a:pt x="43658" y="-743"/>
                        <a:pt x="38172" y="-1004"/>
                        <a:pt x="37388" y="2392"/>
                      </a:cubicBezTo>
                      <a:cubicBezTo>
                        <a:pt x="36343" y="5788"/>
                        <a:pt x="36735" y="5266"/>
                        <a:pt x="33077" y="8793"/>
                      </a:cubicBezTo>
                      <a:cubicBezTo>
                        <a:pt x="29550" y="11666"/>
                        <a:pt x="30857" y="10752"/>
                        <a:pt x="25501" y="12842"/>
                      </a:cubicBezTo>
                      <a:cubicBezTo>
                        <a:pt x="20407" y="14410"/>
                        <a:pt x="22496" y="14018"/>
                        <a:pt x="18186" y="14018"/>
                      </a:cubicBezTo>
                      <a:cubicBezTo>
                        <a:pt x="17663" y="14018"/>
                        <a:pt x="17010" y="13756"/>
                        <a:pt x="16488" y="13626"/>
                      </a:cubicBezTo>
                      <a:cubicBezTo>
                        <a:pt x="14398" y="12842"/>
                        <a:pt x="15051" y="13234"/>
                        <a:pt x="11132" y="11013"/>
                      </a:cubicBezTo>
                      <a:cubicBezTo>
                        <a:pt x="9434" y="10230"/>
                        <a:pt x="7997" y="8662"/>
                        <a:pt x="6168" y="8531"/>
                      </a:cubicBezTo>
                      <a:cubicBezTo>
                        <a:pt x="421" y="7486"/>
                        <a:pt x="-2453" y="15977"/>
                        <a:pt x="2642" y="18851"/>
                      </a:cubicBezTo>
                      <a:cubicBezTo>
                        <a:pt x="11655" y="25121"/>
                        <a:pt x="20668" y="27995"/>
                        <a:pt x="30987" y="22769"/>
                      </a:cubicBezTo>
                      <a:cubicBezTo>
                        <a:pt x="36343" y="19765"/>
                        <a:pt x="40131" y="14801"/>
                        <a:pt x="42090" y="8923"/>
                      </a:cubicBezTo>
                      <a:cubicBezTo>
                        <a:pt x="42874" y="7095"/>
                        <a:pt x="44050" y="5005"/>
                        <a:pt x="43919" y="291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54" name="Freeform: Shape 953">
                  <a:extLst>
                    <a:ext uri="{FF2B5EF4-FFF2-40B4-BE49-F238E27FC236}">
                      <a16:creationId xmlns:a16="http://schemas.microsoft.com/office/drawing/2014/main" id="{0706B93A-7B06-69D7-0CCF-5862F411EDA9}"/>
                    </a:ext>
                  </a:extLst>
                </p:cNvPr>
                <p:cNvSpPr/>
                <p:nvPr/>
              </p:nvSpPr>
              <p:spPr>
                <a:xfrm>
                  <a:off x="3571849" y="4225582"/>
                  <a:ext cx="31474" cy="17746"/>
                </a:xfrm>
                <a:custGeom>
                  <a:avLst/>
                  <a:gdLst>
                    <a:gd name="connsiteX0" fmla="*/ 22641 w 31474"/>
                    <a:gd name="connsiteY0" fmla="*/ 653 h 17746"/>
                    <a:gd name="connsiteX1" fmla="*/ 11668 w 31474"/>
                    <a:gd name="connsiteY1" fmla="*/ 3919 h 17746"/>
                    <a:gd name="connsiteX2" fmla="*/ 2394 w 31474"/>
                    <a:gd name="connsiteY2" fmla="*/ 6401 h 17746"/>
                    <a:gd name="connsiteX3" fmla="*/ 7749 w 31474"/>
                    <a:gd name="connsiteY3" fmla="*/ 17504 h 17746"/>
                    <a:gd name="connsiteX4" fmla="*/ 29825 w 31474"/>
                    <a:gd name="connsiteY4" fmla="*/ 9928 h 17746"/>
                    <a:gd name="connsiteX5" fmla="*/ 22510 w 31474"/>
                    <a:gd name="connsiteY5" fmla="*/ 784 h 1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74" h="17746">
                      <a:moveTo>
                        <a:pt x="22641" y="653"/>
                      </a:moveTo>
                      <a:cubicBezTo>
                        <a:pt x="19244" y="1960"/>
                        <a:pt x="18069" y="2743"/>
                        <a:pt x="11668" y="3919"/>
                      </a:cubicBezTo>
                      <a:cubicBezTo>
                        <a:pt x="8664" y="4834"/>
                        <a:pt x="5006" y="4442"/>
                        <a:pt x="2394" y="6401"/>
                      </a:cubicBezTo>
                      <a:cubicBezTo>
                        <a:pt x="-2962" y="10320"/>
                        <a:pt x="1480" y="19333"/>
                        <a:pt x="7749" y="17504"/>
                      </a:cubicBezTo>
                      <a:cubicBezTo>
                        <a:pt x="15326" y="15937"/>
                        <a:pt x="23947" y="15545"/>
                        <a:pt x="29825" y="9928"/>
                      </a:cubicBezTo>
                      <a:cubicBezTo>
                        <a:pt x="34397" y="4572"/>
                        <a:pt x="28649" y="-2351"/>
                        <a:pt x="22510" y="78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55" name="Freeform: Shape 954">
                  <a:extLst>
                    <a:ext uri="{FF2B5EF4-FFF2-40B4-BE49-F238E27FC236}">
                      <a16:creationId xmlns:a16="http://schemas.microsoft.com/office/drawing/2014/main" id="{E247A95C-8229-353E-FD0B-9008D3CE1A9F}"/>
                    </a:ext>
                  </a:extLst>
                </p:cNvPr>
                <p:cNvSpPr/>
                <p:nvPr/>
              </p:nvSpPr>
              <p:spPr>
                <a:xfrm>
                  <a:off x="3619570" y="4170122"/>
                  <a:ext cx="16719" cy="21768"/>
                </a:xfrm>
                <a:custGeom>
                  <a:avLst/>
                  <a:gdLst>
                    <a:gd name="connsiteX0" fmla="*/ 16720 w 16719"/>
                    <a:gd name="connsiteY0" fmla="*/ 6999 h 21768"/>
                    <a:gd name="connsiteX1" fmla="*/ 16720 w 16719"/>
                    <a:gd name="connsiteY1" fmla="*/ 6868 h 21768"/>
                    <a:gd name="connsiteX2" fmla="*/ 16720 w 16719"/>
                    <a:gd name="connsiteY2" fmla="*/ 6999 h 21768"/>
                    <a:gd name="connsiteX3" fmla="*/ 15806 w 16719"/>
                    <a:gd name="connsiteY3" fmla="*/ 3341 h 21768"/>
                    <a:gd name="connsiteX4" fmla="*/ 3657 w 16719"/>
                    <a:gd name="connsiteY4" fmla="*/ 4256 h 21768"/>
                    <a:gd name="connsiteX5" fmla="*/ 3266 w 16719"/>
                    <a:gd name="connsiteY5" fmla="*/ 5170 h 21768"/>
                    <a:gd name="connsiteX6" fmla="*/ 2090 w 16719"/>
                    <a:gd name="connsiteY6" fmla="*/ 8305 h 21768"/>
                    <a:gd name="connsiteX7" fmla="*/ 1045 w 16719"/>
                    <a:gd name="connsiteY7" fmla="*/ 10787 h 21768"/>
                    <a:gd name="connsiteX8" fmla="*/ 0 w 16719"/>
                    <a:gd name="connsiteY8" fmla="*/ 14444 h 21768"/>
                    <a:gd name="connsiteX9" fmla="*/ 14108 w 16719"/>
                    <a:gd name="connsiteY9" fmla="*/ 16404 h 21768"/>
                    <a:gd name="connsiteX10" fmla="*/ 16590 w 16719"/>
                    <a:gd name="connsiteY10" fmla="*/ 8174 h 21768"/>
                    <a:gd name="connsiteX11" fmla="*/ 16720 w 16719"/>
                    <a:gd name="connsiteY11" fmla="*/ 6868 h 2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19" h="21768">
                      <a:moveTo>
                        <a:pt x="16720" y="6999"/>
                      </a:moveTo>
                      <a:cubicBezTo>
                        <a:pt x="16720" y="6999"/>
                        <a:pt x="16720" y="6999"/>
                        <a:pt x="16720" y="6868"/>
                      </a:cubicBezTo>
                      <a:cubicBezTo>
                        <a:pt x="16720" y="6868"/>
                        <a:pt x="16720" y="6868"/>
                        <a:pt x="16720" y="6999"/>
                      </a:cubicBezTo>
                      <a:cubicBezTo>
                        <a:pt x="16720" y="5693"/>
                        <a:pt x="16459" y="4386"/>
                        <a:pt x="15806" y="3341"/>
                      </a:cubicBezTo>
                      <a:cubicBezTo>
                        <a:pt x="13193" y="-1622"/>
                        <a:pt x="5486" y="-839"/>
                        <a:pt x="3657" y="4256"/>
                      </a:cubicBezTo>
                      <a:cubicBezTo>
                        <a:pt x="3657" y="4517"/>
                        <a:pt x="3396" y="4778"/>
                        <a:pt x="3266" y="5170"/>
                      </a:cubicBezTo>
                      <a:cubicBezTo>
                        <a:pt x="2743" y="6215"/>
                        <a:pt x="2482" y="7260"/>
                        <a:pt x="2090" y="8305"/>
                      </a:cubicBezTo>
                      <a:cubicBezTo>
                        <a:pt x="1698" y="9089"/>
                        <a:pt x="1306" y="10134"/>
                        <a:pt x="1045" y="10787"/>
                      </a:cubicBezTo>
                      <a:cubicBezTo>
                        <a:pt x="392" y="11963"/>
                        <a:pt x="131" y="13138"/>
                        <a:pt x="0" y="14444"/>
                      </a:cubicBezTo>
                      <a:cubicBezTo>
                        <a:pt x="0" y="22935"/>
                        <a:pt x="11887" y="24633"/>
                        <a:pt x="14108" y="16404"/>
                      </a:cubicBezTo>
                      <a:cubicBezTo>
                        <a:pt x="15283" y="13791"/>
                        <a:pt x="16198" y="11048"/>
                        <a:pt x="16590" y="8174"/>
                      </a:cubicBezTo>
                      <a:cubicBezTo>
                        <a:pt x="16590" y="7783"/>
                        <a:pt x="16720" y="7391"/>
                        <a:pt x="16720" y="686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56" name="Freeform: Shape 955">
                  <a:extLst>
                    <a:ext uri="{FF2B5EF4-FFF2-40B4-BE49-F238E27FC236}">
                      <a16:creationId xmlns:a16="http://schemas.microsoft.com/office/drawing/2014/main" id="{D65A187C-E886-249F-311C-EDC09043279D}"/>
                    </a:ext>
                  </a:extLst>
                </p:cNvPr>
                <p:cNvSpPr/>
                <p:nvPr/>
              </p:nvSpPr>
              <p:spPr>
                <a:xfrm>
                  <a:off x="3469647" y="4083932"/>
                  <a:ext cx="170574" cy="164117"/>
                </a:xfrm>
                <a:custGeom>
                  <a:avLst/>
                  <a:gdLst>
                    <a:gd name="connsiteX0" fmla="*/ 101722 w 170574"/>
                    <a:gd name="connsiteY0" fmla="*/ 164118 h 164117"/>
                    <a:gd name="connsiteX1" fmla="*/ 98196 w 170574"/>
                    <a:gd name="connsiteY1" fmla="*/ 161767 h 164117"/>
                    <a:gd name="connsiteX2" fmla="*/ 89836 w 170574"/>
                    <a:gd name="connsiteY2" fmla="*/ 143741 h 164117"/>
                    <a:gd name="connsiteX3" fmla="*/ 69719 w 170574"/>
                    <a:gd name="connsiteY3" fmla="*/ 143479 h 164117"/>
                    <a:gd name="connsiteX4" fmla="*/ 64103 w 170574"/>
                    <a:gd name="connsiteY4" fmla="*/ 154191 h 164117"/>
                    <a:gd name="connsiteX5" fmla="*/ 60445 w 170574"/>
                    <a:gd name="connsiteY5" fmla="*/ 161244 h 164117"/>
                    <a:gd name="connsiteX6" fmla="*/ 55742 w 170574"/>
                    <a:gd name="connsiteY6" fmla="*/ 162942 h 164117"/>
                    <a:gd name="connsiteX7" fmla="*/ 27136 w 170574"/>
                    <a:gd name="connsiteY7" fmla="*/ 141912 h 164117"/>
                    <a:gd name="connsiteX8" fmla="*/ 27136 w 170574"/>
                    <a:gd name="connsiteY8" fmla="*/ 137471 h 164117"/>
                    <a:gd name="connsiteX9" fmla="*/ 38500 w 170574"/>
                    <a:gd name="connsiteY9" fmla="*/ 120751 h 164117"/>
                    <a:gd name="connsiteX10" fmla="*/ 27266 w 170574"/>
                    <a:gd name="connsiteY10" fmla="*/ 100896 h 164117"/>
                    <a:gd name="connsiteX11" fmla="*/ 23347 w 170574"/>
                    <a:gd name="connsiteY11" fmla="*/ 101679 h 164117"/>
                    <a:gd name="connsiteX12" fmla="*/ 6236 w 170574"/>
                    <a:gd name="connsiteY12" fmla="*/ 104945 h 164117"/>
                    <a:gd name="connsiteX13" fmla="*/ 2056 w 170574"/>
                    <a:gd name="connsiteY13" fmla="*/ 102202 h 164117"/>
                    <a:gd name="connsiteX14" fmla="*/ 4930 w 170574"/>
                    <a:gd name="connsiteY14" fmla="*/ 58704 h 164117"/>
                    <a:gd name="connsiteX15" fmla="*/ 9371 w 170574"/>
                    <a:gd name="connsiteY15" fmla="*/ 56222 h 164117"/>
                    <a:gd name="connsiteX16" fmla="*/ 31838 w 170574"/>
                    <a:gd name="connsiteY16" fmla="*/ 61839 h 164117"/>
                    <a:gd name="connsiteX17" fmla="*/ 42680 w 170574"/>
                    <a:gd name="connsiteY17" fmla="*/ 42898 h 164117"/>
                    <a:gd name="connsiteX18" fmla="*/ 31446 w 170574"/>
                    <a:gd name="connsiteY18" fmla="*/ 25656 h 164117"/>
                    <a:gd name="connsiteX19" fmla="*/ 32230 w 170574"/>
                    <a:gd name="connsiteY19" fmla="*/ 21084 h 164117"/>
                    <a:gd name="connsiteX20" fmla="*/ 63580 w 170574"/>
                    <a:gd name="connsiteY20" fmla="*/ 1229 h 164117"/>
                    <a:gd name="connsiteX21" fmla="*/ 68413 w 170574"/>
                    <a:gd name="connsiteY21" fmla="*/ 2797 h 164117"/>
                    <a:gd name="connsiteX22" fmla="*/ 78210 w 170574"/>
                    <a:gd name="connsiteY22" fmla="*/ 23043 h 164117"/>
                    <a:gd name="connsiteX23" fmla="*/ 100286 w 170574"/>
                    <a:gd name="connsiteY23" fmla="*/ 22259 h 164117"/>
                    <a:gd name="connsiteX24" fmla="*/ 111781 w 170574"/>
                    <a:gd name="connsiteY24" fmla="*/ 1751 h 164117"/>
                    <a:gd name="connsiteX25" fmla="*/ 116614 w 170574"/>
                    <a:gd name="connsiteY25" fmla="*/ 445 h 164117"/>
                    <a:gd name="connsiteX26" fmla="*/ 142216 w 170574"/>
                    <a:gd name="connsiteY26" fmla="*/ 17688 h 164117"/>
                    <a:gd name="connsiteX27" fmla="*/ 148486 w 170574"/>
                    <a:gd name="connsiteY27" fmla="*/ 23174 h 164117"/>
                    <a:gd name="connsiteX28" fmla="*/ 151491 w 170574"/>
                    <a:gd name="connsiteY28" fmla="*/ 27485 h 164117"/>
                    <a:gd name="connsiteX29" fmla="*/ 150968 w 170574"/>
                    <a:gd name="connsiteY29" fmla="*/ 30489 h 164117"/>
                    <a:gd name="connsiteX30" fmla="*/ 145482 w 170574"/>
                    <a:gd name="connsiteY30" fmla="*/ 38588 h 164117"/>
                    <a:gd name="connsiteX31" fmla="*/ 138036 w 170574"/>
                    <a:gd name="connsiteY31" fmla="*/ 49560 h 164117"/>
                    <a:gd name="connsiteX32" fmla="*/ 144437 w 170574"/>
                    <a:gd name="connsiteY32" fmla="*/ 66019 h 164117"/>
                    <a:gd name="connsiteX33" fmla="*/ 168080 w 170574"/>
                    <a:gd name="connsiteY33" fmla="*/ 71636 h 164117"/>
                    <a:gd name="connsiteX34" fmla="*/ 170431 w 170574"/>
                    <a:gd name="connsiteY34" fmla="*/ 74901 h 164117"/>
                    <a:gd name="connsiteX35" fmla="*/ 165598 w 170574"/>
                    <a:gd name="connsiteY35" fmla="*/ 108211 h 164117"/>
                    <a:gd name="connsiteX36" fmla="*/ 161940 w 170574"/>
                    <a:gd name="connsiteY36" fmla="*/ 110692 h 164117"/>
                    <a:gd name="connsiteX37" fmla="*/ 159328 w 170574"/>
                    <a:gd name="connsiteY37" fmla="*/ 110692 h 164117"/>
                    <a:gd name="connsiteX38" fmla="*/ 141824 w 170574"/>
                    <a:gd name="connsiteY38" fmla="*/ 110562 h 164117"/>
                    <a:gd name="connsiteX39" fmla="*/ 130852 w 170574"/>
                    <a:gd name="connsiteY39" fmla="*/ 128196 h 164117"/>
                    <a:gd name="connsiteX40" fmla="*/ 140518 w 170574"/>
                    <a:gd name="connsiteY40" fmla="*/ 147529 h 164117"/>
                    <a:gd name="connsiteX41" fmla="*/ 138820 w 170574"/>
                    <a:gd name="connsiteY41" fmla="*/ 152231 h 164117"/>
                    <a:gd name="connsiteX42" fmla="*/ 102115 w 170574"/>
                    <a:gd name="connsiteY42" fmla="*/ 164118 h 164117"/>
                    <a:gd name="connsiteX43" fmla="*/ 101722 w 170574"/>
                    <a:gd name="connsiteY43" fmla="*/ 164118 h 164117"/>
                    <a:gd name="connsiteX44" fmla="*/ 91795 w 170574"/>
                    <a:gd name="connsiteY44" fmla="*/ 135903 h 164117"/>
                    <a:gd name="connsiteX45" fmla="*/ 94930 w 170574"/>
                    <a:gd name="connsiteY45" fmla="*/ 137601 h 164117"/>
                    <a:gd name="connsiteX46" fmla="*/ 104074 w 170574"/>
                    <a:gd name="connsiteY46" fmla="*/ 156281 h 164117"/>
                    <a:gd name="connsiteX47" fmla="*/ 132158 w 170574"/>
                    <a:gd name="connsiteY47" fmla="*/ 147267 h 164117"/>
                    <a:gd name="connsiteX48" fmla="*/ 123014 w 170574"/>
                    <a:gd name="connsiteY48" fmla="*/ 129633 h 164117"/>
                    <a:gd name="connsiteX49" fmla="*/ 123406 w 170574"/>
                    <a:gd name="connsiteY49" fmla="*/ 125453 h 164117"/>
                    <a:gd name="connsiteX50" fmla="*/ 135685 w 170574"/>
                    <a:gd name="connsiteY50" fmla="*/ 105729 h 164117"/>
                    <a:gd name="connsiteX51" fmla="*/ 138820 w 170574"/>
                    <a:gd name="connsiteY51" fmla="*/ 103378 h 164117"/>
                    <a:gd name="connsiteX52" fmla="*/ 159328 w 170574"/>
                    <a:gd name="connsiteY52" fmla="*/ 103247 h 164117"/>
                    <a:gd name="connsiteX53" fmla="*/ 162855 w 170574"/>
                    <a:gd name="connsiteY53" fmla="*/ 77906 h 164117"/>
                    <a:gd name="connsiteX54" fmla="*/ 141302 w 170574"/>
                    <a:gd name="connsiteY54" fmla="*/ 73465 h 164117"/>
                    <a:gd name="connsiteX55" fmla="*/ 138036 w 170574"/>
                    <a:gd name="connsiteY55" fmla="*/ 70983 h 164117"/>
                    <a:gd name="connsiteX56" fmla="*/ 130199 w 170574"/>
                    <a:gd name="connsiteY56" fmla="*/ 50736 h 164117"/>
                    <a:gd name="connsiteX57" fmla="*/ 130591 w 170574"/>
                    <a:gd name="connsiteY57" fmla="*/ 47340 h 164117"/>
                    <a:gd name="connsiteX58" fmla="*/ 139212 w 170574"/>
                    <a:gd name="connsiteY58" fmla="*/ 34538 h 164117"/>
                    <a:gd name="connsiteX59" fmla="*/ 143130 w 170574"/>
                    <a:gd name="connsiteY59" fmla="*/ 28791 h 164117"/>
                    <a:gd name="connsiteX60" fmla="*/ 137252 w 170574"/>
                    <a:gd name="connsiteY60" fmla="*/ 23566 h 164117"/>
                    <a:gd name="connsiteX61" fmla="*/ 116091 w 170574"/>
                    <a:gd name="connsiteY61" fmla="*/ 8936 h 164117"/>
                    <a:gd name="connsiteX62" fmla="*/ 105641 w 170574"/>
                    <a:gd name="connsiteY62" fmla="*/ 28138 h 164117"/>
                    <a:gd name="connsiteX63" fmla="*/ 101984 w 170574"/>
                    <a:gd name="connsiteY63" fmla="*/ 30228 h 164117"/>
                    <a:gd name="connsiteX64" fmla="*/ 76512 w 170574"/>
                    <a:gd name="connsiteY64" fmla="*/ 31142 h 164117"/>
                    <a:gd name="connsiteX65" fmla="*/ 72332 w 170574"/>
                    <a:gd name="connsiteY65" fmla="*/ 28921 h 164117"/>
                    <a:gd name="connsiteX66" fmla="*/ 63449 w 170574"/>
                    <a:gd name="connsiteY66" fmla="*/ 9850 h 164117"/>
                    <a:gd name="connsiteX67" fmla="*/ 39414 w 170574"/>
                    <a:gd name="connsiteY67" fmla="*/ 25003 h 164117"/>
                    <a:gd name="connsiteX68" fmla="*/ 50126 w 170574"/>
                    <a:gd name="connsiteY68" fmla="*/ 40808 h 164117"/>
                    <a:gd name="connsiteX69" fmla="*/ 50256 w 170574"/>
                    <a:gd name="connsiteY69" fmla="*/ 44988 h 164117"/>
                    <a:gd name="connsiteX70" fmla="*/ 37324 w 170574"/>
                    <a:gd name="connsiteY70" fmla="*/ 67978 h 164117"/>
                    <a:gd name="connsiteX71" fmla="*/ 33014 w 170574"/>
                    <a:gd name="connsiteY71" fmla="*/ 70068 h 164117"/>
                    <a:gd name="connsiteX72" fmla="*/ 10808 w 170574"/>
                    <a:gd name="connsiteY72" fmla="*/ 64582 h 164117"/>
                    <a:gd name="connsiteX73" fmla="*/ 8326 w 170574"/>
                    <a:gd name="connsiteY73" fmla="*/ 97108 h 164117"/>
                    <a:gd name="connsiteX74" fmla="*/ 21519 w 170574"/>
                    <a:gd name="connsiteY74" fmla="*/ 94495 h 164117"/>
                    <a:gd name="connsiteX75" fmla="*/ 28573 w 170574"/>
                    <a:gd name="connsiteY75" fmla="*/ 93058 h 164117"/>
                    <a:gd name="connsiteX76" fmla="*/ 32752 w 170574"/>
                    <a:gd name="connsiteY76" fmla="*/ 95279 h 164117"/>
                    <a:gd name="connsiteX77" fmla="*/ 45685 w 170574"/>
                    <a:gd name="connsiteY77" fmla="*/ 118269 h 164117"/>
                    <a:gd name="connsiteX78" fmla="*/ 45946 w 170574"/>
                    <a:gd name="connsiteY78" fmla="*/ 122579 h 164117"/>
                    <a:gd name="connsiteX79" fmla="*/ 34581 w 170574"/>
                    <a:gd name="connsiteY79" fmla="*/ 139561 h 164117"/>
                    <a:gd name="connsiteX80" fmla="*/ 55220 w 170574"/>
                    <a:gd name="connsiteY80" fmla="*/ 154844 h 164117"/>
                    <a:gd name="connsiteX81" fmla="*/ 57310 w 170574"/>
                    <a:gd name="connsiteY81" fmla="*/ 150925 h 164117"/>
                    <a:gd name="connsiteX82" fmla="*/ 64233 w 170574"/>
                    <a:gd name="connsiteY82" fmla="*/ 137993 h 164117"/>
                    <a:gd name="connsiteX83" fmla="*/ 67891 w 170574"/>
                    <a:gd name="connsiteY83" fmla="*/ 136164 h 164117"/>
                    <a:gd name="connsiteX84" fmla="*/ 91142 w 170574"/>
                    <a:gd name="connsiteY84" fmla="*/ 136426 h 164117"/>
                    <a:gd name="connsiteX85" fmla="*/ 91664 w 170574"/>
                    <a:gd name="connsiteY85" fmla="*/ 136426 h 164117"/>
                    <a:gd name="connsiteX86" fmla="*/ 144306 w 170574"/>
                    <a:gd name="connsiteY86" fmla="*/ 29575 h 164117"/>
                    <a:gd name="connsiteX87" fmla="*/ 144306 w 170574"/>
                    <a:gd name="connsiteY87" fmla="*/ 29575 h 164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70574" h="164117">
                      <a:moveTo>
                        <a:pt x="101722" y="164118"/>
                      </a:moveTo>
                      <a:cubicBezTo>
                        <a:pt x="100155" y="164118"/>
                        <a:pt x="98849" y="163204"/>
                        <a:pt x="98196" y="161767"/>
                      </a:cubicBezTo>
                      <a:cubicBezTo>
                        <a:pt x="95714" y="155497"/>
                        <a:pt x="93362" y="149619"/>
                        <a:pt x="89836" y="143741"/>
                      </a:cubicBezTo>
                      <a:cubicBezTo>
                        <a:pt x="83043" y="144524"/>
                        <a:pt x="76120" y="144132"/>
                        <a:pt x="69719" y="143479"/>
                      </a:cubicBezTo>
                      <a:cubicBezTo>
                        <a:pt x="67760" y="146876"/>
                        <a:pt x="65931" y="150403"/>
                        <a:pt x="64103" y="154191"/>
                      </a:cubicBezTo>
                      <a:cubicBezTo>
                        <a:pt x="62927" y="156411"/>
                        <a:pt x="61621" y="158763"/>
                        <a:pt x="60445" y="161244"/>
                      </a:cubicBezTo>
                      <a:cubicBezTo>
                        <a:pt x="59531" y="162942"/>
                        <a:pt x="57571" y="163726"/>
                        <a:pt x="55742" y="162942"/>
                      </a:cubicBezTo>
                      <a:cubicBezTo>
                        <a:pt x="44378" y="158501"/>
                        <a:pt x="34451" y="151186"/>
                        <a:pt x="27136" y="141912"/>
                      </a:cubicBezTo>
                      <a:cubicBezTo>
                        <a:pt x="26091" y="140606"/>
                        <a:pt x="26091" y="138777"/>
                        <a:pt x="27136" y="137471"/>
                      </a:cubicBezTo>
                      <a:cubicBezTo>
                        <a:pt x="30793" y="132376"/>
                        <a:pt x="34581" y="127021"/>
                        <a:pt x="38500" y="120751"/>
                      </a:cubicBezTo>
                      <a:cubicBezTo>
                        <a:pt x="34451" y="115264"/>
                        <a:pt x="30663" y="108602"/>
                        <a:pt x="27266" y="100896"/>
                      </a:cubicBezTo>
                      <a:cubicBezTo>
                        <a:pt x="25960" y="101157"/>
                        <a:pt x="24654" y="101418"/>
                        <a:pt x="23347" y="101679"/>
                      </a:cubicBezTo>
                      <a:cubicBezTo>
                        <a:pt x="17861" y="102855"/>
                        <a:pt x="12245" y="104031"/>
                        <a:pt x="6236" y="104945"/>
                      </a:cubicBezTo>
                      <a:cubicBezTo>
                        <a:pt x="4407" y="105206"/>
                        <a:pt x="2578" y="104031"/>
                        <a:pt x="2056" y="102202"/>
                      </a:cubicBezTo>
                      <a:cubicBezTo>
                        <a:pt x="-1471" y="89270"/>
                        <a:pt x="-426" y="74640"/>
                        <a:pt x="4930" y="58704"/>
                      </a:cubicBezTo>
                      <a:cubicBezTo>
                        <a:pt x="5583" y="56875"/>
                        <a:pt x="7542" y="55830"/>
                        <a:pt x="9371" y="56222"/>
                      </a:cubicBezTo>
                      <a:cubicBezTo>
                        <a:pt x="16816" y="58051"/>
                        <a:pt x="24132" y="60010"/>
                        <a:pt x="31838" y="61839"/>
                      </a:cubicBezTo>
                      <a:cubicBezTo>
                        <a:pt x="34973" y="55308"/>
                        <a:pt x="38761" y="49038"/>
                        <a:pt x="42680" y="42898"/>
                      </a:cubicBezTo>
                      <a:cubicBezTo>
                        <a:pt x="39023" y="37935"/>
                        <a:pt x="35104" y="32318"/>
                        <a:pt x="31446" y="25656"/>
                      </a:cubicBezTo>
                      <a:cubicBezTo>
                        <a:pt x="30663" y="24088"/>
                        <a:pt x="30924" y="22259"/>
                        <a:pt x="32230" y="21084"/>
                      </a:cubicBezTo>
                      <a:cubicBezTo>
                        <a:pt x="40590" y="13377"/>
                        <a:pt x="51171" y="6715"/>
                        <a:pt x="63580" y="1229"/>
                      </a:cubicBezTo>
                      <a:cubicBezTo>
                        <a:pt x="65278" y="445"/>
                        <a:pt x="67368" y="1229"/>
                        <a:pt x="68413" y="2797"/>
                      </a:cubicBezTo>
                      <a:cubicBezTo>
                        <a:pt x="72071" y="9328"/>
                        <a:pt x="75336" y="16120"/>
                        <a:pt x="78210" y="23043"/>
                      </a:cubicBezTo>
                      <a:cubicBezTo>
                        <a:pt x="85525" y="21998"/>
                        <a:pt x="92840" y="21737"/>
                        <a:pt x="100286" y="22259"/>
                      </a:cubicBezTo>
                      <a:cubicBezTo>
                        <a:pt x="103682" y="15598"/>
                        <a:pt x="107339" y="8805"/>
                        <a:pt x="111781" y="1751"/>
                      </a:cubicBezTo>
                      <a:cubicBezTo>
                        <a:pt x="112825" y="53"/>
                        <a:pt x="114915" y="-469"/>
                        <a:pt x="116614" y="445"/>
                      </a:cubicBezTo>
                      <a:cubicBezTo>
                        <a:pt x="125758" y="5148"/>
                        <a:pt x="134378" y="11026"/>
                        <a:pt x="142216" y="17688"/>
                      </a:cubicBezTo>
                      <a:cubicBezTo>
                        <a:pt x="144306" y="19516"/>
                        <a:pt x="146396" y="21345"/>
                        <a:pt x="148486" y="23174"/>
                      </a:cubicBezTo>
                      <a:cubicBezTo>
                        <a:pt x="149531" y="24088"/>
                        <a:pt x="150968" y="25395"/>
                        <a:pt x="151491" y="27485"/>
                      </a:cubicBezTo>
                      <a:cubicBezTo>
                        <a:pt x="151752" y="28530"/>
                        <a:pt x="151491" y="29575"/>
                        <a:pt x="150968" y="30489"/>
                      </a:cubicBezTo>
                      <a:cubicBezTo>
                        <a:pt x="149139" y="33101"/>
                        <a:pt x="147311" y="35845"/>
                        <a:pt x="145482" y="38588"/>
                      </a:cubicBezTo>
                      <a:cubicBezTo>
                        <a:pt x="143130" y="42114"/>
                        <a:pt x="140518" y="45641"/>
                        <a:pt x="138036" y="49560"/>
                      </a:cubicBezTo>
                      <a:cubicBezTo>
                        <a:pt x="140126" y="54916"/>
                        <a:pt x="142347" y="60402"/>
                        <a:pt x="144437" y="66019"/>
                      </a:cubicBezTo>
                      <a:cubicBezTo>
                        <a:pt x="150968" y="66672"/>
                        <a:pt x="159197" y="67978"/>
                        <a:pt x="168080" y="71636"/>
                      </a:cubicBezTo>
                      <a:cubicBezTo>
                        <a:pt x="169386" y="72158"/>
                        <a:pt x="170300" y="73465"/>
                        <a:pt x="170431" y="74901"/>
                      </a:cubicBezTo>
                      <a:cubicBezTo>
                        <a:pt x="171084" y="86788"/>
                        <a:pt x="169517" y="97761"/>
                        <a:pt x="165598" y="108211"/>
                      </a:cubicBezTo>
                      <a:cubicBezTo>
                        <a:pt x="165075" y="109778"/>
                        <a:pt x="163639" y="110692"/>
                        <a:pt x="161940" y="110692"/>
                      </a:cubicBezTo>
                      <a:lnTo>
                        <a:pt x="159328" y="110692"/>
                      </a:lnTo>
                      <a:cubicBezTo>
                        <a:pt x="153711" y="110301"/>
                        <a:pt x="147964" y="110170"/>
                        <a:pt x="141824" y="110562"/>
                      </a:cubicBezTo>
                      <a:cubicBezTo>
                        <a:pt x="139342" y="116179"/>
                        <a:pt x="135816" y="121926"/>
                        <a:pt x="130852" y="128196"/>
                      </a:cubicBezTo>
                      <a:cubicBezTo>
                        <a:pt x="134248" y="134074"/>
                        <a:pt x="137514" y="140344"/>
                        <a:pt x="140518" y="147529"/>
                      </a:cubicBezTo>
                      <a:cubicBezTo>
                        <a:pt x="141302" y="149358"/>
                        <a:pt x="140518" y="151317"/>
                        <a:pt x="138820" y="152231"/>
                      </a:cubicBezTo>
                      <a:cubicBezTo>
                        <a:pt x="126802" y="158763"/>
                        <a:pt x="114524" y="162812"/>
                        <a:pt x="102115" y="164118"/>
                      </a:cubicBezTo>
                      <a:cubicBezTo>
                        <a:pt x="101984" y="164118"/>
                        <a:pt x="101853" y="164118"/>
                        <a:pt x="101722" y="164118"/>
                      </a:cubicBezTo>
                      <a:close/>
                      <a:moveTo>
                        <a:pt x="91795" y="135903"/>
                      </a:moveTo>
                      <a:cubicBezTo>
                        <a:pt x="93101" y="135903"/>
                        <a:pt x="94277" y="136556"/>
                        <a:pt x="94930" y="137601"/>
                      </a:cubicBezTo>
                      <a:cubicBezTo>
                        <a:pt x="98979" y="143871"/>
                        <a:pt x="101592" y="150141"/>
                        <a:pt x="104074" y="156281"/>
                      </a:cubicBezTo>
                      <a:cubicBezTo>
                        <a:pt x="113479" y="154974"/>
                        <a:pt x="122884" y="151839"/>
                        <a:pt x="132158" y="147267"/>
                      </a:cubicBezTo>
                      <a:cubicBezTo>
                        <a:pt x="129284" y="140867"/>
                        <a:pt x="126149" y="135381"/>
                        <a:pt x="123014" y="129633"/>
                      </a:cubicBezTo>
                      <a:cubicBezTo>
                        <a:pt x="122230" y="128327"/>
                        <a:pt x="122361" y="126629"/>
                        <a:pt x="123406" y="125453"/>
                      </a:cubicBezTo>
                      <a:cubicBezTo>
                        <a:pt x="129415" y="118138"/>
                        <a:pt x="133334" y="111868"/>
                        <a:pt x="135685" y="105729"/>
                      </a:cubicBezTo>
                      <a:cubicBezTo>
                        <a:pt x="136207" y="104423"/>
                        <a:pt x="137383" y="103508"/>
                        <a:pt x="138820" y="103378"/>
                      </a:cubicBezTo>
                      <a:cubicBezTo>
                        <a:pt x="146135" y="102724"/>
                        <a:pt x="152927" y="102986"/>
                        <a:pt x="159328" y="103247"/>
                      </a:cubicBezTo>
                      <a:cubicBezTo>
                        <a:pt x="161940" y="95279"/>
                        <a:pt x="163116" y="86919"/>
                        <a:pt x="162855" y="77906"/>
                      </a:cubicBezTo>
                      <a:cubicBezTo>
                        <a:pt x="154756" y="74901"/>
                        <a:pt x="147049" y="73856"/>
                        <a:pt x="141302" y="73465"/>
                      </a:cubicBezTo>
                      <a:cubicBezTo>
                        <a:pt x="139865" y="73465"/>
                        <a:pt x="138559" y="72420"/>
                        <a:pt x="138036" y="70983"/>
                      </a:cubicBezTo>
                      <a:cubicBezTo>
                        <a:pt x="135685" y="64190"/>
                        <a:pt x="132942" y="57398"/>
                        <a:pt x="130199" y="50736"/>
                      </a:cubicBezTo>
                      <a:cubicBezTo>
                        <a:pt x="129807" y="49560"/>
                        <a:pt x="129937" y="48384"/>
                        <a:pt x="130591" y="47340"/>
                      </a:cubicBezTo>
                      <a:cubicBezTo>
                        <a:pt x="133595" y="42637"/>
                        <a:pt x="136469" y="38588"/>
                        <a:pt x="139212" y="34538"/>
                      </a:cubicBezTo>
                      <a:cubicBezTo>
                        <a:pt x="140518" y="32579"/>
                        <a:pt x="141824" y="30750"/>
                        <a:pt x="143130" y="28791"/>
                      </a:cubicBezTo>
                      <a:cubicBezTo>
                        <a:pt x="141171" y="27093"/>
                        <a:pt x="139212" y="25264"/>
                        <a:pt x="137252" y="23566"/>
                      </a:cubicBezTo>
                      <a:cubicBezTo>
                        <a:pt x="130721" y="18080"/>
                        <a:pt x="123668" y="13116"/>
                        <a:pt x="116091" y="8936"/>
                      </a:cubicBezTo>
                      <a:cubicBezTo>
                        <a:pt x="112172" y="15467"/>
                        <a:pt x="108776" y="21868"/>
                        <a:pt x="105641" y="28138"/>
                      </a:cubicBezTo>
                      <a:cubicBezTo>
                        <a:pt x="104988" y="29444"/>
                        <a:pt x="103420" y="30358"/>
                        <a:pt x="101984" y="30228"/>
                      </a:cubicBezTo>
                      <a:cubicBezTo>
                        <a:pt x="93493" y="29313"/>
                        <a:pt x="84872" y="29705"/>
                        <a:pt x="76512" y="31142"/>
                      </a:cubicBezTo>
                      <a:cubicBezTo>
                        <a:pt x="74814" y="31403"/>
                        <a:pt x="72985" y="30489"/>
                        <a:pt x="72332" y="28921"/>
                      </a:cubicBezTo>
                      <a:cubicBezTo>
                        <a:pt x="69719" y="22390"/>
                        <a:pt x="66715" y="15990"/>
                        <a:pt x="63449" y="9850"/>
                      </a:cubicBezTo>
                      <a:cubicBezTo>
                        <a:pt x="54175" y="14161"/>
                        <a:pt x="46076" y="19255"/>
                        <a:pt x="39414" y="25003"/>
                      </a:cubicBezTo>
                      <a:cubicBezTo>
                        <a:pt x="42941" y="31012"/>
                        <a:pt x="46729" y="36236"/>
                        <a:pt x="50126" y="40808"/>
                      </a:cubicBezTo>
                      <a:cubicBezTo>
                        <a:pt x="51040" y="41984"/>
                        <a:pt x="51171" y="43682"/>
                        <a:pt x="50256" y="44988"/>
                      </a:cubicBezTo>
                      <a:cubicBezTo>
                        <a:pt x="45423" y="52826"/>
                        <a:pt x="40721" y="60141"/>
                        <a:pt x="37324" y="67978"/>
                      </a:cubicBezTo>
                      <a:cubicBezTo>
                        <a:pt x="36541" y="69676"/>
                        <a:pt x="34842" y="70591"/>
                        <a:pt x="33014" y="70068"/>
                      </a:cubicBezTo>
                      <a:cubicBezTo>
                        <a:pt x="25307" y="68239"/>
                        <a:pt x="18123" y="66411"/>
                        <a:pt x="10808" y="64582"/>
                      </a:cubicBezTo>
                      <a:cubicBezTo>
                        <a:pt x="7281" y="76469"/>
                        <a:pt x="6497" y="87311"/>
                        <a:pt x="8326" y="97108"/>
                      </a:cubicBezTo>
                      <a:cubicBezTo>
                        <a:pt x="12898" y="96324"/>
                        <a:pt x="17339" y="95409"/>
                        <a:pt x="21519" y="94495"/>
                      </a:cubicBezTo>
                      <a:cubicBezTo>
                        <a:pt x="23870" y="93973"/>
                        <a:pt x="26221" y="93450"/>
                        <a:pt x="28573" y="93058"/>
                      </a:cubicBezTo>
                      <a:cubicBezTo>
                        <a:pt x="30271" y="92666"/>
                        <a:pt x="32099" y="93711"/>
                        <a:pt x="32752" y="95279"/>
                      </a:cubicBezTo>
                      <a:cubicBezTo>
                        <a:pt x="36671" y="104684"/>
                        <a:pt x="40851" y="112260"/>
                        <a:pt x="45685" y="118269"/>
                      </a:cubicBezTo>
                      <a:cubicBezTo>
                        <a:pt x="46729" y="119444"/>
                        <a:pt x="46729" y="121273"/>
                        <a:pt x="45946" y="122579"/>
                      </a:cubicBezTo>
                      <a:cubicBezTo>
                        <a:pt x="41896" y="129111"/>
                        <a:pt x="38239" y="134466"/>
                        <a:pt x="34581" y="139561"/>
                      </a:cubicBezTo>
                      <a:cubicBezTo>
                        <a:pt x="40198" y="145961"/>
                        <a:pt x="47252" y="151186"/>
                        <a:pt x="55220" y="154844"/>
                      </a:cubicBezTo>
                      <a:cubicBezTo>
                        <a:pt x="55873" y="153537"/>
                        <a:pt x="56657" y="152231"/>
                        <a:pt x="57310" y="150925"/>
                      </a:cubicBezTo>
                      <a:cubicBezTo>
                        <a:pt x="59661" y="146353"/>
                        <a:pt x="61882" y="142173"/>
                        <a:pt x="64233" y="137993"/>
                      </a:cubicBezTo>
                      <a:cubicBezTo>
                        <a:pt x="65017" y="136687"/>
                        <a:pt x="66323" y="136034"/>
                        <a:pt x="67891" y="136164"/>
                      </a:cubicBezTo>
                      <a:cubicBezTo>
                        <a:pt x="75336" y="136948"/>
                        <a:pt x="83435" y="137471"/>
                        <a:pt x="91142" y="136426"/>
                      </a:cubicBezTo>
                      <a:cubicBezTo>
                        <a:pt x="91272" y="136426"/>
                        <a:pt x="91534" y="136426"/>
                        <a:pt x="91664" y="136426"/>
                      </a:cubicBezTo>
                      <a:close/>
                      <a:moveTo>
                        <a:pt x="144306" y="29575"/>
                      </a:moveTo>
                      <a:lnTo>
                        <a:pt x="144306" y="29575"/>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57" name="Freeform: Shape 956">
                  <a:extLst>
                    <a:ext uri="{FF2B5EF4-FFF2-40B4-BE49-F238E27FC236}">
                      <a16:creationId xmlns:a16="http://schemas.microsoft.com/office/drawing/2014/main" id="{21963442-71D1-DB4F-886E-94B6FACFD015}"/>
                    </a:ext>
                  </a:extLst>
                </p:cNvPr>
                <p:cNvSpPr/>
                <p:nvPr/>
              </p:nvSpPr>
              <p:spPr>
                <a:xfrm>
                  <a:off x="3532712" y="4139400"/>
                  <a:ext cx="40643" cy="43076"/>
                </a:xfrm>
                <a:custGeom>
                  <a:avLst/>
                  <a:gdLst>
                    <a:gd name="connsiteX0" fmla="*/ 18150 w 40643"/>
                    <a:gd name="connsiteY0" fmla="*/ 43077 h 43076"/>
                    <a:gd name="connsiteX1" fmla="*/ 8483 w 40643"/>
                    <a:gd name="connsiteY1" fmla="*/ 40987 h 43076"/>
                    <a:gd name="connsiteX2" fmla="*/ 2475 w 40643"/>
                    <a:gd name="connsiteY2" fmla="*/ 36284 h 43076"/>
                    <a:gd name="connsiteX3" fmla="*/ 124 w 40643"/>
                    <a:gd name="connsiteY3" fmla="*/ 28316 h 43076"/>
                    <a:gd name="connsiteX4" fmla="*/ 5479 w 40643"/>
                    <a:gd name="connsiteY4" fmla="*/ 7808 h 43076"/>
                    <a:gd name="connsiteX5" fmla="*/ 26118 w 40643"/>
                    <a:gd name="connsiteY5" fmla="*/ 885 h 43076"/>
                    <a:gd name="connsiteX6" fmla="*/ 27424 w 40643"/>
                    <a:gd name="connsiteY6" fmla="*/ 1669 h 43076"/>
                    <a:gd name="connsiteX7" fmla="*/ 40617 w 40643"/>
                    <a:gd name="connsiteY7" fmla="*/ 19695 h 43076"/>
                    <a:gd name="connsiteX8" fmla="*/ 30298 w 40643"/>
                    <a:gd name="connsiteY8" fmla="*/ 39550 h 43076"/>
                    <a:gd name="connsiteX9" fmla="*/ 18150 w 40643"/>
                    <a:gd name="connsiteY9" fmla="*/ 42946 h 43076"/>
                    <a:gd name="connsiteX10" fmla="*/ 20893 w 40643"/>
                    <a:gd name="connsiteY10" fmla="*/ 7677 h 43076"/>
                    <a:gd name="connsiteX11" fmla="*/ 11357 w 40643"/>
                    <a:gd name="connsiteY11" fmla="*/ 12641 h 43076"/>
                    <a:gd name="connsiteX12" fmla="*/ 7569 w 40643"/>
                    <a:gd name="connsiteY12" fmla="*/ 27924 h 43076"/>
                    <a:gd name="connsiteX13" fmla="*/ 8614 w 40643"/>
                    <a:gd name="connsiteY13" fmla="*/ 32104 h 43076"/>
                    <a:gd name="connsiteX14" fmla="*/ 11488 w 40643"/>
                    <a:gd name="connsiteY14" fmla="*/ 34194 h 43076"/>
                    <a:gd name="connsiteX15" fmla="*/ 26249 w 40643"/>
                    <a:gd name="connsiteY15" fmla="*/ 33280 h 43076"/>
                    <a:gd name="connsiteX16" fmla="*/ 33041 w 40643"/>
                    <a:gd name="connsiteY16" fmla="*/ 20217 h 43076"/>
                    <a:gd name="connsiteX17" fmla="*/ 24811 w 40643"/>
                    <a:gd name="connsiteY17" fmla="*/ 8853 h 43076"/>
                    <a:gd name="connsiteX18" fmla="*/ 24289 w 40643"/>
                    <a:gd name="connsiteY18" fmla="*/ 8853 h 43076"/>
                    <a:gd name="connsiteX19" fmla="*/ 22199 w 40643"/>
                    <a:gd name="connsiteY19" fmla="*/ 7677 h 43076"/>
                    <a:gd name="connsiteX20" fmla="*/ 20762 w 40643"/>
                    <a:gd name="connsiteY20" fmla="*/ 7677 h 4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643" h="43076">
                      <a:moveTo>
                        <a:pt x="18150" y="43077"/>
                      </a:moveTo>
                      <a:cubicBezTo>
                        <a:pt x="14884" y="43077"/>
                        <a:pt x="11619" y="42424"/>
                        <a:pt x="8483" y="40987"/>
                      </a:cubicBezTo>
                      <a:cubicBezTo>
                        <a:pt x="5740" y="39811"/>
                        <a:pt x="3781" y="38244"/>
                        <a:pt x="2475" y="36284"/>
                      </a:cubicBezTo>
                      <a:cubicBezTo>
                        <a:pt x="646" y="33672"/>
                        <a:pt x="254" y="30668"/>
                        <a:pt x="124" y="28316"/>
                      </a:cubicBezTo>
                      <a:cubicBezTo>
                        <a:pt x="-530" y="20348"/>
                        <a:pt x="1430" y="13033"/>
                        <a:pt x="5479" y="7808"/>
                      </a:cubicBezTo>
                      <a:cubicBezTo>
                        <a:pt x="10573" y="1277"/>
                        <a:pt x="19064" y="-1597"/>
                        <a:pt x="26118" y="885"/>
                      </a:cubicBezTo>
                      <a:cubicBezTo>
                        <a:pt x="26640" y="1016"/>
                        <a:pt x="27032" y="1407"/>
                        <a:pt x="27424" y="1669"/>
                      </a:cubicBezTo>
                      <a:cubicBezTo>
                        <a:pt x="34739" y="4151"/>
                        <a:pt x="40225" y="11596"/>
                        <a:pt x="40617" y="19695"/>
                      </a:cubicBezTo>
                      <a:cubicBezTo>
                        <a:pt x="41009" y="27532"/>
                        <a:pt x="36960" y="35239"/>
                        <a:pt x="30298" y="39550"/>
                      </a:cubicBezTo>
                      <a:cubicBezTo>
                        <a:pt x="26640" y="41771"/>
                        <a:pt x="22460" y="42946"/>
                        <a:pt x="18150" y="42946"/>
                      </a:cubicBezTo>
                      <a:close/>
                      <a:moveTo>
                        <a:pt x="20893" y="7677"/>
                      </a:moveTo>
                      <a:cubicBezTo>
                        <a:pt x="17496" y="7677"/>
                        <a:pt x="13839" y="9506"/>
                        <a:pt x="11357" y="12641"/>
                      </a:cubicBezTo>
                      <a:cubicBezTo>
                        <a:pt x="8353" y="16429"/>
                        <a:pt x="7047" y="21915"/>
                        <a:pt x="7569" y="27924"/>
                      </a:cubicBezTo>
                      <a:cubicBezTo>
                        <a:pt x="7569" y="29361"/>
                        <a:pt x="7830" y="31059"/>
                        <a:pt x="8614" y="32104"/>
                      </a:cubicBezTo>
                      <a:cubicBezTo>
                        <a:pt x="9137" y="32888"/>
                        <a:pt x="10051" y="33541"/>
                        <a:pt x="11488" y="34194"/>
                      </a:cubicBezTo>
                      <a:cubicBezTo>
                        <a:pt x="16321" y="36415"/>
                        <a:pt x="22068" y="36023"/>
                        <a:pt x="26249" y="33280"/>
                      </a:cubicBezTo>
                      <a:cubicBezTo>
                        <a:pt x="30559" y="30537"/>
                        <a:pt x="33433" y="25312"/>
                        <a:pt x="33041" y="20217"/>
                      </a:cubicBezTo>
                      <a:cubicBezTo>
                        <a:pt x="32780" y="15123"/>
                        <a:pt x="29253" y="10290"/>
                        <a:pt x="24811" y="8853"/>
                      </a:cubicBezTo>
                      <a:lnTo>
                        <a:pt x="24289" y="8853"/>
                      </a:lnTo>
                      <a:cubicBezTo>
                        <a:pt x="24289" y="8853"/>
                        <a:pt x="22983" y="8331"/>
                        <a:pt x="22199" y="7677"/>
                      </a:cubicBezTo>
                      <a:cubicBezTo>
                        <a:pt x="21677" y="7677"/>
                        <a:pt x="21285" y="7677"/>
                        <a:pt x="20762" y="767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62" name="Graphic 717">
                <a:extLst>
                  <a:ext uri="{FF2B5EF4-FFF2-40B4-BE49-F238E27FC236}">
                    <a16:creationId xmlns:a16="http://schemas.microsoft.com/office/drawing/2014/main" id="{18B9D25A-6140-3CEB-285F-86A64DD93366}"/>
                  </a:ext>
                </a:extLst>
              </p:cNvPr>
              <p:cNvGrpSpPr/>
              <p:nvPr/>
            </p:nvGrpSpPr>
            <p:grpSpPr>
              <a:xfrm>
                <a:off x="6498509" y="4114349"/>
                <a:ext cx="261202" cy="258875"/>
                <a:chOff x="162722" y="5568258"/>
                <a:chExt cx="294041" cy="283081"/>
              </a:xfrm>
              <a:noFill/>
            </p:grpSpPr>
            <p:sp>
              <p:nvSpPr>
                <p:cNvPr id="963" name="Freeform: Shape 962">
                  <a:extLst>
                    <a:ext uri="{FF2B5EF4-FFF2-40B4-BE49-F238E27FC236}">
                      <a16:creationId xmlns:a16="http://schemas.microsoft.com/office/drawing/2014/main" id="{3003C032-FB6A-3C31-80A7-DB2BF76AB1C3}"/>
                    </a:ext>
                  </a:extLst>
                </p:cNvPr>
                <p:cNvSpPr/>
                <p:nvPr/>
              </p:nvSpPr>
              <p:spPr>
                <a:xfrm>
                  <a:off x="169331" y="5576243"/>
                  <a:ext cx="278147" cy="268695"/>
                </a:xfrm>
                <a:custGeom>
                  <a:avLst/>
                  <a:gdLst>
                    <a:gd name="connsiteX0" fmla="*/ 237393 w 278147"/>
                    <a:gd name="connsiteY0" fmla="*/ 111554 h 268695"/>
                    <a:gd name="connsiteX1" fmla="*/ 226290 w 278147"/>
                    <a:gd name="connsiteY1" fmla="*/ 74195 h 268695"/>
                    <a:gd name="connsiteX2" fmla="*/ 249541 w 278147"/>
                    <a:gd name="connsiteY2" fmla="*/ 40624 h 268695"/>
                    <a:gd name="connsiteX3" fmla="*/ 192196 w 278147"/>
                    <a:gd name="connsiteY3" fmla="*/ 0 h 268695"/>
                    <a:gd name="connsiteX4" fmla="*/ 169990 w 278147"/>
                    <a:gd name="connsiteY4" fmla="*/ 36967 h 268695"/>
                    <a:gd name="connsiteX5" fmla="*/ 168553 w 278147"/>
                    <a:gd name="connsiteY5" fmla="*/ 38665 h 268695"/>
                    <a:gd name="connsiteX6" fmla="*/ 165549 w 278147"/>
                    <a:gd name="connsiteY6" fmla="*/ 39187 h 268695"/>
                    <a:gd name="connsiteX7" fmla="*/ 127276 w 278147"/>
                    <a:gd name="connsiteY7" fmla="*/ 38404 h 268695"/>
                    <a:gd name="connsiteX8" fmla="*/ 107943 w 278147"/>
                    <a:gd name="connsiteY8" fmla="*/ 3396 h 268695"/>
                    <a:gd name="connsiteX9" fmla="*/ 105723 w 278147"/>
                    <a:gd name="connsiteY9" fmla="*/ 1306 h 268695"/>
                    <a:gd name="connsiteX10" fmla="*/ 102849 w 278147"/>
                    <a:gd name="connsiteY10" fmla="*/ 2221 h 268695"/>
                    <a:gd name="connsiteX11" fmla="*/ 57261 w 278147"/>
                    <a:gd name="connsiteY11" fmla="*/ 30174 h 268695"/>
                    <a:gd name="connsiteX12" fmla="*/ 56216 w 278147"/>
                    <a:gd name="connsiteY12" fmla="*/ 31089 h 268695"/>
                    <a:gd name="connsiteX13" fmla="*/ 56739 w 278147"/>
                    <a:gd name="connsiteY13" fmla="*/ 34485 h 268695"/>
                    <a:gd name="connsiteX14" fmla="*/ 77116 w 278147"/>
                    <a:gd name="connsiteY14" fmla="*/ 63353 h 268695"/>
                    <a:gd name="connsiteX15" fmla="*/ 55171 w 278147"/>
                    <a:gd name="connsiteY15" fmla="*/ 99797 h 268695"/>
                    <a:gd name="connsiteX16" fmla="*/ 47987 w 278147"/>
                    <a:gd name="connsiteY16" fmla="*/ 106459 h 268695"/>
                    <a:gd name="connsiteX17" fmla="*/ 39888 w 278147"/>
                    <a:gd name="connsiteY17" fmla="*/ 105806 h 268695"/>
                    <a:gd name="connsiteX18" fmla="*/ 8146 w 278147"/>
                    <a:gd name="connsiteY18" fmla="*/ 95356 h 268695"/>
                    <a:gd name="connsiteX19" fmla="*/ 3444 w 278147"/>
                    <a:gd name="connsiteY19" fmla="*/ 163934 h 268695"/>
                    <a:gd name="connsiteX20" fmla="*/ 43937 w 278147"/>
                    <a:gd name="connsiteY20" fmla="*/ 159885 h 268695"/>
                    <a:gd name="connsiteX21" fmla="*/ 67580 w 278147"/>
                    <a:gd name="connsiteY21" fmla="*/ 201815 h 268695"/>
                    <a:gd name="connsiteX22" fmla="*/ 48640 w 278147"/>
                    <a:gd name="connsiteY22" fmla="*/ 233688 h 268695"/>
                    <a:gd name="connsiteX23" fmla="*/ 92138 w 278147"/>
                    <a:gd name="connsiteY23" fmla="*/ 266083 h 268695"/>
                    <a:gd name="connsiteX24" fmla="*/ 114736 w 278147"/>
                    <a:gd name="connsiteY24" fmla="*/ 232382 h 268695"/>
                    <a:gd name="connsiteX25" fmla="*/ 154577 w 278147"/>
                    <a:gd name="connsiteY25" fmla="*/ 233165 h 268695"/>
                    <a:gd name="connsiteX26" fmla="*/ 169990 w 278147"/>
                    <a:gd name="connsiteY26" fmla="*/ 268695 h 268695"/>
                    <a:gd name="connsiteX27" fmla="*/ 229425 w 278147"/>
                    <a:gd name="connsiteY27" fmla="*/ 247664 h 268695"/>
                    <a:gd name="connsiteX28" fmla="*/ 215056 w 278147"/>
                    <a:gd name="connsiteY28" fmla="*/ 211220 h 268695"/>
                    <a:gd name="connsiteX29" fmla="*/ 236478 w 278147"/>
                    <a:gd name="connsiteY29" fmla="*/ 175821 h 268695"/>
                    <a:gd name="connsiteX30" fmla="*/ 276841 w 278147"/>
                    <a:gd name="connsiteY30" fmla="*/ 172555 h 268695"/>
                    <a:gd name="connsiteX31" fmla="*/ 278148 w 278147"/>
                    <a:gd name="connsiteY31" fmla="*/ 122395 h 268695"/>
                    <a:gd name="connsiteX32" fmla="*/ 237654 w 278147"/>
                    <a:gd name="connsiteY32" fmla="*/ 111554 h 268695"/>
                    <a:gd name="connsiteX33" fmla="*/ 168815 w 278147"/>
                    <a:gd name="connsiteY33" fmla="*/ 130494 h 268695"/>
                    <a:gd name="connsiteX34" fmla="*/ 166986 w 278147"/>
                    <a:gd name="connsiteY34" fmla="*/ 137287 h 268695"/>
                    <a:gd name="connsiteX35" fmla="*/ 165027 w 278147"/>
                    <a:gd name="connsiteY35" fmla="*/ 141336 h 268695"/>
                    <a:gd name="connsiteX36" fmla="*/ 159540 w 278147"/>
                    <a:gd name="connsiteY36" fmla="*/ 147867 h 268695"/>
                    <a:gd name="connsiteX37" fmla="*/ 145172 w 278147"/>
                    <a:gd name="connsiteY37" fmla="*/ 156880 h 268695"/>
                    <a:gd name="connsiteX38" fmla="*/ 138379 w 278147"/>
                    <a:gd name="connsiteY38" fmla="*/ 158578 h 268695"/>
                    <a:gd name="connsiteX39" fmla="*/ 132501 w 278147"/>
                    <a:gd name="connsiteY39" fmla="*/ 158840 h 268695"/>
                    <a:gd name="connsiteX40" fmla="*/ 128713 w 278147"/>
                    <a:gd name="connsiteY40" fmla="*/ 158317 h 268695"/>
                    <a:gd name="connsiteX41" fmla="*/ 127015 w 278147"/>
                    <a:gd name="connsiteY41" fmla="*/ 157925 h 268695"/>
                    <a:gd name="connsiteX42" fmla="*/ 111993 w 278147"/>
                    <a:gd name="connsiteY42" fmla="*/ 145385 h 268695"/>
                    <a:gd name="connsiteX43" fmla="*/ 108466 w 278147"/>
                    <a:gd name="connsiteY43" fmla="*/ 134152 h 268695"/>
                    <a:gd name="connsiteX44" fmla="*/ 110556 w 278147"/>
                    <a:gd name="connsiteY44" fmla="*/ 123702 h 268695"/>
                    <a:gd name="connsiteX45" fmla="*/ 117479 w 278147"/>
                    <a:gd name="connsiteY45" fmla="*/ 110247 h 268695"/>
                    <a:gd name="connsiteX46" fmla="*/ 129758 w 278147"/>
                    <a:gd name="connsiteY46" fmla="*/ 98099 h 268695"/>
                    <a:gd name="connsiteX47" fmla="*/ 145433 w 278147"/>
                    <a:gd name="connsiteY47" fmla="*/ 97054 h 268695"/>
                    <a:gd name="connsiteX48" fmla="*/ 151833 w 278147"/>
                    <a:gd name="connsiteY48" fmla="*/ 96532 h 268695"/>
                    <a:gd name="connsiteX49" fmla="*/ 161238 w 278147"/>
                    <a:gd name="connsiteY49" fmla="*/ 102932 h 268695"/>
                    <a:gd name="connsiteX50" fmla="*/ 166855 w 278147"/>
                    <a:gd name="connsiteY50" fmla="*/ 112860 h 268695"/>
                    <a:gd name="connsiteX51" fmla="*/ 168031 w 278147"/>
                    <a:gd name="connsiteY51" fmla="*/ 116387 h 268695"/>
                    <a:gd name="connsiteX52" fmla="*/ 168423 w 278147"/>
                    <a:gd name="connsiteY52" fmla="*/ 118477 h 268695"/>
                    <a:gd name="connsiteX53" fmla="*/ 168815 w 278147"/>
                    <a:gd name="connsiteY53" fmla="*/ 121873 h 268695"/>
                    <a:gd name="connsiteX54" fmla="*/ 168815 w 278147"/>
                    <a:gd name="connsiteY54" fmla="*/ 121089 h 268695"/>
                    <a:gd name="connsiteX55" fmla="*/ 168815 w 278147"/>
                    <a:gd name="connsiteY55" fmla="*/ 121089 h 268695"/>
                    <a:gd name="connsiteX56" fmla="*/ 169207 w 278147"/>
                    <a:gd name="connsiteY56" fmla="*/ 124485 h 268695"/>
                    <a:gd name="connsiteX57" fmla="*/ 169207 w 278147"/>
                    <a:gd name="connsiteY57" fmla="*/ 126184 h 268695"/>
                    <a:gd name="connsiteX58" fmla="*/ 168684 w 278147"/>
                    <a:gd name="connsiteY58" fmla="*/ 130494 h 26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78147" h="268695">
                      <a:moveTo>
                        <a:pt x="237393" y="111554"/>
                      </a:moveTo>
                      <a:lnTo>
                        <a:pt x="226290" y="74195"/>
                      </a:lnTo>
                      <a:lnTo>
                        <a:pt x="249541" y="40624"/>
                      </a:lnTo>
                      <a:lnTo>
                        <a:pt x="192196" y="0"/>
                      </a:lnTo>
                      <a:cubicBezTo>
                        <a:pt x="184751" y="12279"/>
                        <a:pt x="177436" y="24688"/>
                        <a:pt x="169990" y="36967"/>
                      </a:cubicBezTo>
                      <a:cubicBezTo>
                        <a:pt x="169598" y="37620"/>
                        <a:pt x="169207" y="38273"/>
                        <a:pt x="168553" y="38665"/>
                      </a:cubicBezTo>
                      <a:cubicBezTo>
                        <a:pt x="167639" y="39187"/>
                        <a:pt x="166594" y="39187"/>
                        <a:pt x="165549" y="39187"/>
                      </a:cubicBezTo>
                      <a:cubicBezTo>
                        <a:pt x="152748" y="39057"/>
                        <a:pt x="139947" y="38796"/>
                        <a:pt x="127276" y="38404"/>
                      </a:cubicBezTo>
                      <a:cubicBezTo>
                        <a:pt x="121006" y="26125"/>
                        <a:pt x="114867" y="14499"/>
                        <a:pt x="107943" y="3396"/>
                      </a:cubicBezTo>
                      <a:cubicBezTo>
                        <a:pt x="107421" y="2482"/>
                        <a:pt x="106768" y="1567"/>
                        <a:pt x="105723" y="1306"/>
                      </a:cubicBezTo>
                      <a:cubicBezTo>
                        <a:pt x="104678" y="1045"/>
                        <a:pt x="103764" y="1567"/>
                        <a:pt x="102849" y="2221"/>
                      </a:cubicBezTo>
                      <a:cubicBezTo>
                        <a:pt x="87697" y="11495"/>
                        <a:pt x="72414" y="20900"/>
                        <a:pt x="57261" y="30174"/>
                      </a:cubicBezTo>
                      <a:cubicBezTo>
                        <a:pt x="56869" y="30435"/>
                        <a:pt x="56477" y="30697"/>
                        <a:pt x="56216" y="31089"/>
                      </a:cubicBezTo>
                      <a:cubicBezTo>
                        <a:pt x="55563" y="32134"/>
                        <a:pt x="56216" y="33440"/>
                        <a:pt x="56739" y="34485"/>
                      </a:cubicBezTo>
                      <a:cubicBezTo>
                        <a:pt x="62486" y="44804"/>
                        <a:pt x="69279" y="54601"/>
                        <a:pt x="77116" y="63353"/>
                      </a:cubicBezTo>
                      <a:cubicBezTo>
                        <a:pt x="70193" y="76285"/>
                        <a:pt x="63009" y="88302"/>
                        <a:pt x="55171" y="99797"/>
                      </a:cubicBezTo>
                      <a:cubicBezTo>
                        <a:pt x="53212" y="102541"/>
                        <a:pt x="51122" y="105545"/>
                        <a:pt x="47987" y="106459"/>
                      </a:cubicBezTo>
                      <a:cubicBezTo>
                        <a:pt x="45374" y="107243"/>
                        <a:pt x="42500" y="106459"/>
                        <a:pt x="39888" y="105806"/>
                      </a:cubicBezTo>
                      <a:cubicBezTo>
                        <a:pt x="29177" y="102671"/>
                        <a:pt x="18596" y="99275"/>
                        <a:pt x="8146" y="95356"/>
                      </a:cubicBezTo>
                      <a:cubicBezTo>
                        <a:pt x="-736" y="116909"/>
                        <a:pt x="-2434" y="141466"/>
                        <a:pt x="3444" y="163934"/>
                      </a:cubicBezTo>
                      <a:cubicBezTo>
                        <a:pt x="4358" y="165632"/>
                        <a:pt x="43937" y="159885"/>
                        <a:pt x="43937" y="159885"/>
                      </a:cubicBezTo>
                      <a:lnTo>
                        <a:pt x="67580" y="201815"/>
                      </a:lnTo>
                      <a:lnTo>
                        <a:pt x="48640" y="233688"/>
                      </a:lnTo>
                      <a:lnTo>
                        <a:pt x="92138" y="266083"/>
                      </a:lnTo>
                      <a:lnTo>
                        <a:pt x="114736" y="232382"/>
                      </a:lnTo>
                      <a:lnTo>
                        <a:pt x="154577" y="233165"/>
                      </a:lnTo>
                      <a:lnTo>
                        <a:pt x="169990" y="268695"/>
                      </a:lnTo>
                      <a:lnTo>
                        <a:pt x="229425" y="247664"/>
                      </a:lnTo>
                      <a:lnTo>
                        <a:pt x="215056" y="211220"/>
                      </a:lnTo>
                      <a:lnTo>
                        <a:pt x="236478" y="175821"/>
                      </a:lnTo>
                      <a:lnTo>
                        <a:pt x="276841" y="172555"/>
                      </a:lnTo>
                      <a:lnTo>
                        <a:pt x="278148" y="122395"/>
                      </a:lnTo>
                      <a:lnTo>
                        <a:pt x="237654" y="111554"/>
                      </a:lnTo>
                      <a:close/>
                      <a:moveTo>
                        <a:pt x="168815" y="130494"/>
                      </a:moveTo>
                      <a:cubicBezTo>
                        <a:pt x="169207" y="132323"/>
                        <a:pt x="167639" y="135719"/>
                        <a:pt x="166986" y="137287"/>
                      </a:cubicBezTo>
                      <a:cubicBezTo>
                        <a:pt x="166463" y="138723"/>
                        <a:pt x="165810" y="140030"/>
                        <a:pt x="165027" y="141336"/>
                      </a:cubicBezTo>
                      <a:cubicBezTo>
                        <a:pt x="163590" y="143687"/>
                        <a:pt x="161630" y="145908"/>
                        <a:pt x="159540" y="147867"/>
                      </a:cubicBezTo>
                      <a:cubicBezTo>
                        <a:pt x="155230" y="151917"/>
                        <a:pt x="150527" y="154790"/>
                        <a:pt x="145172" y="156880"/>
                      </a:cubicBezTo>
                      <a:cubicBezTo>
                        <a:pt x="142951" y="157664"/>
                        <a:pt x="140600" y="158186"/>
                        <a:pt x="138379" y="158578"/>
                      </a:cubicBezTo>
                      <a:cubicBezTo>
                        <a:pt x="136289" y="158971"/>
                        <a:pt x="134460" y="159101"/>
                        <a:pt x="132501" y="158840"/>
                      </a:cubicBezTo>
                      <a:cubicBezTo>
                        <a:pt x="131195" y="158709"/>
                        <a:pt x="129888" y="158317"/>
                        <a:pt x="128713" y="158317"/>
                      </a:cubicBezTo>
                      <a:cubicBezTo>
                        <a:pt x="132240" y="158317"/>
                        <a:pt x="128452" y="158317"/>
                        <a:pt x="127015" y="157925"/>
                      </a:cubicBezTo>
                      <a:cubicBezTo>
                        <a:pt x="120875" y="156227"/>
                        <a:pt x="114867" y="151002"/>
                        <a:pt x="111993" y="145385"/>
                      </a:cubicBezTo>
                      <a:cubicBezTo>
                        <a:pt x="110164" y="141989"/>
                        <a:pt x="108597" y="138070"/>
                        <a:pt x="108466" y="134152"/>
                      </a:cubicBezTo>
                      <a:cubicBezTo>
                        <a:pt x="108335" y="130625"/>
                        <a:pt x="109250" y="126967"/>
                        <a:pt x="110556" y="123702"/>
                      </a:cubicBezTo>
                      <a:cubicBezTo>
                        <a:pt x="112515" y="118999"/>
                        <a:pt x="114736" y="114427"/>
                        <a:pt x="117479" y="110247"/>
                      </a:cubicBezTo>
                      <a:cubicBezTo>
                        <a:pt x="120614" y="105545"/>
                        <a:pt x="124663" y="100712"/>
                        <a:pt x="129758" y="98099"/>
                      </a:cubicBezTo>
                      <a:cubicBezTo>
                        <a:pt x="134983" y="95487"/>
                        <a:pt x="140469" y="95095"/>
                        <a:pt x="145433" y="97054"/>
                      </a:cubicBezTo>
                      <a:cubicBezTo>
                        <a:pt x="147523" y="96140"/>
                        <a:pt x="149874" y="95748"/>
                        <a:pt x="151833" y="96532"/>
                      </a:cubicBezTo>
                      <a:cubicBezTo>
                        <a:pt x="155622" y="97969"/>
                        <a:pt x="158626" y="99797"/>
                        <a:pt x="161238" y="102932"/>
                      </a:cubicBezTo>
                      <a:cubicBezTo>
                        <a:pt x="163851" y="106067"/>
                        <a:pt x="165418" y="109072"/>
                        <a:pt x="166855" y="112860"/>
                      </a:cubicBezTo>
                      <a:cubicBezTo>
                        <a:pt x="167247" y="114036"/>
                        <a:pt x="167639" y="115211"/>
                        <a:pt x="168031" y="116387"/>
                      </a:cubicBezTo>
                      <a:cubicBezTo>
                        <a:pt x="168162" y="117040"/>
                        <a:pt x="168292" y="117823"/>
                        <a:pt x="168423" y="118477"/>
                      </a:cubicBezTo>
                      <a:cubicBezTo>
                        <a:pt x="168553" y="119652"/>
                        <a:pt x="168684" y="120697"/>
                        <a:pt x="168815" y="121873"/>
                      </a:cubicBezTo>
                      <a:lnTo>
                        <a:pt x="168815" y="121089"/>
                      </a:lnTo>
                      <a:cubicBezTo>
                        <a:pt x="168684" y="120175"/>
                        <a:pt x="168684" y="120044"/>
                        <a:pt x="168815" y="121089"/>
                      </a:cubicBezTo>
                      <a:cubicBezTo>
                        <a:pt x="168945" y="122265"/>
                        <a:pt x="169076" y="123310"/>
                        <a:pt x="169207" y="124485"/>
                      </a:cubicBezTo>
                      <a:cubicBezTo>
                        <a:pt x="169207" y="125008"/>
                        <a:pt x="169207" y="125661"/>
                        <a:pt x="169207" y="126184"/>
                      </a:cubicBezTo>
                      <a:cubicBezTo>
                        <a:pt x="169207" y="127620"/>
                        <a:pt x="169207" y="129057"/>
                        <a:pt x="168684" y="13049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64" name="Freeform: Shape 963">
                  <a:extLst>
                    <a:ext uri="{FF2B5EF4-FFF2-40B4-BE49-F238E27FC236}">
                      <a16:creationId xmlns:a16="http://schemas.microsoft.com/office/drawing/2014/main" id="{342870FC-1ED6-F7E8-4AC9-67645A2CAC36}"/>
                    </a:ext>
                  </a:extLst>
                </p:cNvPr>
                <p:cNvSpPr/>
                <p:nvPr/>
              </p:nvSpPr>
              <p:spPr>
                <a:xfrm>
                  <a:off x="270356" y="5708991"/>
                  <a:ext cx="75911" cy="43962"/>
                </a:xfrm>
                <a:custGeom>
                  <a:avLst/>
                  <a:gdLst>
                    <a:gd name="connsiteX0" fmla="*/ 75757 w 75911"/>
                    <a:gd name="connsiteY0" fmla="*/ 5061 h 43962"/>
                    <a:gd name="connsiteX1" fmla="*/ 64523 w 75911"/>
                    <a:gd name="connsiteY1" fmla="*/ 4277 h 43962"/>
                    <a:gd name="connsiteX2" fmla="*/ 57208 w 75911"/>
                    <a:gd name="connsiteY2" fmla="*/ 15250 h 43962"/>
                    <a:gd name="connsiteX3" fmla="*/ 44015 w 75911"/>
                    <a:gd name="connsiteY3" fmla="*/ 22173 h 43962"/>
                    <a:gd name="connsiteX4" fmla="*/ 31475 w 75911"/>
                    <a:gd name="connsiteY4" fmla="*/ 24263 h 43962"/>
                    <a:gd name="connsiteX5" fmla="*/ 28471 w 75911"/>
                    <a:gd name="connsiteY5" fmla="*/ 23479 h 43962"/>
                    <a:gd name="connsiteX6" fmla="*/ 19197 w 75911"/>
                    <a:gd name="connsiteY6" fmla="*/ 18907 h 43962"/>
                    <a:gd name="connsiteX7" fmla="*/ 10575 w 75911"/>
                    <a:gd name="connsiteY7" fmla="*/ 14597 h 43962"/>
                    <a:gd name="connsiteX8" fmla="*/ 4567 w 75911"/>
                    <a:gd name="connsiteY8" fmla="*/ 32492 h 43962"/>
                    <a:gd name="connsiteX9" fmla="*/ 53551 w 75911"/>
                    <a:gd name="connsiteY9" fmla="*/ 39285 h 43962"/>
                    <a:gd name="connsiteX10" fmla="*/ 72753 w 75911"/>
                    <a:gd name="connsiteY10" fmla="*/ 15511 h 43962"/>
                    <a:gd name="connsiteX11" fmla="*/ 75888 w 75911"/>
                    <a:gd name="connsiteY11" fmla="*/ 5192 h 4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911" h="43962">
                      <a:moveTo>
                        <a:pt x="75757" y="5061"/>
                      </a:moveTo>
                      <a:cubicBezTo>
                        <a:pt x="75235" y="-1209"/>
                        <a:pt x="65830" y="-1862"/>
                        <a:pt x="64523" y="4277"/>
                      </a:cubicBezTo>
                      <a:cubicBezTo>
                        <a:pt x="62695" y="10155"/>
                        <a:pt x="63348" y="9110"/>
                        <a:pt x="57208" y="15250"/>
                      </a:cubicBezTo>
                      <a:cubicBezTo>
                        <a:pt x="51200" y="20083"/>
                        <a:pt x="53420" y="18646"/>
                        <a:pt x="44015" y="22173"/>
                      </a:cubicBezTo>
                      <a:cubicBezTo>
                        <a:pt x="35263" y="24785"/>
                        <a:pt x="38790" y="24263"/>
                        <a:pt x="31475" y="24263"/>
                      </a:cubicBezTo>
                      <a:cubicBezTo>
                        <a:pt x="30430" y="24132"/>
                        <a:pt x="29516" y="23871"/>
                        <a:pt x="28471" y="23479"/>
                      </a:cubicBezTo>
                      <a:cubicBezTo>
                        <a:pt x="24944" y="22173"/>
                        <a:pt x="25989" y="22826"/>
                        <a:pt x="19197" y="18907"/>
                      </a:cubicBezTo>
                      <a:cubicBezTo>
                        <a:pt x="16323" y="17470"/>
                        <a:pt x="13841" y="14858"/>
                        <a:pt x="10575" y="14597"/>
                      </a:cubicBezTo>
                      <a:cubicBezTo>
                        <a:pt x="648" y="12768"/>
                        <a:pt x="-4185" y="27398"/>
                        <a:pt x="4567" y="32492"/>
                      </a:cubicBezTo>
                      <a:cubicBezTo>
                        <a:pt x="20111" y="43334"/>
                        <a:pt x="35786" y="48298"/>
                        <a:pt x="53551" y="39285"/>
                      </a:cubicBezTo>
                      <a:cubicBezTo>
                        <a:pt x="62695" y="34190"/>
                        <a:pt x="69357" y="25569"/>
                        <a:pt x="72753" y="15511"/>
                      </a:cubicBezTo>
                      <a:cubicBezTo>
                        <a:pt x="74190" y="12245"/>
                        <a:pt x="76149" y="8718"/>
                        <a:pt x="75888" y="519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65" name="Freeform: Shape 964">
                  <a:extLst>
                    <a:ext uri="{FF2B5EF4-FFF2-40B4-BE49-F238E27FC236}">
                      <a16:creationId xmlns:a16="http://schemas.microsoft.com/office/drawing/2014/main" id="{773323CA-ECD1-8C08-D17D-DED0BF05E1C7}"/>
                    </a:ext>
                  </a:extLst>
                </p:cNvPr>
                <p:cNvSpPr/>
                <p:nvPr/>
              </p:nvSpPr>
              <p:spPr>
                <a:xfrm>
                  <a:off x="339489" y="5812002"/>
                  <a:ext cx="54430" cy="30768"/>
                </a:xfrm>
                <a:custGeom>
                  <a:avLst/>
                  <a:gdLst>
                    <a:gd name="connsiteX0" fmla="*/ 39019 w 54430"/>
                    <a:gd name="connsiteY0" fmla="*/ 1325 h 30768"/>
                    <a:gd name="connsiteX1" fmla="*/ 20079 w 54430"/>
                    <a:gd name="connsiteY1" fmla="*/ 6941 h 30768"/>
                    <a:gd name="connsiteX2" fmla="*/ 4142 w 54430"/>
                    <a:gd name="connsiteY2" fmla="*/ 11252 h 30768"/>
                    <a:gd name="connsiteX3" fmla="*/ 13417 w 54430"/>
                    <a:gd name="connsiteY3" fmla="*/ 30323 h 30768"/>
                    <a:gd name="connsiteX4" fmla="*/ 51559 w 54430"/>
                    <a:gd name="connsiteY4" fmla="*/ 17130 h 30768"/>
                    <a:gd name="connsiteX5" fmla="*/ 39019 w 54430"/>
                    <a:gd name="connsiteY5" fmla="*/ 1325 h 3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30" h="30768">
                      <a:moveTo>
                        <a:pt x="39019" y="1325"/>
                      </a:moveTo>
                      <a:cubicBezTo>
                        <a:pt x="33141" y="3415"/>
                        <a:pt x="31051" y="4982"/>
                        <a:pt x="20079" y="6941"/>
                      </a:cubicBezTo>
                      <a:cubicBezTo>
                        <a:pt x="14854" y="8640"/>
                        <a:pt x="8584" y="7725"/>
                        <a:pt x="4142" y="11252"/>
                      </a:cubicBezTo>
                      <a:cubicBezTo>
                        <a:pt x="-5132" y="18045"/>
                        <a:pt x="2575" y="33589"/>
                        <a:pt x="13417" y="30323"/>
                      </a:cubicBezTo>
                      <a:cubicBezTo>
                        <a:pt x="26479" y="27580"/>
                        <a:pt x="41370" y="27058"/>
                        <a:pt x="51559" y="17130"/>
                      </a:cubicBezTo>
                      <a:cubicBezTo>
                        <a:pt x="59527" y="7987"/>
                        <a:pt x="49469" y="-4031"/>
                        <a:pt x="39019" y="132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66" name="Freeform: Shape 965">
                  <a:extLst>
                    <a:ext uri="{FF2B5EF4-FFF2-40B4-BE49-F238E27FC236}">
                      <a16:creationId xmlns:a16="http://schemas.microsoft.com/office/drawing/2014/main" id="{9B9BCFAF-986E-B159-C21B-9F9F31B7E669}"/>
                    </a:ext>
                  </a:extLst>
                </p:cNvPr>
                <p:cNvSpPr/>
                <p:nvPr/>
              </p:nvSpPr>
              <p:spPr>
                <a:xfrm>
                  <a:off x="421745" y="5716253"/>
                  <a:ext cx="28868" cy="37571"/>
                </a:xfrm>
                <a:custGeom>
                  <a:avLst/>
                  <a:gdLst>
                    <a:gd name="connsiteX0" fmla="*/ 28868 w 28868"/>
                    <a:gd name="connsiteY0" fmla="*/ 12299 h 37571"/>
                    <a:gd name="connsiteX1" fmla="*/ 28868 w 28868"/>
                    <a:gd name="connsiteY1" fmla="*/ 11907 h 37571"/>
                    <a:gd name="connsiteX2" fmla="*/ 28868 w 28868"/>
                    <a:gd name="connsiteY2" fmla="*/ 12168 h 37571"/>
                    <a:gd name="connsiteX3" fmla="*/ 27301 w 28868"/>
                    <a:gd name="connsiteY3" fmla="*/ 5767 h 37571"/>
                    <a:gd name="connsiteX4" fmla="*/ 6401 w 28868"/>
                    <a:gd name="connsiteY4" fmla="*/ 7466 h 37571"/>
                    <a:gd name="connsiteX5" fmla="*/ 5747 w 28868"/>
                    <a:gd name="connsiteY5" fmla="*/ 8902 h 37571"/>
                    <a:gd name="connsiteX6" fmla="*/ 3658 w 28868"/>
                    <a:gd name="connsiteY6" fmla="*/ 14258 h 37571"/>
                    <a:gd name="connsiteX7" fmla="*/ 1698 w 28868"/>
                    <a:gd name="connsiteY7" fmla="*/ 18568 h 37571"/>
                    <a:gd name="connsiteX8" fmla="*/ 0 w 28868"/>
                    <a:gd name="connsiteY8" fmla="*/ 24969 h 37571"/>
                    <a:gd name="connsiteX9" fmla="*/ 24296 w 28868"/>
                    <a:gd name="connsiteY9" fmla="*/ 28365 h 37571"/>
                    <a:gd name="connsiteX10" fmla="*/ 28476 w 28868"/>
                    <a:gd name="connsiteY10" fmla="*/ 14258 h 37571"/>
                    <a:gd name="connsiteX11" fmla="*/ 28737 w 28868"/>
                    <a:gd name="connsiteY11" fmla="*/ 12037 h 3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68" h="37571">
                      <a:moveTo>
                        <a:pt x="28868" y="12299"/>
                      </a:moveTo>
                      <a:cubicBezTo>
                        <a:pt x="28868" y="12299"/>
                        <a:pt x="28868" y="12037"/>
                        <a:pt x="28868" y="11907"/>
                      </a:cubicBezTo>
                      <a:cubicBezTo>
                        <a:pt x="28868" y="11907"/>
                        <a:pt x="28868" y="12168"/>
                        <a:pt x="28868" y="12168"/>
                      </a:cubicBezTo>
                      <a:cubicBezTo>
                        <a:pt x="28868" y="9947"/>
                        <a:pt x="28476" y="7727"/>
                        <a:pt x="27301" y="5767"/>
                      </a:cubicBezTo>
                      <a:cubicBezTo>
                        <a:pt x="22729" y="-2854"/>
                        <a:pt x="9536" y="-1417"/>
                        <a:pt x="6401" y="7466"/>
                      </a:cubicBezTo>
                      <a:cubicBezTo>
                        <a:pt x="6270" y="7857"/>
                        <a:pt x="6009" y="8380"/>
                        <a:pt x="5747" y="8902"/>
                      </a:cubicBezTo>
                      <a:cubicBezTo>
                        <a:pt x="4833" y="10600"/>
                        <a:pt x="4311" y="12429"/>
                        <a:pt x="3658" y="14258"/>
                      </a:cubicBezTo>
                      <a:cubicBezTo>
                        <a:pt x="3004" y="15564"/>
                        <a:pt x="2221" y="17523"/>
                        <a:pt x="1698" y="18568"/>
                      </a:cubicBezTo>
                      <a:cubicBezTo>
                        <a:pt x="523" y="20528"/>
                        <a:pt x="0" y="22748"/>
                        <a:pt x="0" y="24969"/>
                      </a:cubicBezTo>
                      <a:cubicBezTo>
                        <a:pt x="131" y="39599"/>
                        <a:pt x="20508" y="42473"/>
                        <a:pt x="24296" y="28365"/>
                      </a:cubicBezTo>
                      <a:cubicBezTo>
                        <a:pt x="26256" y="23794"/>
                        <a:pt x="27823" y="19091"/>
                        <a:pt x="28476" y="14258"/>
                      </a:cubicBezTo>
                      <a:cubicBezTo>
                        <a:pt x="28607" y="13605"/>
                        <a:pt x="28737" y="12821"/>
                        <a:pt x="28737" y="1203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67" name="Freeform: Shape 966">
                  <a:extLst>
                    <a:ext uri="{FF2B5EF4-FFF2-40B4-BE49-F238E27FC236}">
                      <a16:creationId xmlns:a16="http://schemas.microsoft.com/office/drawing/2014/main" id="{41722505-E46B-760C-B4A3-CA77E188EA26}"/>
                    </a:ext>
                  </a:extLst>
                </p:cNvPr>
                <p:cNvSpPr/>
                <p:nvPr/>
              </p:nvSpPr>
              <p:spPr>
                <a:xfrm>
                  <a:off x="162722" y="5568258"/>
                  <a:ext cx="294041" cy="283081"/>
                </a:xfrm>
                <a:custGeom>
                  <a:avLst/>
                  <a:gdLst>
                    <a:gd name="connsiteX0" fmla="*/ 175946 w 294041"/>
                    <a:gd name="connsiteY0" fmla="*/ 282820 h 283081"/>
                    <a:gd name="connsiteX1" fmla="*/ 169937 w 294041"/>
                    <a:gd name="connsiteY1" fmla="*/ 278771 h 283081"/>
                    <a:gd name="connsiteX2" fmla="*/ 155569 w 294041"/>
                    <a:gd name="connsiteY2" fmla="*/ 247682 h 283081"/>
                    <a:gd name="connsiteX3" fmla="*/ 120822 w 294041"/>
                    <a:gd name="connsiteY3" fmla="*/ 247290 h 283081"/>
                    <a:gd name="connsiteX4" fmla="*/ 111026 w 294041"/>
                    <a:gd name="connsiteY4" fmla="*/ 265838 h 283081"/>
                    <a:gd name="connsiteX5" fmla="*/ 104625 w 294041"/>
                    <a:gd name="connsiteY5" fmla="*/ 277856 h 283081"/>
                    <a:gd name="connsiteX6" fmla="*/ 96526 w 294041"/>
                    <a:gd name="connsiteY6" fmla="*/ 280860 h 283081"/>
                    <a:gd name="connsiteX7" fmla="*/ 47150 w 294041"/>
                    <a:gd name="connsiteY7" fmla="*/ 244547 h 283081"/>
                    <a:gd name="connsiteX8" fmla="*/ 46889 w 294041"/>
                    <a:gd name="connsiteY8" fmla="*/ 236840 h 283081"/>
                    <a:gd name="connsiteX9" fmla="*/ 66482 w 294041"/>
                    <a:gd name="connsiteY9" fmla="*/ 207972 h 283081"/>
                    <a:gd name="connsiteX10" fmla="*/ 47150 w 294041"/>
                    <a:gd name="connsiteY10" fmla="*/ 173617 h 283081"/>
                    <a:gd name="connsiteX11" fmla="*/ 40227 w 294041"/>
                    <a:gd name="connsiteY11" fmla="*/ 175054 h 283081"/>
                    <a:gd name="connsiteX12" fmla="*/ 10706 w 294041"/>
                    <a:gd name="connsiteY12" fmla="*/ 180540 h 283081"/>
                    <a:gd name="connsiteX13" fmla="*/ 3521 w 294041"/>
                    <a:gd name="connsiteY13" fmla="*/ 175838 h 283081"/>
                    <a:gd name="connsiteX14" fmla="*/ 8485 w 294041"/>
                    <a:gd name="connsiteY14" fmla="*/ 100859 h 283081"/>
                    <a:gd name="connsiteX15" fmla="*/ 16192 w 294041"/>
                    <a:gd name="connsiteY15" fmla="*/ 96680 h 283081"/>
                    <a:gd name="connsiteX16" fmla="*/ 17106 w 294041"/>
                    <a:gd name="connsiteY16" fmla="*/ 96941 h 283081"/>
                    <a:gd name="connsiteX17" fmla="*/ 54988 w 294041"/>
                    <a:gd name="connsiteY17" fmla="*/ 106476 h 283081"/>
                    <a:gd name="connsiteX18" fmla="*/ 73667 w 294041"/>
                    <a:gd name="connsiteY18" fmla="*/ 73820 h 283081"/>
                    <a:gd name="connsiteX19" fmla="*/ 54334 w 294041"/>
                    <a:gd name="connsiteY19" fmla="*/ 44168 h 283081"/>
                    <a:gd name="connsiteX20" fmla="*/ 55641 w 294041"/>
                    <a:gd name="connsiteY20" fmla="*/ 36331 h 283081"/>
                    <a:gd name="connsiteX21" fmla="*/ 109850 w 294041"/>
                    <a:gd name="connsiteY21" fmla="*/ 2107 h 283081"/>
                    <a:gd name="connsiteX22" fmla="*/ 118079 w 294041"/>
                    <a:gd name="connsiteY22" fmla="*/ 4850 h 283081"/>
                    <a:gd name="connsiteX23" fmla="*/ 135060 w 294041"/>
                    <a:gd name="connsiteY23" fmla="*/ 39727 h 283081"/>
                    <a:gd name="connsiteX24" fmla="*/ 173072 w 294041"/>
                    <a:gd name="connsiteY24" fmla="*/ 38421 h 283081"/>
                    <a:gd name="connsiteX25" fmla="*/ 192927 w 294041"/>
                    <a:gd name="connsiteY25" fmla="*/ 3021 h 283081"/>
                    <a:gd name="connsiteX26" fmla="*/ 201418 w 294041"/>
                    <a:gd name="connsiteY26" fmla="*/ 670 h 283081"/>
                    <a:gd name="connsiteX27" fmla="*/ 245569 w 294041"/>
                    <a:gd name="connsiteY27" fmla="*/ 30322 h 283081"/>
                    <a:gd name="connsiteX28" fmla="*/ 256019 w 294041"/>
                    <a:gd name="connsiteY28" fmla="*/ 39597 h 283081"/>
                    <a:gd name="connsiteX29" fmla="*/ 261505 w 294041"/>
                    <a:gd name="connsiteY29" fmla="*/ 47303 h 283081"/>
                    <a:gd name="connsiteX30" fmla="*/ 260591 w 294041"/>
                    <a:gd name="connsiteY30" fmla="*/ 52528 h 283081"/>
                    <a:gd name="connsiteX31" fmla="*/ 251055 w 294041"/>
                    <a:gd name="connsiteY31" fmla="*/ 66375 h 283081"/>
                    <a:gd name="connsiteX32" fmla="*/ 238123 w 294041"/>
                    <a:gd name="connsiteY32" fmla="*/ 85315 h 283081"/>
                    <a:gd name="connsiteX33" fmla="*/ 249096 w 294041"/>
                    <a:gd name="connsiteY33" fmla="*/ 113661 h 283081"/>
                    <a:gd name="connsiteX34" fmla="*/ 289851 w 294041"/>
                    <a:gd name="connsiteY34" fmla="*/ 123458 h 283081"/>
                    <a:gd name="connsiteX35" fmla="*/ 293770 w 294041"/>
                    <a:gd name="connsiteY35" fmla="*/ 129074 h 283081"/>
                    <a:gd name="connsiteX36" fmla="*/ 285540 w 294041"/>
                    <a:gd name="connsiteY36" fmla="*/ 186680 h 283081"/>
                    <a:gd name="connsiteX37" fmla="*/ 279270 w 294041"/>
                    <a:gd name="connsiteY37" fmla="*/ 190860 h 283081"/>
                    <a:gd name="connsiteX38" fmla="*/ 274829 w 294041"/>
                    <a:gd name="connsiteY38" fmla="*/ 190860 h 283081"/>
                    <a:gd name="connsiteX39" fmla="*/ 244785 w 294041"/>
                    <a:gd name="connsiteY39" fmla="*/ 190599 h 283081"/>
                    <a:gd name="connsiteX40" fmla="*/ 225975 w 294041"/>
                    <a:gd name="connsiteY40" fmla="*/ 221034 h 283081"/>
                    <a:gd name="connsiteX41" fmla="*/ 242695 w 294041"/>
                    <a:gd name="connsiteY41" fmla="*/ 254474 h 283081"/>
                    <a:gd name="connsiteX42" fmla="*/ 239822 w 294041"/>
                    <a:gd name="connsiteY42" fmla="*/ 262573 h 283081"/>
                    <a:gd name="connsiteX43" fmla="*/ 176469 w 294041"/>
                    <a:gd name="connsiteY43" fmla="*/ 283081 h 283081"/>
                    <a:gd name="connsiteX44" fmla="*/ 175815 w 294041"/>
                    <a:gd name="connsiteY44" fmla="*/ 283081 h 283081"/>
                    <a:gd name="connsiteX45" fmla="*/ 158834 w 294041"/>
                    <a:gd name="connsiteY45" fmla="*/ 234227 h 283081"/>
                    <a:gd name="connsiteX46" fmla="*/ 164320 w 294041"/>
                    <a:gd name="connsiteY46" fmla="*/ 237232 h 283081"/>
                    <a:gd name="connsiteX47" fmla="*/ 180126 w 294041"/>
                    <a:gd name="connsiteY47" fmla="*/ 269366 h 283081"/>
                    <a:gd name="connsiteX48" fmla="*/ 228588 w 294041"/>
                    <a:gd name="connsiteY48" fmla="*/ 253690 h 283081"/>
                    <a:gd name="connsiteX49" fmla="*/ 212652 w 294041"/>
                    <a:gd name="connsiteY49" fmla="*/ 223255 h 283081"/>
                    <a:gd name="connsiteX50" fmla="*/ 213305 w 294041"/>
                    <a:gd name="connsiteY50" fmla="*/ 215940 h 283081"/>
                    <a:gd name="connsiteX51" fmla="*/ 234335 w 294041"/>
                    <a:gd name="connsiteY51" fmla="*/ 181847 h 283081"/>
                    <a:gd name="connsiteX52" fmla="*/ 239822 w 294041"/>
                    <a:gd name="connsiteY52" fmla="*/ 177667 h 283081"/>
                    <a:gd name="connsiteX53" fmla="*/ 275221 w 294041"/>
                    <a:gd name="connsiteY53" fmla="*/ 177406 h 283081"/>
                    <a:gd name="connsiteX54" fmla="*/ 281360 w 294041"/>
                    <a:gd name="connsiteY54" fmla="*/ 133646 h 283081"/>
                    <a:gd name="connsiteX55" fmla="*/ 244132 w 294041"/>
                    <a:gd name="connsiteY55" fmla="*/ 125939 h 283081"/>
                    <a:gd name="connsiteX56" fmla="*/ 238646 w 294041"/>
                    <a:gd name="connsiteY56" fmla="*/ 121629 h 283081"/>
                    <a:gd name="connsiteX57" fmla="*/ 225192 w 294041"/>
                    <a:gd name="connsiteY57" fmla="*/ 86752 h 283081"/>
                    <a:gd name="connsiteX58" fmla="*/ 225714 w 294041"/>
                    <a:gd name="connsiteY58" fmla="*/ 80874 h 283081"/>
                    <a:gd name="connsiteX59" fmla="*/ 240736 w 294041"/>
                    <a:gd name="connsiteY59" fmla="*/ 58798 h 283081"/>
                    <a:gd name="connsiteX60" fmla="*/ 247528 w 294041"/>
                    <a:gd name="connsiteY60" fmla="*/ 49001 h 283081"/>
                    <a:gd name="connsiteX61" fmla="*/ 237340 w 294041"/>
                    <a:gd name="connsiteY61" fmla="*/ 40119 h 283081"/>
                    <a:gd name="connsiteX62" fmla="*/ 200895 w 294041"/>
                    <a:gd name="connsiteY62" fmla="*/ 14908 h 283081"/>
                    <a:gd name="connsiteX63" fmla="*/ 182739 w 294041"/>
                    <a:gd name="connsiteY63" fmla="*/ 48087 h 283081"/>
                    <a:gd name="connsiteX64" fmla="*/ 176338 w 294041"/>
                    <a:gd name="connsiteY64" fmla="*/ 51483 h 283081"/>
                    <a:gd name="connsiteX65" fmla="*/ 132317 w 294041"/>
                    <a:gd name="connsiteY65" fmla="*/ 53181 h 283081"/>
                    <a:gd name="connsiteX66" fmla="*/ 125133 w 294041"/>
                    <a:gd name="connsiteY66" fmla="*/ 49263 h 283081"/>
                    <a:gd name="connsiteX67" fmla="*/ 109719 w 294041"/>
                    <a:gd name="connsiteY67" fmla="*/ 16345 h 283081"/>
                    <a:gd name="connsiteX68" fmla="*/ 68311 w 294041"/>
                    <a:gd name="connsiteY68" fmla="*/ 42470 h 283081"/>
                    <a:gd name="connsiteX69" fmla="*/ 86860 w 294041"/>
                    <a:gd name="connsiteY69" fmla="*/ 69640 h 283081"/>
                    <a:gd name="connsiteX70" fmla="*/ 87121 w 294041"/>
                    <a:gd name="connsiteY70" fmla="*/ 76955 h 283081"/>
                    <a:gd name="connsiteX71" fmla="*/ 64784 w 294041"/>
                    <a:gd name="connsiteY71" fmla="*/ 116665 h 283081"/>
                    <a:gd name="connsiteX72" fmla="*/ 57339 w 294041"/>
                    <a:gd name="connsiteY72" fmla="*/ 120323 h 283081"/>
                    <a:gd name="connsiteX73" fmla="*/ 19066 w 294041"/>
                    <a:gd name="connsiteY73" fmla="*/ 110787 h 283081"/>
                    <a:gd name="connsiteX74" fmla="*/ 14886 w 294041"/>
                    <a:gd name="connsiteY74" fmla="*/ 166956 h 283081"/>
                    <a:gd name="connsiteX75" fmla="*/ 37614 w 294041"/>
                    <a:gd name="connsiteY75" fmla="*/ 162514 h 283081"/>
                    <a:gd name="connsiteX76" fmla="*/ 49763 w 294041"/>
                    <a:gd name="connsiteY76" fmla="*/ 160032 h 283081"/>
                    <a:gd name="connsiteX77" fmla="*/ 56947 w 294041"/>
                    <a:gd name="connsiteY77" fmla="*/ 163951 h 283081"/>
                    <a:gd name="connsiteX78" fmla="*/ 79284 w 294041"/>
                    <a:gd name="connsiteY78" fmla="*/ 203661 h 283081"/>
                    <a:gd name="connsiteX79" fmla="*/ 79676 w 294041"/>
                    <a:gd name="connsiteY79" fmla="*/ 211107 h 283081"/>
                    <a:gd name="connsiteX80" fmla="*/ 60082 w 294041"/>
                    <a:gd name="connsiteY80" fmla="*/ 240367 h 283081"/>
                    <a:gd name="connsiteX81" fmla="*/ 95612 w 294041"/>
                    <a:gd name="connsiteY81" fmla="*/ 266753 h 283081"/>
                    <a:gd name="connsiteX82" fmla="*/ 99139 w 294041"/>
                    <a:gd name="connsiteY82" fmla="*/ 259961 h 283081"/>
                    <a:gd name="connsiteX83" fmla="*/ 111156 w 294041"/>
                    <a:gd name="connsiteY83" fmla="*/ 237493 h 283081"/>
                    <a:gd name="connsiteX84" fmla="*/ 117426 w 294041"/>
                    <a:gd name="connsiteY84" fmla="*/ 234227 h 283081"/>
                    <a:gd name="connsiteX85" fmla="*/ 157397 w 294041"/>
                    <a:gd name="connsiteY85" fmla="*/ 234619 h 283081"/>
                    <a:gd name="connsiteX86" fmla="*/ 158312 w 294041"/>
                    <a:gd name="connsiteY86" fmla="*/ 234619 h 28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94041" h="283081">
                      <a:moveTo>
                        <a:pt x="175946" y="282820"/>
                      </a:moveTo>
                      <a:cubicBezTo>
                        <a:pt x="173334" y="282820"/>
                        <a:pt x="170982" y="281252"/>
                        <a:pt x="169937" y="278771"/>
                      </a:cubicBezTo>
                      <a:cubicBezTo>
                        <a:pt x="165757" y="268059"/>
                        <a:pt x="161708" y="257871"/>
                        <a:pt x="155569" y="247682"/>
                      </a:cubicBezTo>
                      <a:cubicBezTo>
                        <a:pt x="143812" y="248988"/>
                        <a:pt x="132056" y="248335"/>
                        <a:pt x="120822" y="247290"/>
                      </a:cubicBezTo>
                      <a:cubicBezTo>
                        <a:pt x="117557" y="253299"/>
                        <a:pt x="114291" y="259438"/>
                        <a:pt x="111026" y="265838"/>
                      </a:cubicBezTo>
                      <a:cubicBezTo>
                        <a:pt x="108936" y="269757"/>
                        <a:pt x="106846" y="273807"/>
                        <a:pt x="104625" y="277856"/>
                      </a:cubicBezTo>
                      <a:cubicBezTo>
                        <a:pt x="103057" y="280730"/>
                        <a:pt x="99661" y="282036"/>
                        <a:pt x="96526" y="280860"/>
                      </a:cubicBezTo>
                      <a:cubicBezTo>
                        <a:pt x="76932" y="273153"/>
                        <a:pt x="59821" y="260614"/>
                        <a:pt x="47150" y="244547"/>
                      </a:cubicBezTo>
                      <a:cubicBezTo>
                        <a:pt x="45321" y="242326"/>
                        <a:pt x="45321" y="239191"/>
                        <a:pt x="46889" y="236840"/>
                      </a:cubicBezTo>
                      <a:cubicBezTo>
                        <a:pt x="53159" y="227957"/>
                        <a:pt x="59690" y="218813"/>
                        <a:pt x="66482" y="207972"/>
                      </a:cubicBezTo>
                      <a:cubicBezTo>
                        <a:pt x="59429" y="198436"/>
                        <a:pt x="53028" y="187072"/>
                        <a:pt x="47150" y="173617"/>
                      </a:cubicBezTo>
                      <a:cubicBezTo>
                        <a:pt x="44929" y="174140"/>
                        <a:pt x="42578" y="174532"/>
                        <a:pt x="40227" y="175054"/>
                      </a:cubicBezTo>
                      <a:cubicBezTo>
                        <a:pt x="30822" y="177014"/>
                        <a:pt x="21156" y="179104"/>
                        <a:pt x="10706" y="180540"/>
                      </a:cubicBezTo>
                      <a:cubicBezTo>
                        <a:pt x="7440" y="180932"/>
                        <a:pt x="4436" y="178973"/>
                        <a:pt x="3521" y="175838"/>
                      </a:cubicBezTo>
                      <a:cubicBezTo>
                        <a:pt x="-2487" y="153501"/>
                        <a:pt x="-789" y="128291"/>
                        <a:pt x="8485" y="100859"/>
                      </a:cubicBezTo>
                      <a:cubicBezTo>
                        <a:pt x="9530" y="97724"/>
                        <a:pt x="12926" y="95896"/>
                        <a:pt x="16192" y="96680"/>
                      </a:cubicBezTo>
                      <a:lnTo>
                        <a:pt x="17106" y="96941"/>
                      </a:lnTo>
                      <a:cubicBezTo>
                        <a:pt x="29516" y="100076"/>
                        <a:pt x="41925" y="103211"/>
                        <a:pt x="54988" y="106476"/>
                      </a:cubicBezTo>
                      <a:cubicBezTo>
                        <a:pt x="60343" y="95243"/>
                        <a:pt x="66744" y="84662"/>
                        <a:pt x="73667" y="73820"/>
                      </a:cubicBezTo>
                      <a:cubicBezTo>
                        <a:pt x="67397" y="65329"/>
                        <a:pt x="60474" y="55532"/>
                        <a:pt x="54334" y="44168"/>
                      </a:cubicBezTo>
                      <a:cubicBezTo>
                        <a:pt x="52898" y="41556"/>
                        <a:pt x="53420" y="38290"/>
                        <a:pt x="55641" y="36331"/>
                      </a:cubicBezTo>
                      <a:cubicBezTo>
                        <a:pt x="70140" y="23138"/>
                        <a:pt x="88297" y="11643"/>
                        <a:pt x="109850" y="2107"/>
                      </a:cubicBezTo>
                      <a:cubicBezTo>
                        <a:pt x="112854" y="801"/>
                        <a:pt x="116512" y="1977"/>
                        <a:pt x="118079" y="4850"/>
                      </a:cubicBezTo>
                      <a:cubicBezTo>
                        <a:pt x="124349" y="16084"/>
                        <a:pt x="130097" y="27840"/>
                        <a:pt x="135060" y="39727"/>
                      </a:cubicBezTo>
                      <a:cubicBezTo>
                        <a:pt x="147600" y="37898"/>
                        <a:pt x="160402" y="37376"/>
                        <a:pt x="173072" y="38421"/>
                      </a:cubicBezTo>
                      <a:cubicBezTo>
                        <a:pt x="178950" y="27056"/>
                        <a:pt x="185220" y="15300"/>
                        <a:pt x="192927" y="3021"/>
                      </a:cubicBezTo>
                      <a:cubicBezTo>
                        <a:pt x="194756" y="148"/>
                        <a:pt x="198414" y="-767"/>
                        <a:pt x="201418" y="670"/>
                      </a:cubicBezTo>
                      <a:cubicBezTo>
                        <a:pt x="217093" y="8900"/>
                        <a:pt x="231984" y="18827"/>
                        <a:pt x="245569" y="30322"/>
                      </a:cubicBezTo>
                      <a:cubicBezTo>
                        <a:pt x="249096" y="33327"/>
                        <a:pt x="252623" y="36461"/>
                        <a:pt x="256019" y="39597"/>
                      </a:cubicBezTo>
                      <a:cubicBezTo>
                        <a:pt x="258109" y="41425"/>
                        <a:pt x="260591" y="43776"/>
                        <a:pt x="261505" y="47303"/>
                      </a:cubicBezTo>
                      <a:cubicBezTo>
                        <a:pt x="261897" y="49132"/>
                        <a:pt x="261636" y="50961"/>
                        <a:pt x="260591" y="52528"/>
                      </a:cubicBezTo>
                      <a:cubicBezTo>
                        <a:pt x="257456" y="57100"/>
                        <a:pt x="254321" y="61672"/>
                        <a:pt x="251055" y="66375"/>
                      </a:cubicBezTo>
                      <a:cubicBezTo>
                        <a:pt x="246875" y="72383"/>
                        <a:pt x="242565" y="78653"/>
                        <a:pt x="238123" y="85315"/>
                      </a:cubicBezTo>
                      <a:cubicBezTo>
                        <a:pt x="241781" y="94590"/>
                        <a:pt x="245569" y="104125"/>
                        <a:pt x="249096" y="113661"/>
                      </a:cubicBezTo>
                      <a:cubicBezTo>
                        <a:pt x="260460" y="114836"/>
                        <a:pt x="274568" y="117187"/>
                        <a:pt x="289851" y="123458"/>
                      </a:cubicBezTo>
                      <a:cubicBezTo>
                        <a:pt x="292202" y="124372"/>
                        <a:pt x="293639" y="126592"/>
                        <a:pt x="293770" y="129074"/>
                      </a:cubicBezTo>
                      <a:cubicBezTo>
                        <a:pt x="294945" y="149713"/>
                        <a:pt x="292333" y="168523"/>
                        <a:pt x="285540" y="186680"/>
                      </a:cubicBezTo>
                      <a:cubicBezTo>
                        <a:pt x="284626" y="189293"/>
                        <a:pt x="282013" y="190991"/>
                        <a:pt x="279270" y="190860"/>
                      </a:cubicBezTo>
                      <a:lnTo>
                        <a:pt x="274829" y="190860"/>
                      </a:lnTo>
                      <a:cubicBezTo>
                        <a:pt x="265163" y="190337"/>
                        <a:pt x="255235" y="189945"/>
                        <a:pt x="244785" y="190599"/>
                      </a:cubicBezTo>
                      <a:cubicBezTo>
                        <a:pt x="240605" y="200396"/>
                        <a:pt x="234466" y="210193"/>
                        <a:pt x="225975" y="221034"/>
                      </a:cubicBezTo>
                      <a:cubicBezTo>
                        <a:pt x="231723" y="231223"/>
                        <a:pt x="237601" y="241934"/>
                        <a:pt x="242695" y="254474"/>
                      </a:cubicBezTo>
                      <a:cubicBezTo>
                        <a:pt x="244002" y="257479"/>
                        <a:pt x="242695" y="261005"/>
                        <a:pt x="239822" y="262573"/>
                      </a:cubicBezTo>
                      <a:cubicBezTo>
                        <a:pt x="219052" y="273937"/>
                        <a:pt x="197760" y="280730"/>
                        <a:pt x="176469" y="283081"/>
                      </a:cubicBezTo>
                      <a:cubicBezTo>
                        <a:pt x="176207" y="283081"/>
                        <a:pt x="175946" y="283081"/>
                        <a:pt x="175815" y="283081"/>
                      </a:cubicBezTo>
                      <a:close/>
                      <a:moveTo>
                        <a:pt x="158834" y="234227"/>
                      </a:moveTo>
                      <a:cubicBezTo>
                        <a:pt x="161055" y="234227"/>
                        <a:pt x="163014" y="235272"/>
                        <a:pt x="164320" y="237232"/>
                      </a:cubicBezTo>
                      <a:cubicBezTo>
                        <a:pt x="171244" y="248074"/>
                        <a:pt x="175946" y="258785"/>
                        <a:pt x="180126" y="269366"/>
                      </a:cubicBezTo>
                      <a:cubicBezTo>
                        <a:pt x="196324" y="267014"/>
                        <a:pt x="212652" y="261789"/>
                        <a:pt x="228588" y="253690"/>
                      </a:cubicBezTo>
                      <a:cubicBezTo>
                        <a:pt x="223624" y="242587"/>
                        <a:pt x="218138" y="232790"/>
                        <a:pt x="212652" y="223255"/>
                      </a:cubicBezTo>
                      <a:cubicBezTo>
                        <a:pt x="211345" y="220903"/>
                        <a:pt x="211607" y="218030"/>
                        <a:pt x="213305" y="215940"/>
                      </a:cubicBezTo>
                      <a:cubicBezTo>
                        <a:pt x="223624" y="203400"/>
                        <a:pt x="230286" y="192558"/>
                        <a:pt x="234335" y="181847"/>
                      </a:cubicBezTo>
                      <a:cubicBezTo>
                        <a:pt x="235250" y="179496"/>
                        <a:pt x="237340" y="177928"/>
                        <a:pt x="239822" y="177667"/>
                      </a:cubicBezTo>
                      <a:cubicBezTo>
                        <a:pt x="252492" y="176491"/>
                        <a:pt x="264118" y="176883"/>
                        <a:pt x="275221" y="177406"/>
                      </a:cubicBezTo>
                      <a:cubicBezTo>
                        <a:pt x="279793" y="163559"/>
                        <a:pt x="281883" y="149191"/>
                        <a:pt x="281360" y="133646"/>
                      </a:cubicBezTo>
                      <a:cubicBezTo>
                        <a:pt x="267253" y="128421"/>
                        <a:pt x="254190" y="126723"/>
                        <a:pt x="244132" y="125939"/>
                      </a:cubicBezTo>
                      <a:cubicBezTo>
                        <a:pt x="241650" y="125678"/>
                        <a:pt x="239430" y="124110"/>
                        <a:pt x="238646" y="121629"/>
                      </a:cubicBezTo>
                      <a:cubicBezTo>
                        <a:pt x="234466" y="110003"/>
                        <a:pt x="229763" y="98247"/>
                        <a:pt x="225192" y="86752"/>
                      </a:cubicBezTo>
                      <a:cubicBezTo>
                        <a:pt x="224408" y="84793"/>
                        <a:pt x="224669" y="82572"/>
                        <a:pt x="225714" y="80874"/>
                      </a:cubicBezTo>
                      <a:cubicBezTo>
                        <a:pt x="230939" y="72775"/>
                        <a:pt x="235903" y="65722"/>
                        <a:pt x="240736" y="58798"/>
                      </a:cubicBezTo>
                      <a:cubicBezTo>
                        <a:pt x="243087" y="55532"/>
                        <a:pt x="245308" y="52267"/>
                        <a:pt x="247528" y="49001"/>
                      </a:cubicBezTo>
                      <a:cubicBezTo>
                        <a:pt x="244002" y="45866"/>
                        <a:pt x="240736" y="42862"/>
                        <a:pt x="237340" y="40119"/>
                      </a:cubicBezTo>
                      <a:cubicBezTo>
                        <a:pt x="225975" y="30583"/>
                        <a:pt x="213827" y="22093"/>
                        <a:pt x="200895" y="14908"/>
                      </a:cubicBezTo>
                      <a:cubicBezTo>
                        <a:pt x="194103" y="26273"/>
                        <a:pt x="188355" y="37376"/>
                        <a:pt x="182739" y="48087"/>
                      </a:cubicBezTo>
                      <a:cubicBezTo>
                        <a:pt x="181563" y="50438"/>
                        <a:pt x="178950" y="51745"/>
                        <a:pt x="176338" y="51483"/>
                      </a:cubicBezTo>
                      <a:cubicBezTo>
                        <a:pt x="161708" y="50046"/>
                        <a:pt x="146947" y="50569"/>
                        <a:pt x="132317" y="53181"/>
                      </a:cubicBezTo>
                      <a:cubicBezTo>
                        <a:pt x="129313" y="53704"/>
                        <a:pt x="126309" y="52137"/>
                        <a:pt x="125133" y="49263"/>
                      </a:cubicBezTo>
                      <a:cubicBezTo>
                        <a:pt x="120561" y="38029"/>
                        <a:pt x="115467" y="26926"/>
                        <a:pt x="109719" y="16345"/>
                      </a:cubicBezTo>
                      <a:cubicBezTo>
                        <a:pt x="93652" y="23922"/>
                        <a:pt x="79806" y="32673"/>
                        <a:pt x="68311" y="42470"/>
                      </a:cubicBezTo>
                      <a:cubicBezTo>
                        <a:pt x="74320" y="52789"/>
                        <a:pt x="80982" y="61933"/>
                        <a:pt x="86860" y="69640"/>
                      </a:cubicBezTo>
                      <a:cubicBezTo>
                        <a:pt x="88427" y="71730"/>
                        <a:pt x="88558" y="74734"/>
                        <a:pt x="87121" y="76955"/>
                      </a:cubicBezTo>
                      <a:cubicBezTo>
                        <a:pt x="78761" y="90409"/>
                        <a:pt x="70793" y="103080"/>
                        <a:pt x="64784" y="116665"/>
                      </a:cubicBezTo>
                      <a:cubicBezTo>
                        <a:pt x="63478" y="119539"/>
                        <a:pt x="60343" y="121106"/>
                        <a:pt x="57339" y="120323"/>
                      </a:cubicBezTo>
                      <a:cubicBezTo>
                        <a:pt x="44146" y="117057"/>
                        <a:pt x="31475" y="113922"/>
                        <a:pt x="19066" y="110787"/>
                      </a:cubicBezTo>
                      <a:cubicBezTo>
                        <a:pt x="12926" y="131164"/>
                        <a:pt x="11489" y="150105"/>
                        <a:pt x="14886" y="166956"/>
                      </a:cubicBezTo>
                      <a:cubicBezTo>
                        <a:pt x="22723" y="165649"/>
                        <a:pt x="30299" y="164082"/>
                        <a:pt x="37614" y="162514"/>
                      </a:cubicBezTo>
                      <a:cubicBezTo>
                        <a:pt x="41664" y="161600"/>
                        <a:pt x="45713" y="160816"/>
                        <a:pt x="49763" y="160032"/>
                      </a:cubicBezTo>
                      <a:cubicBezTo>
                        <a:pt x="52767" y="159379"/>
                        <a:pt x="55771" y="161078"/>
                        <a:pt x="56947" y="163951"/>
                      </a:cubicBezTo>
                      <a:cubicBezTo>
                        <a:pt x="63609" y="180279"/>
                        <a:pt x="70924" y="193211"/>
                        <a:pt x="79284" y="203661"/>
                      </a:cubicBezTo>
                      <a:cubicBezTo>
                        <a:pt x="80982" y="205751"/>
                        <a:pt x="81112" y="208755"/>
                        <a:pt x="79676" y="211107"/>
                      </a:cubicBezTo>
                      <a:cubicBezTo>
                        <a:pt x="72752" y="222341"/>
                        <a:pt x="66352" y="231615"/>
                        <a:pt x="60082" y="240367"/>
                      </a:cubicBezTo>
                      <a:cubicBezTo>
                        <a:pt x="69748" y="251470"/>
                        <a:pt x="81896" y="260483"/>
                        <a:pt x="95612" y="266753"/>
                      </a:cubicBezTo>
                      <a:cubicBezTo>
                        <a:pt x="96787" y="264532"/>
                        <a:pt x="97963" y="262181"/>
                        <a:pt x="99139" y="259961"/>
                      </a:cubicBezTo>
                      <a:cubicBezTo>
                        <a:pt x="103188" y="252123"/>
                        <a:pt x="107107" y="244808"/>
                        <a:pt x="111156" y="237493"/>
                      </a:cubicBezTo>
                      <a:cubicBezTo>
                        <a:pt x="112462" y="235272"/>
                        <a:pt x="114944" y="233966"/>
                        <a:pt x="117426" y="234227"/>
                      </a:cubicBezTo>
                      <a:cubicBezTo>
                        <a:pt x="130358" y="235534"/>
                        <a:pt x="144204" y="236579"/>
                        <a:pt x="157397" y="234619"/>
                      </a:cubicBezTo>
                      <a:cubicBezTo>
                        <a:pt x="157659" y="234619"/>
                        <a:pt x="158050" y="234619"/>
                        <a:pt x="158312" y="23461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68" name="Freeform: Shape 967">
                  <a:extLst>
                    <a:ext uri="{FF2B5EF4-FFF2-40B4-BE49-F238E27FC236}">
                      <a16:creationId xmlns:a16="http://schemas.microsoft.com/office/drawing/2014/main" id="{4B2B192C-26FB-5C83-ECD3-4C67786DB21A}"/>
                    </a:ext>
                  </a:extLst>
                </p:cNvPr>
                <p:cNvSpPr/>
                <p:nvPr/>
              </p:nvSpPr>
              <p:spPr>
                <a:xfrm>
                  <a:off x="271859" y="5663860"/>
                  <a:ext cx="70395" cy="74096"/>
                </a:xfrm>
                <a:custGeom>
                  <a:avLst/>
                  <a:gdLst>
                    <a:gd name="connsiteX0" fmla="*/ 31541 w 70395"/>
                    <a:gd name="connsiteY0" fmla="*/ 74097 h 74096"/>
                    <a:gd name="connsiteX1" fmla="*/ 14821 w 70395"/>
                    <a:gd name="connsiteY1" fmla="*/ 70570 h 74096"/>
                    <a:gd name="connsiteX2" fmla="*/ 4371 w 70395"/>
                    <a:gd name="connsiteY2" fmla="*/ 62602 h 74096"/>
                    <a:gd name="connsiteX3" fmla="*/ 191 w 70395"/>
                    <a:gd name="connsiteY3" fmla="*/ 48886 h 74096"/>
                    <a:gd name="connsiteX4" fmla="*/ 9596 w 70395"/>
                    <a:gd name="connsiteY4" fmla="*/ 13487 h 74096"/>
                    <a:gd name="connsiteX5" fmla="*/ 45126 w 70395"/>
                    <a:gd name="connsiteY5" fmla="*/ 1469 h 74096"/>
                    <a:gd name="connsiteX6" fmla="*/ 47477 w 70395"/>
                    <a:gd name="connsiteY6" fmla="*/ 2906 h 74096"/>
                    <a:gd name="connsiteX7" fmla="*/ 70336 w 70395"/>
                    <a:gd name="connsiteY7" fmla="*/ 33995 h 74096"/>
                    <a:gd name="connsiteX8" fmla="*/ 52571 w 70395"/>
                    <a:gd name="connsiteY8" fmla="*/ 68219 h 74096"/>
                    <a:gd name="connsiteX9" fmla="*/ 31541 w 70395"/>
                    <a:gd name="connsiteY9" fmla="*/ 74097 h 74096"/>
                    <a:gd name="connsiteX10" fmla="*/ 36243 w 70395"/>
                    <a:gd name="connsiteY10" fmla="*/ 12965 h 74096"/>
                    <a:gd name="connsiteX11" fmla="*/ 19784 w 70395"/>
                    <a:gd name="connsiteY11" fmla="*/ 21455 h 74096"/>
                    <a:gd name="connsiteX12" fmla="*/ 13123 w 70395"/>
                    <a:gd name="connsiteY12" fmla="*/ 47972 h 74096"/>
                    <a:gd name="connsiteX13" fmla="*/ 14951 w 70395"/>
                    <a:gd name="connsiteY13" fmla="*/ 55287 h 74096"/>
                    <a:gd name="connsiteX14" fmla="*/ 20046 w 70395"/>
                    <a:gd name="connsiteY14" fmla="*/ 58944 h 74096"/>
                    <a:gd name="connsiteX15" fmla="*/ 45648 w 70395"/>
                    <a:gd name="connsiteY15" fmla="*/ 57377 h 74096"/>
                    <a:gd name="connsiteX16" fmla="*/ 57404 w 70395"/>
                    <a:gd name="connsiteY16" fmla="*/ 34779 h 74096"/>
                    <a:gd name="connsiteX17" fmla="*/ 43166 w 70395"/>
                    <a:gd name="connsiteY17" fmla="*/ 15054 h 74096"/>
                    <a:gd name="connsiteX18" fmla="*/ 42252 w 70395"/>
                    <a:gd name="connsiteY18" fmla="*/ 14793 h 74096"/>
                    <a:gd name="connsiteX19" fmla="*/ 38725 w 70395"/>
                    <a:gd name="connsiteY19" fmla="*/ 13095 h 74096"/>
                    <a:gd name="connsiteX20" fmla="*/ 36243 w 70395"/>
                    <a:gd name="connsiteY20" fmla="*/ 12834 h 7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395" h="74096">
                      <a:moveTo>
                        <a:pt x="31541" y="74097"/>
                      </a:moveTo>
                      <a:cubicBezTo>
                        <a:pt x="25924" y="74097"/>
                        <a:pt x="20176" y="72921"/>
                        <a:pt x="14821" y="70570"/>
                      </a:cubicBezTo>
                      <a:cubicBezTo>
                        <a:pt x="10118" y="68480"/>
                        <a:pt x="6722" y="65867"/>
                        <a:pt x="4371" y="62602"/>
                      </a:cubicBezTo>
                      <a:cubicBezTo>
                        <a:pt x="1236" y="58161"/>
                        <a:pt x="452" y="52936"/>
                        <a:pt x="191" y="48886"/>
                      </a:cubicBezTo>
                      <a:cubicBezTo>
                        <a:pt x="-854" y="35171"/>
                        <a:pt x="2411" y="22631"/>
                        <a:pt x="9596" y="13487"/>
                      </a:cubicBezTo>
                      <a:cubicBezTo>
                        <a:pt x="18348" y="2253"/>
                        <a:pt x="32978" y="-2711"/>
                        <a:pt x="45126" y="1469"/>
                      </a:cubicBezTo>
                      <a:cubicBezTo>
                        <a:pt x="46040" y="1731"/>
                        <a:pt x="46824" y="2253"/>
                        <a:pt x="47477" y="2906"/>
                      </a:cubicBezTo>
                      <a:cubicBezTo>
                        <a:pt x="60147" y="7347"/>
                        <a:pt x="69552" y="20018"/>
                        <a:pt x="70336" y="33995"/>
                      </a:cubicBezTo>
                      <a:cubicBezTo>
                        <a:pt x="71120" y="47449"/>
                        <a:pt x="64066" y="60904"/>
                        <a:pt x="52571" y="68219"/>
                      </a:cubicBezTo>
                      <a:cubicBezTo>
                        <a:pt x="46301" y="72138"/>
                        <a:pt x="38986" y="74097"/>
                        <a:pt x="31541" y="74097"/>
                      </a:cubicBezTo>
                      <a:close/>
                      <a:moveTo>
                        <a:pt x="36243" y="12965"/>
                      </a:moveTo>
                      <a:cubicBezTo>
                        <a:pt x="30365" y="12965"/>
                        <a:pt x="23964" y="16099"/>
                        <a:pt x="19784" y="21455"/>
                      </a:cubicBezTo>
                      <a:cubicBezTo>
                        <a:pt x="14690" y="27986"/>
                        <a:pt x="12339" y="37391"/>
                        <a:pt x="13123" y="47972"/>
                      </a:cubicBezTo>
                      <a:cubicBezTo>
                        <a:pt x="13253" y="50323"/>
                        <a:pt x="13645" y="53328"/>
                        <a:pt x="14951" y="55287"/>
                      </a:cubicBezTo>
                      <a:cubicBezTo>
                        <a:pt x="15866" y="56593"/>
                        <a:pt x="17564" y="57769"/>
                        <a:pt x="20046" y="58944"/>
                      </a:cubicBezTo>
                      <a:cubicBezTo>
                        <a:pt x="28406" y="62602"/>
                        <a:pt x="38203" y="62079"/>
                        <a:pt x="45648" y="57377"/>
                      </a:cubicBezTo>
                      <a:cubicBezTo>
                        <a:pt x="53224" y="52674"/>
                        <a:pt x="57927" y="43531"/>
                        <a:pt x="57404" y="34779"/>
                      </a:cubicBezTo>
                      <a:cubicBezTo>
                        <a:pt x="56882" y="26027"/>
                        <a:pt x="50873" y="17798"/>
                        <a:pt x="43166" y="15054"/>
                      </a:cubicBezTo>
                      <a:lnTo>
                        <a:pt x="42252" y="14793"/>
                      </a:lnTo>
                      <a:cubicBezTo>
                        <a:pt x="41468" y="14532"/>
                        <a:pt x="40031" y="14140"/>
                        <a:pt x="38725" y="13095"/>
                      </a:cubicBezTo>
                      <a:cubicBezTo>
                        <a:pt x="37941" y="12965"/>
                        <a:pt x="37027" y="12834"/>
                        <a:pt x="36243" y="1283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69" name="Graphic 717">
                <a:extLst>
                  <a:ext uri="{FF2B5EF4-FFF2-40B4-BE49-F238E27FC236}">
                    <a16:creationId xmlns:a16="http://schemas.microsoft.com/office/drawing/2014/main" id="{09B7B5E6-8D5A-2703-1D30-A3C9C3C227C9}"/>
                  </a:ext>
                </a:extLst>
              </p:cNvPr>
              <p:cNvGrpSpPr/>
              <p:nvPr/>
            </p:nvGrpSpPr>
            <p:grpSpPr>
              <a:xfrm>
                <a:off x="8475399" y="3904827"/>
                <a:ext cx="261318" cy="258756"/>
                <a:chOff x="2545840" y="5312102"/>
                <a:chExt cx="294172" cy="282950"/>
              </a:xfrm>
              <a:noFill/>
            </p:grpSpPr>
            <p:sp>
              <p:nvSpPr>
                <p:cNvPr id="970" name="Freeform: Shape 969">
                  <a:extLst>
                    <a:ext uri="{FF2B5EF4-FFF2-40B4-BE49-F238E27FC236}">
                      <a16:creationId xmlns:a16="http://schemas.microsoft.com/office/drawing/2014/main" id="{9A8C4980-3D21-5A5A-7FB1-CF1FBB250FCE}"/>
                    </a:ext>
                  </a:extLst>
                </p:cNvPr>
                <p:cNvSpPr/>
                <p:nvPr/>
              </p:nvSpPr>
              <p:spPr>
                <a:xfrm>
                  <a:off x="2552318" y="5320087"/>
                  <a:ext cx="278147" cy="268695"/>
                </a:xfrm>
                <a:custGeom>
                  <a:avLst/>
                  <a:gdLst>
                    <a:gd name="connsiteX0" fmla="*/ 237393 w 278147"/>
                    <a:gd name="connsiteY0" fmla="*/ 111554 h 268695"/>
                    <a:gd name="connsiteX1" fmla="*/ 226290 w 278147"/>
                    <a:gd name="connsiteY1" fmla="*/ 74195 h 268695"/>
                    <a:gd name="connsiteX2" fmla="*/ 249541 w 278147"/>
                    <a:gd name="connsiteY2" fmla="*/ 40625 h 268695"/>
                    <a:gd name="connsiteX3" fmla="*/ 192196 w 278147"/>
                    <a:gd name="connsiteY3" fmla="*/ 0 h 268695"/>
                    <a:gd name="connsiteX4" fmla="*/ 169990 w 278147"/>
                    <a:gd name="connsiteY4" fmla="*/ 36967 h 268695"/>
                    <a:gd name="connsiteX5" fmla="*/ 168553 w 278147"/>
                    <a:gd name="connsiteY5" fmla="*/ 38665 h 268695"/>
                    <a:gd name="connsiteX6" fmla="*/ 165549 w 278147"/>
                    <a:gd name="connsiteY6" fmla="*/ 39187 h 268695"/>
                    <a:gd name="connsiteX7" fmla="*/ 127276 w 278147"/>
                    <a:gd name="connsiteY7" fmla="*/ 38404 h 268695"/>
                    <a:gd name="connsiteX8" fmla="*/ 107944 w 278147"/>
                    <a:gd name="connsiteY8" fmla="*/ 3396 h 268695"/>
                    <a:gd name="connsiteX9" fmla="*/ 105723 w 278147"/>
                    <a:gd name="connsiteY9" fmla="*/ 1306 h 268695"/>
                    <a:gd name="connsiteX10" fmla="*/ 102849 w 278147"/>
                    <a:gd name="connsiteY10" fmla="*/ 2221 h 268695"/>
                    <a:gd name="connsiteX11" fmla="*/ 57261 w 278147"/>
                    <a:gd name="connsiteY11" fmla="*/ 30175 h 268695"/>
                    <a:gd name="connsiteX12" fmla="*/ 56216 w 278147"/>
                    <a:gd name="connsiteY12" fmla="*/ 31089 h 268695"/>
                    <a:gd name="connsiteX13" fmla="*/ 56739 w 278147"/>
                    <a:gd name="connsiteY13" fmla="*/ 34485 h 268695"/>
                    <a:gd name="connsiteX14" fmla="*/ 77116 w 278147"/>
                    <a:gd name="connsiteY14" fmla="*/ 63353 h 268695"/>
                    <a:gd name="connsiteX15" fmla="*/ 55171 w 278147"/>
                    <a:gd name="connsiteY15" fmla="*/ 99798 h 268695"/>
                    <a:gd name="connsiteX16" fmla="*/ 47987 w 278147"/>
                    <a:gd name="connsiteY16" fmla="*/ 106460 h 268695"/>
                    <a:gd name="connsiteX17" fmla="*/ 39888 w 278147"/>
                    <a:gd name="connsiteY17" fmla="*/ 105806 h 268695"/>
                    <a:gd name="connsiteX18" fmla="*/ 8146 w 278147"/>
                    <a:gd name="connsiteY18" fmla="*/ 95356 h 268695"/>
                    <a:gd name="connsiteX19" fmla="*/ 3444 w 278147"/>
                    <a:gd name="connsiteY19" fmla="*/ 163934 h 268695"/>
                    <a:gd name="connsiteX20" fmla="*/ 43937 w 278147"/>
                    <a:gd name="connsiteY20" fmla="*/ 159885 h 268695"/>
                    <a:gd name="connsiteX21" fmla="*/ 67580 w 278147"/>
                    <a:gd name="connsiteY21" fmla="*/ 201815 h 268695"/>
                    <a:gd name="connsiteX22" fmla="*/ 48640 w 278147"/>
                    <a:gd name="connsiteY22" fmla="*/ 233688 h 268695"/>
                    <a:gd name="connsiteX23" fmla="*/ 92138 w 278147"/>
                    <a:gd name="connsiteY23" fmla="*/ 266083 h 268695"/>
                    <a:gd name="connsiteX24" fmla="*/ 114736 w 278147"/>
                    <a:gd name="connsiteY24" fmla="*/ 232382 h 268695"/>
                    <a:gd name="connsiteX25" fmla="*/ 154576 w 278147"/>
                    <a:gd name="connsiteY25" fmla="*/ 233165 h 268695"/>
                    <a:gd name="connsiteX26" fmla="*/ 169990 w 278147"/>
                    <a:gd name="connsiteY26" fmla="*/ 268695 h 268695"/>
                    <a:gd name="connsiteX27" fmla="*/ 229425 w 278147"/>
                    <a:gd name="connsiteY27" fmla="*/ 247665 h 268695"/>
                    <a:gd name="connsiteX28" fmla="*/ 215056 w 278147"/>
                    <a:gd name="connsiteY28" fmla="*/ 211220 h 268695"/>
                    <a:gd name="connsiteX29" fmla="*/ 236478 w 278147"/>
                    <a:gd name="connsiteY29" fmla="*/ 175821 h 268695"/>
                    <a:gd name="connsiteX30" fmla="*/ 276841 w 278147"/>
                    <a:gd name="connsiteY30" fmla="*/ 172556 h 268695"/>
                    <a:gd name="connsiteX31" fmla="*/ 278148 w 278147"/>
                    <a:gd name="connsiteY31" fmla="*/ 122396 h 268695"/>
                    <a:gd name="connsiteX32" fmla="*/ 237654 w 278147"/>
                    <a:gd name="connsiteY32" fmla="*/ 111554 h 268695"/>
                    <a:gd name="connsiteX33" fmla="*/ 168815 w 278147"/>
                    <a:gd name="connsiteY33" fmla="*/ 130494 h 268695"/>
                    <a:gd name="connsiteX34" fmla="*/ 166986 w 278147"/>
                    <a:gd name="connsiteY34" fmla="*/ 137287 h 268695"/>
                    <a:gd name="connsiteX35" fmla="*/ 165026 w 278147"/>
                    <a:gd name="connsiteY35" fmla="*/ 141336 h 268695"/>
                    <a:gd name="connsiteX36" fmla="*/ 159540 w 278147"/>
                    <a:gd name="connsiteY36" fmla="*/ 147867 h 268695"/>
                    <a:gd name="connsiteX37" fmla="*/ 145172 w 278147"/>
                    <a:gd name="connsiteY37" fmla="*/ 156880 h 268695"/>
                    <a:gd name="connsiteX38" fmla="*/ 138379 w 278147"/>
                    <a:gd name="connsiteY38" fmla="*/ 158579 h 268695"/>
                    <a:gd name="connsiteX39" fmla="*/ 132501 w 278147"/>
                    <a:gd name="connsiteY39" fmla="*/ 158840 h 268695"/>
                    <a:gd name="connsiteX40" fmla="*/ 128713 w 278147"/>
                    <a:gd name="connsiteY40" fmla="*/ 158318 h 268695"/>
                    <a:gd name="connsiteX41" fmla="*/ 127015 w 278147"/>
                    <a:gd name="connsiteY41" fmla="*/ 157926 h 268695"/>
                    <a:gd name="connsiteX42" fmla="*/ 111993 w 278147"/>
                    <a:gd name="connsiteY42" fmla="*/ 145385 h 268695"/>
                    <a:gd name="connsiteX43" fmla="*/ 108466 w 278147"/>
                    <a:gd name="connsiteY43" fmla="*/ 134152 h 268695"/>
                    <a:gd name="connsiteX44" fmla="*/ 110556 w 278147"/>
                    <a:gd name="connsiteY44" fmla="*/ 123702 h 268695"/>
                    <a:gd name="connsiteX45" fmla="*/ 117479 w 278147"/>
                    <a:gd name="connsiteY45" fmla="*/ 110247 h 268695"/>
                    <a:gd name="connsiteX46" fmla="*/ 129758 w 278147"/>
                    <a:gd name="connsiteY46" fmla="*/ 98099 h 268695"/>
                    <a:gd name="connsiteX47" fmla="*/ 145433 w 278147"/>
                    <a:gd name="connsiteY47" fmla="*/ 97055 h 268695"/>
                    <a:gd name="connsiteX48" fmla="*/ 151833 w 278147"/>
                    <a:gd name="connsiteY48" fmla="*/ 96532 h 268695"/>
                    <a:gd name="connsiteX49" fmla="*/ 161238 w 278147"/>
                    <a:gd name="connsiteY49" fmla="*/ 102932 h 268695"/>
                    <a:gd name="connsiteX50" fmla="*/ 166855 w 278147"/>
                    <a:gd name="connsiteY50" fmla="*/ 112860 h 268695"/>
                    <a:gd name="connsiteX51" fmla="*/ 168031 w 278147"/>
                    <a:gd name="connsiteY51" fmla="*/ 116387 h 268695"/>
                    <a:gd name="connsiteX52" fmla="*/ 168423 w 278147"/>
                    <a:gd name="connsiteY52" fmla="*/ 118477 h 268695"/>
                    <a:gd name="connsiteX53" fmla="*/ 168815 w 278147"/>
                    <a:gd name="connsiteY53" fmla="*/ 121873 h 268695"/>
                    <a:gd name="connsiteX54" fmla="*/ 168815 w 278147"/>
                    <a:gd name="connsiteY54" fmla="*/ 121089 h 268695"/>
                    <a:gd name="connsiteX55" fmla="*/ 168815 w 278147"/>
                    <a:gd name="connsiteY55" fmla="*/ 121089 h 268695"/>
                    <a:gd name="connsiteX56" fmla="*/ 169207 w 278147"/>
                    <a:gd name="connsiteY56" fmla="*/ 124486 h 268695"/>
                    <a:gd name="connsiteX57" fmla="*/ 169207 w 278147"/>
                    <a:gd name="connsiteY57" fmla="*/ 126184 h 268695"/>
                    <a:gd name="connsiteX58" fmla="*/ 168684 w 278147"/>
                    <a:gd name="connsiteY58" fmla="*/ 130494 h 26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78147" h="268695">
                      <a:moveTo>
                        <a:pt x="237393" y="111554"/>
                      </a:moveTo>
                      <a:lnTo>
                        <a:pt x="226290" y="74195"/>
                      </a:lnTo>
                      <a:lnTo>
                        <a:pt x="249541" y="40625"/>
                      </a:lnTo>
                      <a:lnTo>
                        <a:pt x="192196" y="0"/>
                      </a:lnTo>
                      <a:cubicBezTo>
                        <a:pt x="184751" y="12279"/>
                        <a:pt x="177436" y="24688"/>
                        <a:pt x="169990" y="36967"/>
                      </a:cubicBezTo>
                      <a:cubicBezTo>
                        <a:pt x="169598" y="37620"/>
                        <a:pt x="169207" y="38273"/>
                        <a:pt x="168553" y="38665"/>
                      </a:cubicBezTo>
                      <a:cubicBezTo>
                        <a:pt x="167639" y="39187"/>
                        <a:pt x="166594" y="39187"/>
                        <a:pt x="165549" y="39187"/>
                      </a:cubicBezTo>
                      <a:cubicBezTo>
                        <a:pt x="152748" y="39057"/>
                        <a:pt x="139947" y="38796"/>
                        <a:pt x="127276" y="38404"/>
                      </a:cubicBezTo>
                      <a:cubicBezTo>
                        <a:pt x="121006" y="26125"/>
                        <a:pt x="114867" y="14500"/>
                        <a:pt x="107944" y="3396"/>
                      </a:cubicBezTo>
                      <a:cubicBezTo>
                        <a:pt x="107421" y="2482"/>
                        <a:pt x="106768" y="1568"/>
                        <a:pt x="105723" y="1306"/>
                      </a:cubicBezTo>
                      <a:cubicBezTo>
                        <a:pt x="104678" y="1045"/>
                        <a:pt x="103763" y="1568"/>
                        <a:pt x="102849" y="2221"/>
                      </a:cubicBezTo>
                      <a:cubicBezTo>
                        <a:pt x="87697" y="11495"/>
                        <a:pt x="72414" y="20900"/>
                        <a:pt x="57261" y="30175"/>
                      </a:cubicBezTo>
                      <a:cubicBezTo>
                        <a:pt x="56869" y="30436"/>
                        <a:pt x="56477" y="30697"/>
                        <a:pt x="56216" y="31089"/>
                      </a:cubicBezTo>
                      <a:cubicBezTo>
                        <a:pt x="55563" y="32134"/>
                        <a:pt x="56216" y="33440"/>
                        <a:pt x="56739" y="34485"/>
                      </a:cubicBezTo>
                      <a:cubicBezTo>
                        <a:pt x="62486" y="44805"/>
                        <a:pt x="69278" y="54601"/>
                        <a:pt x="77116" y="63353"/>
                      </a:cubicBezTo>
                      <a:cubicBezTo>
                        <a:pt x="70193" y="76285"/>
                        <a:pt x="63009" y="88302"/>
                        <a:pt x="55171" y="99798"/>
                      </a:cubicBezTo>
                      <a:cubicBezTo>
                        <a:pt x="53212" y="102541"/>
                        <a:pt x="51122" y="105545"/>
                        <a:pt x="47987" y="106460"/>
                      </a:cubicBezTo>
                      <a:cubicBezTo>
                        <a:pt x="45374" y="107243"/>
                        <a:pt x="42501" y="106460"/>
                        <a:pt x="39888" y="105806"/>
                      </a:cubicBezTo>
                      <a:cubicBezTo>
                        <a:pt x="29177" y="102671"/>
                        <a:pt x="18596" y="99275"/>
                        <a:pt x="8146" y="95356"/>
                      </a:cubicBezTo>
                      <a:cubicBezTo>
                        <a:pt x="-736" y="116909"/>
                        <a:pt x="-2434" y="141467"/>
                        <a:pt x="3444" y="163934"/>
                      </a:cubicBezTo>
                      <a:cubicBezTo>
                        <a:pt x="4358" y="165633"/>
                        <a:pt x="43937" y="159885"/>
                        <a:pt x="43937" y="159885"/>
                      </a:cubicBezTo>
                      <a:lnTo>
                        <a:pt x="67580" y="201815"/>
                      </a:lnTo>
                      <a:lnTo>
                        <a:pt x="48640" y="233688"/>
                      </a:lnTo>
                      <a:lnTo>
                        <a:pt x="92138" y="266083"/>
                      </a:lnTo>
                      <a:lnTo>
                        <a:pt x="114736" y="232382"/>
                      </a:lnTo>
                      <a:lnTo>
                        <a:pt x="154576" y="233165"/>
                      </a:lnTo>
                      <a:lnTo>
                        <a:pt x="169990" y="268695"/>
                      </a:lnTo>
                      <a:lnTo>
                        <a:pt x="229425" y="247665"/>
                      </a:lnTo>
                      <a:lnTo>
                        <a:pt x="215056" y="211220"/>
                      </a:lnTo>
                      <a:lnTo>
                        <a:pt x="236478" y="175821"/>
                      </a:lnTo>
                      <a:lnTo>
                        <a:pt x="276841" y="172556"/>
                      </a:lnTo>
                      <a:lnTo>
                        <a:pt x="278148" y="122396"/>
                      </a:lnTo>
                      <a:lnTo>
                        <a:pt x="237654" y="111554"/>
                      </a:lnTo>
                      <a:close/>
                      <a:moveTo>
                        <a:pt x="168815" y="130494"/>
                      </a:moveTo>
                      <a:cubicBezTo>
                        <a:pt x="169207" y="132323"/>
                        <a:pt x="167639" y="135719"/>
                        <a:pt x="166986" y="137287"/>
                      </a:cubicBezTo>
                      <a:cubicBezTo>
                        <a:pt x="166463" y="138724"/>
                        <a:pt x="165810" y="140030"/>
                        <a:pt x="165026" y="141336"/>
                      </a:cubicBezTo>
                      <a:cubicBezTo>
                        <a:pt x="163590" y="143687"/>
                        <a:pt x="161630" y="145908"/>
                        <a:pt x="159540" y="147867"/>
                      </a:cubicBezTo>
                      <a:cubicBezTo>
                        <a:pt x="155230" y="151917"/>
                        <a:pt x="150527" y="154790"/>
                        <a:pt x="145172" y="156880"/>
                      </a:cubicBezTo>
                      <a:cubicBezTo>
                        <a:pt x="142951" y="157664"/>
                        <a:pt x="140600" y="158187"/>
                        <a:pt x="138379" y="158579"/>
                      </a:cubicBezTo>
                      <a:cubicBezTo>
                        <a:pt x="136289" y="158971"/>
                        <a:pt x="134460" y="159101"/>
                        <a:pt x="132501" y="158840"/>
                      </a:cubicBezTo>
                      <a:cubicBezTo>
                        <a:pt x="131195" y="158709"/>
                        <a:pt x="129888" y="158318"/>
                        <a:pt x="128713" y="158318"/>
                      </a:cubicBezTo>
                      <a:cubicBezTo>
                        <a:pt x="132240" y="158318"/>
                        <a:pt x="128451" y="158318"/>
                        <a:pt x="127015" y="157926"/>
                      </a:cubicBezTo>
                      <a:cubicBezTo>
                        <a:pt x="120875" y="156228"/>
                        <a:pt x="114867" y="151003"/>
                        <a:pt x="111993" y="145385"/>
                      </a:cubicBezTo>
                      <a:cubicBezTo>
                        <a:pt x="110164" y="141989"/>
                        <a:pt x="108597" y="138070"/>
                        <a:pt x="108466" y="134152"/>
                      </a:cubicBezTo>
                      <a:cubicBezTo>
                        <a:pt x="108335" y="130625"/>
                        <a:pt x="109250" y="126967"/>
                        <a:pt x="110556" y="123702"/>
                      </a:cubicBezTo>
                      <a:cubicBezTo>
                        <a:pt x="112515" y="118999"/>
                        <a:pt x="114736" y="114427"/>
                        <a:pt x="117479" y="110247"/>
                      </a:cubicBezTo>
                      <a:cubicBezTo>
                        <a:pt x="120614" y="105545"/>
                        <a:pt x="124663" y="100712"/>
                        <a:pt x="129758" y="98099"/>
                      </a:cubicBezTo>
                      <a:cubicBezTo>
                        <a:pt x="134983" y="95487"/>
                        <a:pt x="140469" y="95095"/>
                        <a:pt x="145433" y="97055"/>
                      </a:cubicBezTo>
                      <a:cubicBezTo>
                        <a:pt x="147523" y="96140"/>
                        <a:pt x="149874" y="95748"/>
                        <a:pt x="151833" y="96532"/>
                      </a:cubicBezTo>
                      <a:cubicBezTo>
                        <a:pt x="155621" y="97969"/>
                        <a:pt x="158626" y="99798"/>
                        <a:pt x="161238" y="102932"/>
                      </a:cubicBezTo>
                      <a:cubicBezTo>
                        <a:pt x="163851" y="106068"/>
                        <a:pt x="165418" y="109072"/>
                        <a:pt x="166855" y="112860"/>
                      </a:cubicBezTo>
                      <a:cubicBezTo>
                        <a:pt x="167247" y="114036"/>
                        <a:pt x="167639" y="115211"/>
                        <a:pt x="168031" y="116387"/>
                      </a:cubicBezTo>
                      <a:cubicBezTo>
                        <a:pt x="168162" y="117040"/>
                        <a:pt x="168292" y="117824"/>
                        <a:pt x="168423" y="118477"/>
                      </a:cubicBezTo>
                      <a:cubicBezTo>
                        <a:pt x="168553" y="119652"/>
                        <a:pt x="168684" y="120698"/>
                        <a:pt x="168815" y="121873"/>
                      </a:cubicBezTo>
                      <a:cubicBezTo>
                        <a:pt x="168815" y="121612"/>
                        <a:pt x="168815" y="121351"/>
                        <a:pt x="168815" y="121089"/>
                      </a:cubicBezTo>
                      <a:cubicBezTo>
                        <a:pt x="168815" y="120175"/>
                        <a:pt x="168815" y="120044"/>
                        <a:pt x="168815" y="121089"/>
                      </a:cubicBezTo>
                      <a:cubicBezTo>
                        <a:pt x="168945" y="122265"/>
                        <a:pt x="169076" y="123310"/>
                        <a:pt x="169207" y="124486"/>
                      </a:cubicBezTo>
                      <a:cubicBezTo>
                        <a:pt x="169207" y="125008"/>
                        <a:pt x="169207" y="125661"/>
                        <a:pt x="169207" y="126184"/>
                      </a:cubicBezTo>
                      <a:cubicBezTo>
                        <a:pt x="169207" y="127621"/>
                        <a:pt x="169207" y="129057"/>
                        <a:pt x="168684" y="13049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71" name="Freeform: Shape 970">
                  <a:extLst>
                    <a:ext uri="{FF2B5EF4-FFF2-40B4-BE49-F238E27FC236}">
                      <a16:creationId xmlns:a16="http://schemas.microsoft.com/office/drawing/2014/main" id="{545E867E-830F-A884-7949-DC1105FBD867}"/>
                    </a:ext>
                  </a:extLst>
                </p:cNvPr>
                <p:cNvSpPr/>
                <p:nvPr/>
              </p:nvSpPr>
              <p:spPr>
                <a:xfrm>
                  <a:off x="2722477" y="5555977"/>
                  <a:ext cx="54430" cy="30768"/>
                </a:xfrm>
                <a:custGeom>
                  <a:avLst/>
                  <a:gdLst>
                    <a:gd name="connsiteX0" fmla="*/ 39019 w 54430"/>
                    <a:gd name="connsiteY0" fmla="*/ 1325 h 30768"/>
                    <a:gd name="connsiteX1" fmla="*/ 20079 w 54430"/>
                    <a:gd name="connsiteY1" fmla="*/ 6942 h 30768"/>
                    <a:gd name="connsiteX2" fmla="*/ 4142 w 54430"/>
                    <a:gd name="connsiteY2" fmla="*/ 11252 h 30768"/>
                    <a:gd name="connsiteX3" fmla="*/ 13417 w 54430"/>
                    <a:gd name="connsiteY3" fmla="*/ 30323 h 30768"/>
                    <a:gd name="connsiteX4" fmla="*/ 51559 w 54430"/>
                    <a:gd name="connsiteY4" fmla="*/ 17131 h 30768"/>
                    <a:gd name="connsiteX5" fmla="*/ 39019 w 54430"/>
                    <a:gd name="connsiteY5" fmla="*/ 1325 h 3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30" h="30768">
                      <a:moveTo>
                        <a:pt x="39019" y="1325"/>
                      </a:moveTo>
                      <a:cubicBezTo>
                        <a:pt x="33141" y="3415"/>
                        <a:pt x="31051" y="4982"/>
                        <a:pt x="20079" y="6942"/>
                      </a:cubicBezTo>
                      <a:cubicBezTo>
                        <a:pt x="14853" y="8640"/>
                        <a:pt x="8584" y="7726"/>
                        <a:pt x="4142" y="11252"/>
                      </a:cubicBezTo>
                      <a:cubicBezTo>
                        <a:pt x="-5132" y="18045"/>
                        <a:pt x="2575" y="33589"/>
                        <a:pt x="13417" y="30323"/>
                      </a:cubicBezTo>
                      <a:cubicBezTo>
                        <a:pt x="26479" y="27580"/>
                        <a:pt x="41370" y="27058"/>
                        <a:pt x="51559" y="17131"/>
                      </a:cubicBezTo>
                      <a:cubicBezTo>
                        <a:pt x="59527" y="7987"/>
                        <a:pt x="49469" y="-4031"/>
                        <a:pt x="39019" y="132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72" name="Freeform: Shape 971">
                  <a:extLst>
                    <a:ext uri="{FF2B5EF4-FFF2-40B4-BE49-F238E27FC236}">
                      <a16:creationId xmlns:a16="http://schemas.microsoft.com/office/drawing/2014/main" id="{58CF2397-DF9B-5E9E-5F0B-B323E21F8873}"/>
                    </a:ext>
                  </a:extLst>
                </p:cNvPr>
                <p:cNvSpPr/>
                <p:nvPr/>
              </p:nvSpPr>
              <p:spPr>
                <a:xfrm>
                  <a:off x="2804733" y="5460228"/>
                  <a:ext cx="28868" cy="37571"/>
                </a:xfrm>
                <a:custGeom>
                  <a:avLst/>
                  <a:gdLst>
                    <a:gd name="connsiteX0" fmla="*/ 28868 w 28868"/>
                    <a:gd name="connsiteY0" fmla="*/ 12298 h 37571"/>
                    <a:gd name="connsiteX1" fmla="*/ 28868 w 28868"/>
                    <a:gd name="connsiteY1" fmla="*/ 11907 h 37571"/>
                    <a:gd name="connsiteX2" fmla="*/ 28868 w 28868"/>
                    <a:gd name="connsiteY2" fmla="*/ 12168 h 37571"/>
                    <a:gd name="connsiteX3" fmla="*/ 27301 w 28868"/>
                    <a:gd name="connsiteY3" fmla="*/ 5767 h 37571"/>
                    <a:gd name="connsiteX4" fmla="*/ 6401 w 28868"/>
                    <a:gd name="connsiteY4" fmla="*/ 7465 h 37571"/>
                    <a:gd name="connsiteX5" fmla="*/ 5748 w 28868"/>
                    <a:gd name="connsiteY5" fmla="*/ 8902 h 37571"/>
                    <a:gd name="connsiteX6" fmla="*/ 3657 w 28868"/>
                    <a:gd name="connsiteY6" fmla="*/ 14258 h 37571"/>
                    <a:gd name="connsiteX7" fmla="*/ 1698 w 28868"/>
                    <a:gd name="connsiteY7" fmla="*/ 18569 h 37571"/>
                    <a:gd name="connsiteX8" fmla="*/ 0 w 28868"/>
                    <a:gd name="connsiteY8" fmla="*/ 24969 h 37571"/>
                    <a:gd name="connsiteX9" fmla="*/ 24296 w 28868"/>
                    <a:gd name="connsiteY9" fmla="*/ 28365 h 37571"/>
                    <a:gd name="connsiteX10" fmla="*/ 28476 w 28868"/>
                    <a:gd name="connsiteY10" fmla="*/ 14258 h 37571"/>
                    <a:gd name="connsiteX11" fmla="*/ 28737 w 28868"/>
                    <a:gd name="connsiteY11" fmla="*/ 12037 h 3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68" h="37571">
                      <a:moveTo>
                        <a:pt x="28868" y="12298"/>
                      </a:moveTo>
                      <a:cubicBezTo>
                        <a:pt x="28868" y="12298"/>
                        <a:pt x="28868" y="12037"/>
                        <a:pt x="28868" y="11907"/>
                      </a:cubicBezTo>
                      <a:cubicBezTo>
                        <a:pt x="28868" y="11907"/>
                        <a:pt x="28868" y="12168"/>
                        <a:pt x="28868" y="12168"/>
                      </a:cubicBezTo>
                      <a:cubicBezTo>
                        <a:pt x="28868" y="9947"/>
                        <a:pt x="28476" y="7726"/>
                        <a:pt x="27301" y="5767"/>
                      </a:cubicBezTo>
                      <a:cubicBezTo>
                        <a:pt x="22729" y="-2854"/>
                        <a:pt x="9536" y="-1417"/>
                        <a:pt x="6401" y="7465"/>
                      </a:cubicBezTo>
                      <a:cubicBezTo>
                        <a:pt x="6270" y="7857"/>
                        <a:pt x="6009" y="8380"/>
                        <a:pt x="5748" y="8902"/>
                      </a:cubicBezTo>
                      <a:cubicBezTo>
                        <a:pt x="4833" y="10600"/>
                        <a:pt x="4311" y="12429"/>
                        <a:pt x="3657" y="14258"/>
                      </a:cubicBezTo>
                      <a:cubicBezTo>
                        <a:pt x="3004" y="15564"/>
                        <a:pt x="2221" y="17523"/>
                        <a:pt x="1698" y="18569"/>
                      </a:cubicBezTo>
                      <a:cubicBezTo>
                        <a:pt x="523" y="20528"/>
                        <a:pt x="0" y="22748"/>
                        <a:pt x="0" y="24969"/>
                      </a:cubicBezTo>
                      <a:cubicBezTo>
                        <a:pt x="131" y="39599"/>
                        <a:pt x="20508" y="42473"/>
                        <a:pt x="24296" y="28365"/>
                      </a:cubicBezTo>
                      <a:cubicBezTo>
                        <a:pt x="26256" y="23793"/>
                        <a:pt x="27823" y="19091"/>
                        <a:pt x="28476" y="14258"/>
                      </a:cubicBezTo>
                      <a:cubicBezTo>
                        <a:pt x="28607" y="13605"/>
                        <a:pt x="28737" y="12821"/>
                        <a:pt x="28737" y="1203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73" name="Freeform: Shape 972">
                  <a:extLst>
                    <a:ext uri="{FF2B5EF4-FFF2-40B4-BE49-F238E27FC236}">
                      <a16:creationId xmlns:a16="http://schemas.microsoft.com/office/drawing/2014/main" id="{6678F3AA-8BC9-24D7-3C10-838214685F4F}"/>
                    </a:ext>
                  </a:extLst>
                </p:cNvPr>
                <p:cNvSpPr/>
                <p:nvPr/>
              </p:nvSpPr>
              <p:spPr>
                <a:xfrm>
                  <a:off x="2545840" y="5312102"/>
                  <a:ext cx="294172" cy="282950"/>
                </a:xfrm>
                <a:custGeom>
                  <a:avLst/>
                  <a:gdLst>
                    <a:gd name="connsiteX0" fmla="*/ 175815 w 294172"/>
                    <a:gd name="connsiteY0" fmla="*/ 282820 h 282950"/>
                    <a:gd name="connsiteX1" fmla="*/ 169807 w 294172"/>
                    <a:gd name="connsiteY1" fmla="*/ 278770 h 282950"/>
                    <a:gd name="connsiteX2" fmla="*/ 155438 w 294172"/>
                    <a:gd name="connsiteY2" fmla="*/ 247682 h 282950"/>
                    <a:gd name="connsiteX3" fmla="*/ 120692 w 294172"/>
                    <a:gd name="connsiteY3" fmla="*/ 247290 h 282950"/>
                    <a:gd name="connsiteX4" fmla="*/ 110895 w 294172"/>
                    <a:gd name="connsiteY4" fmla="*/ 265839 h 282950"/>
                    <a:gd name="connsiteX5" fmla="*/ 104494 w 294172"/>
                    <a:gd name="connsiteY5" fmla="*/ 277856 h 282950"/>
                    <a:gd name="connsiteX6" fmla="*/ 96396 w 294172"/>
                    <a:gd name="connsiteY6" fmla="*/ 280860 h 282950"/>
                    <a:gd name="connsiteX7" fmla="*/ 47019 w 294172"/>
                    <a:gd name="connsiteY7" fmla="*/ 244547 h 282950"/>
                    <a:gd name="connsiteX8" fmla="*/ 46758 w 294172"/>
                    <a:gd name="connsiteY8" fmla="*/ 236840 h 282950"/>
                    <a:gd name="connsiteX9" fmla="*/ 66352 w 294172"/>
                    <a:gd name="connsiteY9" fmla="*/ 207972 h 282950"/>
                    <a:gd name="connsiteX10" fmla="*/ 47019 w 294172"/>
                    <a:gd name="connsiteY10" fmla="*/ 173618 h 282950"/>
                    <a:gd name="connsiteX11" fmla="*/ 40227 w 294172"/>
                    <a:gd name="connsiteY11" fmla="*/ 175054 h 282950"/>
                    <a:gd name="connsiteX12" fmla="*/ 10706 w 294172"/>
                    <a:gd name="connsiteY12" fmla="*/ 180541 h 282950"/>
                    <a:gd name="connsiteX13" fmla="*/ 3521 w 294172"/>
                    <a:gd name="connsiteY13" fmla="*/ 175838 h 282950"/>
                    <a:gd name="connsiteX14" fmla="*/ 8485 w 294172"/>
                    <a:gd name="connsiteY14" fmla="*/ 100859 h 282950"/>
                    <a:gd name="connsiteX15" fmla="*/ 16192 w 294172"/>
                    <a:gd name="connsiteY15" fmla="*/ 96679 h 282950"/>
                    <a:gd name="connsiteX16" fmla="*/ 55118 w 294172"/>
                    <a:gd name="connsiteY16" fmla="*/ 106476 h 282950"/>
                    <a:gd name="connsiteX17" fmla="*/ 73798 w 294172"/>
                    <a:gd name="connsiteY17" fmla="*/ 73820 h 282950"/>
                    <a:gd name="connsiteX18" fmla="*/ 54465 w 294172"/>
                    <a:gd name="connsiteY18" fmla="*/ 44168 h 282950"/>
                    <a:gd name="connsiteX19" fmla="*/ 55771 w 294172"/>
                    <a:gd name="connsiteY19" fmla="*/ 36331 h 282950"/>
                    <a:gd name="connsiteX20" fmla="*/ 109981 w 294172"/>
                    <a:gd name="connsiteY20" fmla="*/ 2107 h 282950"/>
                    <a:gd name="connsiteX21" fmla="*/ 118210 w 294172"/>
                    <a:gd name="connsiteY21" fmla="*/ 4850 h 282950"/>
                    <a:gd name="connsiteX22" fmla="*/ 135191 w 294172"/>
                    <a:gd name="connsiteY22" fmla="*/ 39727 h 282950"/>
                    <a:gd name="connsiteX23" fmla="*/ 173203 w 294172"/>
                    <a:gd name="connsiteY23" fmla="*/ 38421 h 282950"/>
                    <a:gd name="connsiteX24" fmla="*/ 193058 w 294172"/>
                    <a:gd name="connsiteY24" fmla="*/ 3022 h 282950"/>
                    <a:gd name="connsiteX25" fmla="*/ 201549 w 294172"/>
                    <a:gd name="connsiteY25" fmla="*/ 670 h 282950"/>
                    <a:gd name="connsiteX26" fmla="*/ 245700 w 294172"/>
                    <a:gd name="connsiteY26" fmla="*/ 30322 h 282950"/>
                    <a:gd name="connsiteX27" fmla="*/ 256411 w 294172"/>
                    <a:gd name="connsiteY27" fmla="*/ 39727 h 282950"/>
                    <a:gd name="connsiteX28" fmla="*/ 261636 w 294172"/>
                    <a:gd name="connsiteY28" fmla="*/ 47172 h 282950"/>
                    <a:gd name="connsiteX29" fmla="*/ 260722 w 294172"/>
                    <a:gd name="connsiteY29" fmla="*/ 52398 h 282950"/>
                    <a:gd name="connsiteX30" fmla="*/ 251186 w 294172"/>
                    <a:gd name="connsiteY30" fmla="*/ 66244 h 282950"/>
                    <a:gd name="connsiteX31" fmla="*/ 238254 w 294172"/>
                    <a:gd name="connsiteY31" fmla="*/ 85184 h 282950"/>
                    <a:gd name="connsiteX32" fmla="*/ 249226 w 294172"/>
                    <a:gd name="connsiteY32" fmla="*/ 113530 h 282950"/>
                    <a:gd name="connsiteX33" fmla="*/ 289982 w 294172"/>
                    <a:gd name="connsiteY33" fmla="*/ 123327 h 282950"/>
                    <a:gd name="connsiteX34" fmla="*/ 293900 w 294172"/>
                    <a:gd name="connsiteY34" fmla="*/ 128944 h 282950"/>
                    <a:gd name="connsiteX35" fmla="*/ 285671 w 294172"/>
                    <a:gd name="connsiteY35" fmla="*/ 186549 h 282950"/>
                    <a:gd name="connsiteX36" fmla="*/ 279401 w 294172"/>
                    <a:gd name="connsiteY36" fmla="*/ 190729 h 282950"/>
                    <a:gd name="connsiteX37" fmla="*/ 274960 w 294172"/>
                    <a:gd name="connsiteY37" fmla="*/ 190729 h 282950"/>
                    <a:gd name="connsiteX38" fmla="*/ 244916 w 294172"/>
                    <a:gd name="connsiteY38" fmla="*/ 190468 h 282950"/>
                    <a:gd name="connsiteX39" fmla="*/ 226106 w 294172"/>
                    <a:gd name="connsiteY39" fmla="*/ 220904 h 282950"/>
                    <a:gd name="connsiteX40" fmla="*/ 242826 w 294172"/>
                    <a:gd name="connsiteY40" fmla="*/ 254344 h 282950"/>
                    <a:gd name="connsiteX41" fmla="*/ 239952 w 294172"/>
                    <a:gd name="connsiteY41" fmla="*/ 262442 h 282950"/>
                    <a:gd name="connsiteX42" fmla="*/ 176599 w 294172"/>
                    <a:gd name="connsiteY42" fmla="*/ 282950 h 282950"/>
                    <a:gd name="connsiteX43" fmla="*/ 175946 w 294172"/>
                    <a:gd name="connsiteY43" fmla="*/ 282950 h 282950"/>
                    <a:gd name="connsiteX44" fmla="*/ 158704 w 294172"/>
                    <a:gd name="connsiteY44" fmla="*/ 234227 h 282950"/>
                    <a:gd name="connsiteX45" fmla="*/ 164190 w 294172"/>
                    <a:gd name="connsiteY45" fmla="*/ 237232 h 282950"/>
                    <a:gd name="connsiteX46" fmla="*/ 179995 w 294172"/>
                    <a:gd name="connsiteY46" fmla="*/ 269365 h 282950"/>
                    <a:gd name="connsiteX47" fmla="*/ 228457 w 294172"/>
                    <a:gd name="connsiteY47" fmla="*/ 253691 h 282950"/>
                    <a:gd name="connsiteX48" fmla="*/ 212521 w 294172"/>
                    <a:gd name="connsiteY48" fmla="*/ 223255 h 282950"/>
                    <a:gd name="connsiteX49" fmla="*/ 213174 w 294172"/>
                    <a:gd name="connsiteY49" fmla="*/ 215940 h 282950"/>
                    <a:gd name="connsiteX50" fmla="*/ 234205 w 294172"/>
                    <a:gd name="connsiteY50" fmla="*/ 181847 h 282950"/>
                    <a:gd name="connsiteX51" fmla="*/ 239691 w 294172"/>
                    <a:gd name="connsiteY51" fmla="*/ 177667 h 282950"/>
                    <a:gd name="connsiteX52" fmla="*/ 275090 w 294172"/>
                    <a:gd name="connsiteY52" fmla="*/ 177405 h 282950"/>
                    <a:gd name="connsiteX53" fmla="*/ 281230 w 294172"/>
                    <a:gd name="connsiteY53" fmla="*/ 133646 h 282950"/>
                    <a:gd name="connsiteX54" fmla="*/ 244002 w 294172"/>
                    <a:gd name="connsiteY54" fmla="*/ 125940 h 282950"/>
                    <a:gd name="connsiteX55" fmla="*/ 238515 w 294172"/>
                    <a:gd name="connsiteY55" fmla="*/ 121629 h 282950"/>
                    <a:gd name="connsiteX56" fmla="*/ 225061 w 294172"/>
                    <a:gd name="connsiteY56" fmla="*/ 86752 h 282950"/>
                    <a:gd name="connsiteX57" fmla="*/ 225583 w 294172"/>
                    <a:gd name="connsiteY57" fmla="*/ 80874 h 282950"/>
                    <a:gd name="connsiteX58" fmla="*/ 240475 w 294172"/>
                    <a:gd name="connsiteY58" fmla="*/ 58798 h 282950"/>
                    <a:gd name="connsiteX59" fmla="*/ 247267 w 294172"/>
                    <a:gd name="connsiteY59" fmla="*/ 49001 h 282950"/>
                    <a:gd name="connsiteX60" fmla="*/ 237078 w 294172"/>
                    <a:gd name="connsiteY60" fmla="*/ 40119 h 282950"/>
                    <a:gd name="connsiteX61" fmla="*/ 200634 w 294172"/>
                    <a:gd name="connsiteY61" fmla="*/ 14908 h 282950"/>
                    <a:gd name="connsiteX62" fmla="*/ 182608 w 294172"/>
                    <a:gd name="connsiteY62" fmla="*/ 47957 h 282950"/>
                    <a:gd name="connsiteX63" fmla="*/ 176207 w 294172"/>
                    <a:gd name="connsiteY63" fmla="*/ 51483 h 282950"/>
                    <a:gd name="connsiteX64" fmla="*/ 132187 w 294172"/>
                    <a:gd name="connsiteY64" fmla="*/ 53181 h 282950"/>
                    <a:gd name="connsiteX65" fmla="*/ 125002 w 294172"/>
                    <a:gd name="connsiteY65" fmla="*/ 49262 h 282950"/>
                    <a:gd name="connsiteX66" fmla="*/ 109589 w 294172"/>
                    <a:gd name="connsiteY66" fmla="*/ 16345 h 282950"/>
                    <a:gd name="connsiteX67" fmla="*/ 68181 w 294172"/>
                    <a:gd name="connsiteY67" fmla="*/ 42470 h 282950"/>
                    <a:gd name="connsiteX68" fmla="*/ 86729 w 294172"/>
                    <a:gd name="connsiteY68" fmla="*/ 69640 h 282950"/>
                    <a:gd name="connsiteX69" fmla="*/ 86991 w 294172"/>
                    <a:gd name="connsiteY69" fmla="*/ 76955 h 282950"/>
                    <a:gd name="connsiteX70" fmla="*/ 64654 w 294172"/>
                    <a:gd name="connsiteY70" fmla="*/ 116665 h 282950"/>
                    <a:gd name="connsiteX71" fmla="*/ 57208 w 294172"/>
                    <a:gd name="connsiteY71" fmla="*/ 120322 h 282950"/>
                    <a:gd name="connsiteX72" fmla="*/ 18935 w 294172"/>
                    <a:gd name="connsiteY72" fmla="*/ 110787 h 282950"/>
                    <a:gd name="connsiteX73" fmla="*/ 14755 w 294172"/>
                    <a:gd name="connsiteY73" fmla="*/ 166956 h 282950"/>
                    <a:gd name="connsiteX74" fmla="*/ 37614 w 294172"/>
                    <a:gd name="connsiteY74" fmla="*/ 162514 h 282950"/>
                    <a:gd name="connsiteX75" fmla="*/ 49763 w 294172"/>
                    <a:gd name="connsiteY75" fmla="*/ 160032 h 282950"/>
                    <a:gd name="connsiteX76" fmla="*/ 56947 w 294172"/>
                    <a:gd name="connsiteY76" fmla="*/ 163951 h 282950"/>
                    <a:gd name="connsiteX77" fmla="*/ 79284 w 294172"/>
                    <a:gd name="connsiteY77" fmla="*/ 203661 h 282950"/>
                    <a:gd name="connsiteX78" fmla="*/ 79676 w 294172"/>
                    <a:gd name="connsiteY78" fmla="*/ 211107 h 282950"/>
                    <a:gd name="connsiteX79" fmla="*/ 60082 w 294172"/>
                    <a:gd name="connsiteY79" fmla="*/ 240367 h 282950"/>
                    <a:gd name="connsiteX80" fmla="*/ 95612 w 294172"/>
                    <a:gd name="connsiteY80" fmla="*/ 266753 h 282950"/>
                    <a:gd name="connsiteX81" fmla="*/ 99139 w 294172"/>
                    <a:gd name="connsiteY81" fmla="*/ 259960 h 282950"/>
                    <a:gd name="connsiteX82" fmla="*/ 111156 w 294172"/>
                    <a:gd name="connsiteY82" fmla="*/ 237493 h 282950"/>
                    <a:gd name="connsiteX83" fmla="*/ 117426 w 294172"/>
                    <a:gd name="connsiteY83" fmla="*/ 234227 h 282950"/>
                    <a:gd name="connsiteX84" fmla="*/ 157397 w 294172"/>
                    <a:gd name="connsiteY84" fmla="*/ 234619 h 282950"/>
                    <a:gd name="connsiteX85" fmla="*/ 158312 w 294172"/>
                    <a:gd name="connsiteY85" fmla="*/ 234619 h 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94172" h="282950">
                      <a:moveTo>
                        <a:pt x="175815" y="282820"/>
                      </a:moveTo>
                      <a:cubicBezTo>
                        <a:pt x="173203" y="282820"/>
                        <a:pt x="170852" y="281252"/>
                        <a:pt x="169807" y="278770"/>
                      </a:cubicBezTo>
                      <a:cubicBezTo>
                        <a:pt x="165627" y="268059"/>
                        <a:pt x="161577" y="257870"/>
                        <a:pt x="155438" y="247682"/>
                      </a:cubicBezTo>
                      <a:cubicBezTo>
                        <a:pt x="143682" y="248988"/>
                        <a:pt x="131925" y="248335"/>
                        <a:pt x="120692" y="247290"/>
                      </a:cubicBezTo>
                      <a:cubicBezTo>
                        <a:pt x="117426" y="253299"/>
                        <a:pt x="114161" y="259438"/>
                        <a:pt x="110895" y="265839"/>
                      </a:cubicBezTo>
                      <a:cubicBezTo>
                        <a:pt x="108805" y="269757"/>
                        <a:pt x="106715" y="273807"/>
                        <a:pt x="104494" y="277856"/>
                      </a:cubicBezTo>
                      <a:cubicBezTo>
                        <a:pt x="102927" y="280730"/>
                        <a:pt x="99531" y="282036"/>
                        <a:pt x="96396" y="280860"/>
                      </a:cubicBezTo>
                      <a:cubicBezTo>
                        <a:pt x="76802" y="273154"/>
                        <a:pt x="59690" y="260614"/>
                        <a:pt x="47019" y="244547"/>
                      </a:cubicBezTo>
                      <a:cubicBezTo>
                        <a:pt x="45191" y="242326"/>
                        <a:pt x="45191" y="239191"/>
                        <a:pt x="46758" y="236840"/>
                      </a:cubicBezTo>
                      <a:cubicBezTo>
                        <a:pt x="53028" y="227957"/>
                        <a:pt x="59559" y="218814"/>
                        <a:pt x="66352" y="207972"/>
                      </a:cubicBezTo>
                      <a:cubicBezTo>
                        <a:pt x="59298" y="198436"/>
                        <a:pt x="52897" y="187072"/>
                        <a:pt x="47019" y="173618"/>
                      </a:cubicBezTo>
                      <a:cubicBezTo>
                        <a:pt x="44799" y="174140"/>
                        <a:pt x="42448" y="174532"/>
                        <a:pt x="40227" y="175054"/>
                      </a:cubicBezTo>
                      <a:cubicBezTo>
                        <a:pt x="30822" y="177013"/>
                        <a:pt x="21156" y="179104"/>
                        <a:pt x="10706" y="180541"/>
                      </a:cubicBezTo>
                      <a:cubicBezTo>
                        <a:pt x="7440" y="180932"/>
                        <a:pt x="4436" y="178973"/>
                        <a:pt x="3521" y="175838"/>
                      </a:cubicBezTo>
                      <a:cubicBezTo>
                        <a:pt x="-2487" y="153501"/>
                        <a:pt x="-789" y="128291"/>
                        <a:pt x="8485" y="100859"/>
                      </a:cubicBezTo>
                      <a:cubicBezTo>
                        <a:pt x="9530" y="97725"/>
                        <a:pt x="12926" y="95896"/>
                        <a:pt x="16192" y="96679"/>
                      </a:cubicBezTo>
                      <a:cubicBezTo>
                        <a:pt x="28993" y="99945"/>
                        <a:pt x="41664" y="103211"/>
                        <a:pt x="55118" y="106476"/>
                      </a:cubicBezTo>
                      <a:cubicBezTo>
                        <a:pt x="60474" y="95243"/>
                        <a:pt x="67136" y="84401"/>
                        <a:pt x="73798" y="73820"/>
                      </a:cubicBezTo>
                      <a:cubicBezTo>
                        <a:pt x="67528" y="65329"/>
                        <a:pt x="60604" y="55533"/>
                        <a:pt x="54465" y="44168"/>
                      </a:cubicBezTo>
                      <a:cubicBezTo>
                        <a:pt x="53028" y="41556"/>
                        <a:pt x="53551" y="38290"/>
                        <a:pt x="55771" y="36331"/>
                      </a:cubicBezTo>
                      <a:cubicBezTo>
                        <a:pt x="70271" y="23138"/>
                        <a:pt x="88427" y="11643"/>
                        <a:pt x="109981" y="2107"/>
                      </a:cubicBezTo>
                      <a:cubicBezTo>
                        <a:pt x="112985" y="801"/>
                        <a:pt x="116642" y="1976"/>
                        <a:pt x="118210" y="4850"/>
                      </a:cubicBezTo>
                      <a:cubicBezTo>
                        <a:pt x="124480" y="16084"/>
                        <a:pt x="130227" y="27840"/>
                        <a:pt x="135191" y="39727"/>
                      </a:cubicBezTo>
                      <a:cubicBezTo>
                        <a:pt x="147731" y="37898"/>
                        <a:pt x="160532" y="37376"/>
                        <a:pt x="173203" y="38421"/>
                      </a:cubicBezTo>
                      <a:cubicBezTo>
                        <a:pt x="179081" y="27057"/>
                        <a:pt x="185351" y="15300"/>
                        <a:pt x="193058" y="3022"/>
                      </a:cubicBezTo>
                      <a:cubicBezTo>
                        <a:pt x="194887" y="148"/>
                        <a:pt x="198544" y="-767"/>
                        <a:pt x="201549" y="670"/>
                      </a:cubicBezTo>
                      <a:cubicBezTo>
                        <a:pt x="217223" y="8899"/>
                        <a:pt x="232115" y="18827"/>
                        <a:pt x="245700" y="30322"/>
                      </a:cubicBezTo>
                      <a:cubicBezTo>
                        <a:pt x="249357" y="33457"/>
                        <a:pt x="252884" y="36592"/>
                        <a:pt x="256411" y="39727"/>
                      </a:cubicBezTo>
                      <a:cubicBezTo>
                        <a:pt x="258240" y="41425"/>
                        <a:pt x="260852" y="43646"/>
                        <a:pt x="261636" y="47172"/>
                      </a:cubicBezTo>
                      <a:cubicBezTo>
                        <a:pt x="262028" y="49001"/>
                        <a:pt x="261636" y="50830"/>
                        <a:pt x="260722" y="52398"/>
                      </a:cubicBezTo>
                      <a:cubicBezTo>
                        <a:pt x="257587" y="56969"/>
                        <a:pt x="254452" y="61541"/>
                        <a:pt x="251186" y="66244"/>
                      </a:cubicBezTo>
                      <a:cubicBezTo>
                        <a:pt x="247006" y="72253"/>
                        <a:pt x="242695" y="78523"/>
                        <a:pt x="238254" y="85184"/>
                      </a:cubicBezTo>
                      <a:cubicBezTo>
                        <a:pt x="241912" y="94459"/>
                        <a:pt x="245700" y="103994"/>
                        <a:pt x="249226" y="113530"/>
                      </a:cubicBezTo>
                      <a:cubicBezTo>
                        <a:pt x="260591" y="114706"/>
                        <a:pt x="274698" y="117057"/>
                        <a:pt x="289982" y="123327"/>
                      </a:cubicBezTo>
                      <a:cubicBezTo>
                        <a:pt x="292333" y="124241"/>
                        <a:pt x="293770" y="126462"/>
                        <a:pt x="293900" y="128944"/>
                      </a:cubicBezTo>
                      <a:cubicBezTo>
                        <a:pt x="295076" y="149583"/>
                        <a:pt x="292463" y="168393"/>
                        <a:pt x="285671" y="186549"/>
                      </a:cubicBezTo>
                      <a:cubicBezTo>
                        <a:pt x="284756" y="189162"/>
                        <a:pt x="282144" y="190860"/>
                        <a:pt x="279401" y="190729"/>
                      </a:cubicBezTo>
                      <a:lnTo>
                        <a:pt x="274960" y="190729"/>
                      </a:lnTo>
                      <a:cubicBezTo>
                        <a:pt x="265293" y="190207"/>
                        <a:pt x="255366" y="189815"/>
                        <a:pt x="244916" y="190468"/>
                      </a:cubicBezTo>
                      <a:cubicBezTo>
                        <a:pt x="240736" y="200265"/>
                        <a:pt x="234597" y="210062"/>
                        <a:pt x="226106" y="220904"/>
                      </a:cubicBezTo>
                      <a:cubicBezTo>
                        <a:pt x="231854" y="231092"/>
                        <a:pt x="237732" y="241804"/>
                        <a:pt x="242826" y="254344"/>
                      </a:cubicBezTo>
                      <a:cubicBezTo>
                        <a:pt x="244132" y="257348"/>
                        <a:pt x="242826" y="260875"/>
                        <a:pt x="239952" y="262442"/>
                      </a:cubicBezTo>
                      <a:cubicBezTo>
                        <a:pt x="219183" y="273807"/>
                        <a:pt x="197891" y="280599"/>
                        <a:pt x="176599" y="282950"/>
                      </a:cubicBezTo>
                      <a:cubicBezTo>
                        <a:pt x="176338" y="282950"/>
                        <a:pt x="176077" y="282950"/>
                        <a:pt x="175946" y="282950"/>
                      </a:cubicBezTo>
                      <a:close/>
                      <a:moveTo>
                        <a:pt x="158704" y="234227"/>
                      </a:moveTo>
                      <a:cubicBezTo>
                        <a:pt x="160924" y="234227"/>
                        <a:pt x="162884" y="235272"/>
                        <a:pt x="164190" y="237232"/>
                      </a:cubicBezTo>
                      <a:cubicBezTo>
                        <a:pt x="171113" y="248073"/>
                        <a:pt x="175815" y="258915"/>
                        <a:pt x="179995" y="269365"/>
                      </a:cubicBezTo>
                      <a:cubicBezTo>
                        <a:pt x="196193" y="267014"/>
                        <a:pt x="212521" y="261789"/>
                        <a:pt x="228457" y="253691"/>
                      </a:cubicBezTo>
                      <a:cubicBezTo>
                        <a:pt x="223494" y="242587"/>
                        <a:pt x="218007" y="232791"/>
                        <a:pt x="212521" y="223255"/>
                      </a:cubicBezTo>
                      <a:cubicBezTo>
                        <a:pt x="211215" y="220904"/>
                        <a:pt x="211476" y="218030"/>
                        <a:pt x="213174" y="215940"/>
                      </a:cubicBezTo>
                      <a:cubicBezTo>
                        <a:pt x="223494" y="203400"/>
                        <a:pt x="230155" y="192558"/>
                        <a:pt x="234205" y="181847"/>
                      </a:cubicBezTo>
                      <a:cubicBezTo>
                        <a:pt x="235119" y="179495"/>
                        <a:pt x="237209" y="177928"/>
                        <a:pt x="239691" y="177667"/>
                      </a:cubicBezTo>
                      <a:cubicBezTo>
                        <a:pt x="252362" y="176491"/>
                        <a:pt x="263987" y="176883"/>
                        <a:pt x="275090" y="177405"/>
                      </a:cubicBezTo>
                      <a:cubicBezTo>
                        <a:pt x="279662" y="163559"/>
                        <a:pt x="281752" y="149191"/>
                        <a:pt x="281230" y="133646"/>
                      </a:cubicBezTo>
                      <a:cubicBezTo>
                        <a:pt x="267122" y="128421"/>
                        <a:pt x="254060" y="126723"/>
                        <a:pt x="244002" y="125940"/>
                      </a:cubicBezTo>
                      <a:cubicBezTo>
                        <a:pt x="241520" y="125678"/>
                        <a:pt x="239299" y="124111"/>
                        <a:pt x="238515" y="121629"/>
                      </a:cubicBezTo>
                      <a:cubicBezTo>
                        <a:pt x="234335" y="109873"/>
                        <a:pt x="229633" y="98116"/>
                        <a:pt x="225061" y="86752"/>
                      </a:cubicBezTo>
                      <a:cubicBezTo>
                        <a:pt x="224277" y="84792"/>
                        <a:pt x="224538" y="82572"/>
                        <a:pt x="225583" y="80874"/>
                      </a:cubicBezTo>
                      <a:cubicBezTo>
                        <a:pt x="230809" y="72775"/>
                        <a:pt x="235772" y="65721"/>
                        <a:pt x="240475" y="58798"/>
                      </a:cubicBezTo>
                      <a:cubicBezTo>
                        <a:pt x="242826" y="55533"/>
                        <a:pt x="245047" y="52267"/>
                        <a:pt x="247267" y="49001"/>
                      </a:cubicBezTo>
                      <a:cubicBezTo>
                        <a:pt x="243871" y="45997"/>
                        <a:pt x="240605" y="42993"/>
                        <a:pt x="237078" y="40119"/>
                      </a:cubicBezTo>
                      <a:cubicBezTo>
                        <a:pt x="225714" y="30583"/>
                        <a:pt x="213566" y="22093"/>
                        <a:pt x="200634" y="14908"/>
                      </a:cubicBezTo>
                      <a:cubicBezTo>
                        <a:pt x="193842" y="26273"/>
                        <a:pt x="188094" y="37245"/>
                        <a:pt x="182608" y="47957"/>
                      </a:cubicBezTo>
                      <a:cubicBezTo>
                        <a:pt x="181432" y="50308"/>
                        <a:pt x="178820" y="51744"/>
                        <a:pt x="176207" y="51483"/>
                      </a:cubicBezTo>
                      <a:cubicBezTo>
                        <a:pt x="161577" y="50046"/>
                        <a:pt x="146817" y="50569"/>
                        <a:pt x="132187" y="53181"/>
                      </a:cubicBezTo>
                      <a:cubicBezTo>
                        <a:pt x="129182" y="53704"/>
                        <a:pt x="126178" y="52136"/>
                        <a:pt x="125002" y="49262"/>
                      </a:cubicBezTo>
                      <a:cubicBezTo>
                        <a:pt x="120431" y="38029"/>
                        <a:pt x="115336" y="26926"/>
                        <a:pt x="109589" y="16345"/>
                      </a:cubicBezTo>
                      <a:cubicBezTo>
                        <a:pt x="93522" y="23921"/>
                        <a:pt x="79676" y="32673"/>
                        <a:pt x="68181" y="42470"/>
                      </a:cubicBezTo>
                      <a:cubicBezTo>
                        <a:pt x="74189" y="52790"/>
                        <a:pt x="80851" y="61933"/>
                        <a:pt x="86729" y="69640"/>
                      </a:cubicBezTo>
                      <a:cubicBezTo>
                        <a:pt x="88297" y="71730"/>
                        <a:pt x="88427" y="74734"/>
                        <a:pt x="86991" y="76955"/>
                      </a:cubicBezTo>
                      <a:cubicBezTo>
                        <a:pt x="78631" y="90410"/>
                        <a:pt x="70662" y="103080"/>
                        <a:pt x="64654" y="116665"/>
                      </a:cubicBezTo>
                      <a:cubicBezTo>
                        <a:pt x="63347" y="119539"/>
                        <a:pt x="60213" y="121106"/>
                        <a:pt x="57208" y="120322"/>
                      </a:cubicBezTo>
                      <a:cubicBezTo>
                        <a:pt x="44015" y="117057"/>
                        <a:pt x="31344" y="113922"/>
                        <a:pt x="18935" y="110787"/>
                      </a:cubicBezTo>
                      <a:cubicBezTo>
                        <a:pt x="12796" y="131164"/>
                        <a:pt x="11359" y="150105"/>
                        <a:pt x="14755" y="166956"/>
                      </a:cubicBezTo>
                      <a:cubicBezTo>
                        <a:pt x="22723" y="165649"/>
                        <a:pt x="30299" y="164082"/>
                        <a:pt x="37614" y="162514"/>
                      </a:cubicBezTo>
                      <a:cubicBezTo>
                        <a:pt x="41664" y="161600"/>
                        <a:pt x="45713" y="160816"/>
                        <a:pt x="49763" y="160032"/>
                      </a:cubicBezTo>
                      <a:cubicBezTo>
                        <a:pt x="52767" y="159379"/>
                        <a:pt x="55771" y="161077"/>
                        <a:pt x="56947" y="163951"/>
                      </a:cubicBezTo>
                      <a:cubicBezTo>
                        <a:pt x="63609" y="180279"/>
                        <a:pt x="70924" y="193211"/>
                        <a:pt x="79284" y="203661"/>
                      </a:cubicBezTo>
                      <a:cubicBezTo>
                        <a:pt x="80982" y="205751"/>
                        <a:pt x="81112" y="208756"/>
                        <a:pt x="79676" y="211107"/>
                      </a:cubicBezTo>
                      <a:cubicBezTo>
                        <a:pt x="72752" y="222340"/>
                        <a:pt x="66352" y="231615"/>
                        <a:pt x="60082" y="240367"/>
                      </a:cubicBezTo>
                      <a:cubicBezTo>
                        <a:pt x="69748" y="251470"/>
                        <a:pt x="81896" y="260483"/>
                        <a:pt x="95612" y="266753"/>
                      </a:cubicBezTo>
                      <a:cubicBezTo>
                        <a:pt x="96787" y="264402"/>
                        <a:pt x="97963" y="262181"/>
                        <a:pt x="99139" y="259960"/>
                      </a:cubicBezTo>
                      <a:cubicBezTo>
                        <a:pt x="103188" y="252123"/>
                        <a:pt x="107107" y="244808"/>
                        <a:pt x="111156" y="237493"/>
                      </a:cubicBezTo>
                      <a:cubicBezTo>
                        <a:pt x="112463" y="235272"/>
                        <a:pt x="114944" y="233966"/>
                        <a:pt x="117426" y="234227"/>
                      </a:cubicBezTo>
                      <a:cubicBezTo>
                        <a:pt x="130358" y="235534"/>
                        <a:pt x="144204" y="236578"/>
                        <a:pt x="157397" y="234619"/>
                      </a:cubicBezTo>
                      <a:cubicBezTo>
                        <a:pt x="157659" y="234619"/>
                        <a:pt x="158050" y="234619"/>
                        <a:pt x="158312" y="23461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74" name="Freeform: Shape 973">
                  <a:extLst>
                    <a:ext uri="{FF2B5EF4-FFF2-40B4-BE49-F238E27FC236}">
                      <a16:creationId xmlns:a16="http://schemas.microsoft.com/office/drawing/2014/main" id="{C906298C-2353-3990-296E-D309B743097C}"/>
                    </a:ext>
                  </a:extLst>
                </p:cNvPr>
                <p:cNvSpPr/>
                <p:nvPr/>
              </p:nvSpPr>
              <p:spPr>
                <a:xfrm>
                  <a:off x="2654715" y="5407835"/>
                  <a:ext cx="70395" cy="74096"/>
                </a:xfrm>
                <a:custGeom>
                  <a:avLst/>
                  <a:gdLst>
                    <a:gd name="connsiteX0" fmla="*/ 31541 w 70395"/>
                    <a:gd name="connsiteY0" fmla="*/ 74097 h 74096"/>
                    <a:gd name="connsiteX1" fmla="*/ 14821 w 70395"/>
                    <a:gd name="connsiteY1" fmla="*/ 70570 h 74096"/>
                    <a:gd name="connsiteX2" fmla="*/ 4371 w 70395"/>
                    <a:gd name="connsiteY2" fmla="*/ 62602 h 74096"/>
                    <a:gd name="connsiteX3" fmla="*/ 191 w 70395"/>
                    <a:gd name="connsiteY3" fmla="*/ 48886 h 74096"/>
                    <a:gd name="connsiteX4" fmla="*/ 9596 w 70395"/>
                    <a:gd name="connsiteY4" fmla="*/ 13487 h 74096"/>
                    <a:gd name="connsiteX5" fmla="*/ 45126 w 70395"/>
                    <a:gd name="connsiteY5" fmla="*/ 1469 h 74096"/>
                    <a:gd name="connsiteX6" fmla="*/ 47477 w 70395"/>
                    <a:gd name="connsiteY6" fmla="*/ 2906 h 74096"/>
                    <a:gd name="connsiteX7" fmla="*/ 70336 w 70395"/>
                    <a:gd name="connsiteY7" fmla="*/ 33995 h 74096"/>
                    <a:gd name="connsiteX8" fmla="*/ 52571 w 70395"/>
                    <a:gd name="connsiteY8" fmla="*/ 68219 h 74096"/>
                    <a:gd name="connsiteX9" fmla="*/ 31541 w 70395"/>
                    <a:gd name="connsiteY9" fmla="*/ 74097 h 74096"/>
                    <a:gd name="connsiteX10" fmla="*/ 36243 w 70395"/>
                    <a:gd name="connsiteY10" fmla="*/ 12965 h 74096"/>
                    <a:gd name="connsiteX11" fmla="*/ 19784 w 70395"/>
                    <a:gd name="connsiteY11" fmla="*/ 21455 h 74096"/>
                    <a:gd name="connsiteX12" fmla="*/ 13123 w 70395"/>
                    <a:gd name="connsiteY12" fmla="*/ 47972 h 74096"/>
                    <a:gd name="connsiteX13" fmla="*/ 14951 w 70395"/>
                    <a:gd name="connsiteY13" fmla="*/ 55287 h 74096"/>
                    <a:gd name="connsiteX14" fmla="*/ 20046 w 70395"/>
                    <a:gd name="connsiteY14" fmla="*/ 58944 h 74096"/>
                    <a:gd name="connsiteX15" fmla="*/ 45648 w 70395"/>
                    <a:gd name="connsiteY15" fmla="*/ 57377 h 74096"/>
                    <a:gd name="connsiteX16" fmla="*/ 57404 w 70395"/>
                    <a:gd name="connsiteY16" fmla="*/ 34779 h 74096"/>
                    <a:gd name="connsiteX17" fmla="*/ 43166 w 70395"/>
                    <a:gd name="connsiteY17" fmla="*/ 15055 h 74096"/>
                    <a:gd name="connsiteX18" fmla="*/ 42252 w 70395"/>
                    <a:gd name="connsiteY18" fmla="*/ 14793 h 74096"/>
                    <a:gd name="connsiteX19" fmla="*/ 38725 w 70395"/>
                    <a:gd name="connsiteY19" fmla="*/ 13095 h 74096"/>
                    <a:gd name="connsiteX20" fmla="*/ 36243 w 70395"/>
                    <a:gd name="connsiteY20" fmla="*/ 12965 h 7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395" h="74096">
                      <a:moveTo>
                        <a:pt x="31541" y="74097"/>
                      </a:moveTo>
                      <a:cubicBezTo>
                        <a:pt x="25924" y="74097"/>
                        <a:pt x="20176" y="72921"/>
                        <a:pt x="14821" y="70570"/>
                      </a:cubicBezTo>
                      <a:cubicBezTo>
                        <a:pt x="10118" y="68480"/>
                        <a:pt x="6722" y="65867"/>
                        <a:pt x="4371" y="62602"/>
                      </a:cubicBezTo>
                      <a:cubicBezTo>
                        <a:pt x="1236" y="58161"/>
                        <a:pt x="452" y="52936"/>
                        <a:pt x="191" y="48886"/>
                      </a:cubicBezTo>
                      <a:cubicBezTo>
                        <a:pt x="-854" y="35171"/>
                        <a:pt x="2411" y="22631"/>
                        <a:pt x="9596" y="13487"/>
                      </a:cubicBezTo>
                      <a:cubicBezTo>
                        <a:pt x="18348" y="2253"/>
                        <a:pt x="32978" y="-2711"/>
                        <a:pt x="45126" y="1469"/>
                      </a:cubicBezTo>
                      <a:cubicBezTo>
                        <a:pt x="46040" y="1731"/>
                        <a:pt x="46824" y="2253"/>
                        <a:pt x="47477" y="2906"/>
                      </a:cubicBezTo>
                      <a:cubicBezTo>
                        <a:pt x="60147" y="7348"/>
                        <a:pt x="69552" y="20018"/>
                        <a:pt x="70336" y="33995"/>
                      </a:cubicBezTo>
                      <a:cubicBezTo>
                        <a:pt x="71120" y="47449"/>
                        <a:pt x="64066" y="60904"/>
                        <a:pt x="52571" y="68219"/>
                      </a:cubicBezTo>
                      <a:cubicBezTo>
                        <a:pt x="46301" y="72138"/>
                        <a:pt x="38986" y="74097"/>
                        <a:pt x="31541" y="74097"/>
                      </a:cubicBezTo>
                      <a:close/>
                      <a:moveTo>
                        <a:pt x="36243" y="12965"/>
                      </a:moveTo>
                      <a:cubicBezTo>
                        <a:pt x="30365" y="12965"/>
                        <a:pt x="23965" y="16099"/>
                        <a:pt x="19784" y="21455"/>
                      </a:cubicBezTo>
                      <a:cubicBezTo>
                        <a:pt x="14690" y="27986"/>
                        <a:pt x="12339" y="37391"/>
                        <a:pt x="13123" y="47972"/>
                      </a:cubicBezTo>
                      <a:cubicBezTo>
                        <a:pt x="13253" y="50323"/>
                        <a:pt x="13645" y="53328"/>
                        <a:pt x="14951" y="55287"/>
                      </a:cubicBezTo>
                      <a:cubicBezTo>
                        <a:pt x="15866" y="56593"/>
                        <a:pt x="17564" y="57769"/>
                        <a:pt x="20046" y="58944"/>
                      </a:cubicBezTo>
                      <a:cubicBezTo>
                        <a:pt x="28406" y="62602"/>
                        <a:pt x="38203" y="62079"/>
                        <a:pt x="45648" y="57377"/>
                      </a:cubicBezTo>
                      <a:cubicBezTo>
                        <a:pt x="53224" y="52674"/>
                        <a:pt x="57927" y="43531"/>
                        <a:pt x="57404" y="34779"/>
                      </a:cubicBezTo>
                      <a:cubicBezTo>
                        <a:pt x="56882" y="26027"/>
                        <a:pt x="50873" y="17798"/>
                        <a:pt x="43166" y="15055"/>
                      </a:cubicBezTo>
                      <a:lnTo>
                        <a:pt x="42252" y="14793"/>
                      </a:lnTo>
                      <a:cubicBezTo>
                        <a:pt x="41468" y="14532"/>
                        <a:pt x="40031" y="14140"/>
                        <a:pt x="38725" y="13095"/>
                      </a:cubicBezTo>
                      <a:cubicBezTo>
                        <a:pt x="37941" y="12965"/>
                        <a:pt x="37027" y="12965"/>
                        <a:pt x="36243" y="1296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35" name="Group 34">
                <a:extLst>
                  <a:ext uri="{FF2B5EF4-FFF2-40B4-BE49-F238E27FC236}">
                    <a16:creationId xmlns:a16="http://schemas.microsoft.com/office/drawing/2014/main" id="{36E7A4B0-4F0E-67D9-698C-7F5D31BC09DC}"/>
                  </a:ext>
                </a:extLst>
              </p:cNvPr>
              <p:cNvGrpSpPr/>
              <p:nvPr userDrawn="1"/>
            </p:nvGrpSpPr>
            <p:grpSpPr>
              <a:xfrm>
                <a:off x="7039261" y="1697779"/>
                <a:ext cx="426027" cy="422013"/>
                <a:chOff x="8353314" y="765717"/>
                <a:chExt cx="426027" cy="422013"/>
              </a:xfrm>
            </p:grpSpPr>
            <p:sp>
              <p:nvSpPr>
                <p:cNvPr id="770" name="Freeform: Shape 769">
                  <a:extLst>
                    <a:ext uri="{FF2B5EF4-FFF2-40B4-BE49-F238E27FC236}">
                      <a16:creationId xmlns:a16="http://schemas.microsoft.com/office/drawing/2014/main" id="{EA2358A2-B556-EB64-0F84-0070AC93615F}"/>
                    </a:ext>
                  </a:extLst>
                </p:cNvPr>
                <p:cNvSpPr/>
                <p:nvPr/>
              </p:nvSpPr>
              <p:spPr>
                <a:xfrm>
                  <a:off x="8513978" y="911300"/>
                  <a:ext cx="96086" cy="104774"/>
                </a:xfrm>
                <a:custGeom>
                  <a:avLst/>
                  <a:gdLst>
                    <a:gd name="connsiteX0" fmla="*/ 47992 w 108166"/>
                    <a:gd name="connsiteY0" fmla="*/ 114572 h 114571"/>
                    <a:gd name="connsiteX1" fmla="*/ 21998 w 108166"/>
                    <a:gd name="connsiteY1" fmla="*/ 109086 h 114571"/>
                    <a:gd name="connsiteX2" fmla="*/ 6454 w 108166"/>
                    <a:gd name="connsiteY2" fmla="*/ 97199 h 114571"/>
                    <a:gd name="connsiteX3" fmla="*/ 314 w 108166"/>
                    <a:gd name="connsiteY3" fmla="*/ 76560 h 114571"/>
                    <a:gd name="connsiteX4" fmla="*/ 14944 w 108166"/>
                    <a:gd name="connsiteY4" fmla="*/ 20783 h 114571"/>
                    <a:gd name="connsiteX5" fmla="*/ 69284 w 108166"/>
                    <a:gd name="connsiteY5" fmla="*/ 2235 h 114571"/>
                    <a:gd name="connsiteX6" fmla="*/ 72158 w 108166"/>
                    <a:gd name="connsiteY6" fmla="*/ 4194 h 114571"/>
                    <a:gd name="connsiteX7" fmla="*/ 72811 w 108166"/>
                    <a:gd name="connsiteY7" fmla="*/ 4455 h 114571"/>
                    <a:gd name="connsiteX8" fmla="*/ 108080 w 108166"/>
                    <a:gd name="connsiteY8" fmla="*/ 52394 h 114571"/>
                    <a:gd name="connsiteX9" fmla="*/ 80518 w 108166"/>
                    <a:gd name="connsiteY9" fmla="*/ 105297 h 114571"/>
                    <a:gd name="connsiteX10" fmla="*/ 47862 w 108166"/>
                    <a:gd name="connsiteY10" fmla="*/ 114441 h 114571"/>
                    <a:gd name="connsiteX11" fmla="*/ 55830 w 108166"/>
                    <a:gd name="connsiteY11" fmla="*/ 13076 h 114571"/>
                    <a:gd name="connsiteX12" fmla="*/ 25133 w 108166"/>
                    <a:gd name="connsiteY12" fmla="*/ 28882 h 114571"/>
                    <a:gd name="connsiteX13" fmla="*/ 13246 w 108166"/>
                    <a:gd name="connsiteY13" fmla="*/ 75776 h 114571"/>
                    <a:gd name="connsiteX14" fmla="*/ 17165 w 108166"/>
                    <a:gd name="connsiteY14" fmla="*/ 90014 h 114571"/>
                    <a:gd name="connsiteX15" fmla="*/ 27354 w 108166"/>
                    <a:gd name="connsiteY15" fmla="*/ 97460 h 114571"/>
                    <a:gd name="connsiteX16" fmla="*/ 73856 w 108166"/>
                    <a:gd name="connsiteY16" fmla="*/ 94586 h 114571"/>
                    <a:gd name="connsiteX17" fmla="*/ 95409 w 108166"/>
                    <a:gd name="connsiteY17" fmla="*/ 53309 h 114571"/>
                    <a:gd name="connsiteX18" fmla="*/ 68892 w 108166"/>
                    <a:gd name="connsiteY18" fmla="*/ 16865 h 114571"/>
                    <a:gd name="connsiteX19" fmla="*/ 67194 w 108166"/>
                    <a:gd name="connsiteY19" fmla="*/ 16342 h 114571"/>
                    <a:gd name="connsiteX20" fmla="*/ 61839 w 108166"/>
                    <a:gd name="connsiteY20" fmla="*/ 13729 h 114571"/>
                    <a:gd name="connsiteX21" fmla="*/ 55960 w 108166"/>
                    <a:gd name="connsiteY21" fmla="*/ 13207 h 114571"/>
                    <a:gd name="connsiteX22" fmla="*/ 67194 w 108166"/>
                    <a:gd name="connsiteY22" fmla="*/ 8505 h 114571"/>
                    <a:gd name="connsiteX23" fmla="*/ 68631 w 108166"/>
                    <a:gd name="connsiteY23" fmla="*/ 14775 h 114571"/>
                    <a:gd name="connsiteX24" fmla="*/ 68631 w 108166"/>
                    <a:gd name="connsiteY24" fmla="*/ 14775 h 114571"/>
                    <a:gd name="connsiteX25" fmla="*/ 67194 w 108166"/>
                    <a:gd name="connsiteY25" fmla="*/ 8505 h 11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8166" h="114571">
                      <a:moveTo>
                        <a:pt x="47992" y="114572"/>
                      </a:moveTo>
                      <a:cubicBezTo>
                        <a:pt x="39110" y="114572"/>
                        <a:pt x="30227" y="112743"/>
                        <a:pt x="21998" y="109086"/>
                      </a:cubicBezTo>
                      <a:cubicBezTo>
                        <a:pt x="14944" y="105951"/>
                        <a:pt x="9850" y="102032"/>
                        <a:pt x="6454" y="97199"/>
                      </a:cubicBezTo>
                      <a:cubicBezTo>
                        <a:pt x="1882" y="90668"/>
                        <a:pt x="706" y="82699"/>
                        <a:pt x="314" y="76560"/>
                      </a:cubicBezTo>
                      <a:cubicBezTo>
                        <a:pt x="-1384" y="54746"/>
                        <a:pt x="3841" y="35021"/>
                        <a:pt x="14944" y="20783"/>
                      </a:cubicBezTo>
                      <a:cubicBezTo>
                        <a:pt x="28399" y="3541"/>
                        <a:pt x="50736" y="-4166"/>
                        <a:pt x="69284" y="2235"/>
                      </a:cubicBezTo>
                      <a:cubicBezTo>
                        <a:pt x="70460" y="2626"/>
                        <a:pt x="71505" y="3280"/>
                        <a:pt x="72158" y="4194"/>
                      </a:cubicBezTo>
                      <a:cubicBezTo>
                        <a:pt x="72419" y="4194"/>
                        <a:pt x="72550" y="4325"/>
                        <a:pt x="72811" y="4455"/>
                      </a:cubicBezTo>
                      <a:cubicBezTo>
                        <a:pt x="92405" y="11117"/>
                        <a:pt x="106904" y="30841"/>
                        <a:pt x="108080" y="52394"/>
                      </a:cubicBezTo>
                      <a:cubicBezTo>
                        <a:pt x="109255" y="73294"/>
                        <a:pt x="98413" y="94064"/>
                        <a:pt x="80518" y="105297"/>
                      </a:cubicBezTo>
                      <a:cubicBezTo>
                        <a:pt x="70852" y="111437"/>
                        <a:pt x="59487" y="114441"/>
                        <a:pt x="47862" y="114441"/>
                      </a:cubicBezTo>
                      <a:close/>
                      <a:moveTo>
                        <a:pt x="55830" y="13076"/>
                      </a:moveTo>
                      <a:cubicBezTo>
                        <a:pt x="44727" y="13076"/>
                        <a:pt x="32840" y="18955"/>
                        <a:pt x="25133" y="28882"/>
                      </a:cubicBezTo>
                      <a:cubicBezTo>
                        <a:pt x="15989" y="40508"/>
                        <a:pt x="11809" y="57228"/>
                        <a:pt x="13246" y="75776"/>
                      </a:cubicBezTo>
                      <a:cubicBezTo>
                        <a:pt x="13638" y="80348"/>
                        <a:pt x="14291" y="85965"/>
                        <a:pt x="17165" y="90014"/>
                      </a:cubicBezTo>
                      <a:cubicBezTo>
                        <a:pt x="19124" y="92888"/>
                        <a:pt x="22521" y="95370"/>
                        <a:pt x="27354" y="97460"/>
                      </a:cubicBezTo>
                      <a:cubicBezTo>
                        <a:pt x="42506" y="104252"/>
                        <a:pt x="60271" y="103077"/>
                        <a:pt x="73856" y="94586"/>
                      </a:cubicBezTo>
                      <a:cubicBezTo>
                        <a:pt x="87702" y="85965"/>
                        <a:pt x="96323" y="69376"/>
                        <a:pt x="95409" y="53309"/>
                      </a:cubicBezTo>
                      <a:cubicBezTo>
                        <a:pt x="94495" y="37111"/>
                        <a:pt x="83392" y="21698"/>
                        <a:pt x="68892" y="16865"/>
                      </a:cubicBezTo>
                      <a:cubicBezTo>
                        <a:pt x="68370" y="16734"/>
                        <a:pt x="67717" y="16473"/>
                        <a:pt x="67194" y="16342"/>
                      </a:cubicBezTo>
                      <a:cubicBezTo>
                        <a:pt x="65757" y="15950"/>
                        <a:pt x="63537" y="15297"/>
                        <a:pt x="61839" y="13729"/>
                      </a:cubicBezTo>
                      <a:cubicBezTo>
                        <a:pt x="59879" y="13338"/>
                        <a:pt x="57920" y="13207"/>
                        <a:pt x="55960" y="13207"/>
                      </a:cubicBezTo>
                      <a:close/>
                      <a:moveTo>
                        <a:pt x="67194" y="8505"/>
                      </a:moveTo>
                      <a:lnTo>
                        <a:pt x="68631" y="14775"/>
                      </a:lnTo>
                      <a:cubicBezTo>
                        <a:pt x="68631" y="14775"/>
                        <a:pt x="68631" y="14775"/>
                        <a:pt x="68631" y="14775"/>
                      </a:cubicBezTo>
                      <a:lnTo>
                        <a:pt x="67194" y="8505"/>
                      </a:ln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2" name="Freeform: Shape 1">
                  <a:extLst>
                    <a:ext uri="{FF2B5EF4-FFF2-40B4-BE49-F238E27FC236}">
                      <a16:creationId xmlns:a16="http://schemas.microsoft.com/office/drawing/2014/main" id="{FD88E02F-8A55-D0F3-A1F1-FBA00357E95C}"/>
                    </a:ext>
                  </a:extLst>
                </p:cNvPr>
                <p:cNvSpPr/>
                <p:nvPr userDrawn="1"/>
              </p:nvSpPr>
              <p:spPr>
                <a:xfrm>
                  <a:off x="8353314" y="765717"/>
                  <a:ext cx="426027" cy="422013"/>
                </a:xfrm>
                <a:custGeom>
                  <a:avLst/>
                  <a:gdLst>
                    <a:gd name="connsiteX0" fmla="*/ 287506 w 479589"/>
                    <a:gd name="connsiteY0" fmla="*/ 461473 h 461473"/>
                    <a:gd name="connsiteX1" fmla="*/ 281497 w 479589"/>
                    <a:gd name="connsiteY1" fmla="*/ 457424 h 461473"/>
                    <a:gd name="connsiteX2" fmla="*/ 255895 w 479589"/>
                    <a:gd name="connsiteY2" fmla="*/ 402823 h 461473"/>
                    <a:gd name="connsiteX3" fmla="*/ 193587 w 479589"/>
                    <a:gd name="connsiteY3" fmla="*/ 402170 h 461473"/>
                    <a:gd name="connsiteX4" fmla="*/ 175822 w 479589"/>
                    <a:gd name="connsiteY4" fmla="*/ 435348 h 461473"/>
                    <a:gd name="connsiteX5" fmla="*/ 165241 w 479589"/>
                    <a:gd name="connsiteY5" fmla="*/ 455334 h 461473"/>
                    <a:gd name="connsiteX6" fmla="*/ 157142 w 479589"/>
                    <a:gd name="connsiteY6" fmla="*/ 458338 h 461473"/>
                    <a:gd name="connsiteX7" fmla="*/ 77069 w 479589"/>
                    <a:gd name="connsiteY7" fmla="*/ 399296 h 461473"/>
                    <a:gd name="connsiteX8" fmla="*/ 76808 w 479589"/>
                    <a:gd name="connsiteY8" fmla="*/ 391589 h 461473"/>
                    <a:gd name="connsiteX9" fmla="*/ 111162 w 479589"/>
                    <a:gd name="connsiteY9" fmla="*/ 340907 h 461473"/>
                    <a:gd name="connsiteX10" fmla="*/ 76416 w 479589"/>
                    <a:gd name="connsiteY10" fmla="*/ 279252 h 461473"/>
                    <a:gd name="connsiteX11" fmla="*/ 61656 w 479589"/>
                    <a:gd name="connsiteY11" fmla="*/ 282387 h 461473"/>
                    <a:gd name="connsiteX12" fmla="*/ 12933 w 479589"/>
                    <a:gd name="connsiteY12" fmla="*/ 291531 h 461473"/>
                    <a:gd name="connsiteX13" fmla="*/ 5748 w 479589"/>
                    <a:gd name="connsiteY13" fmla="*/ 286828 h 461473"/>
                    <a:gd name="connsiteX14" fmla="*/ 13847 w 479589"/>
                    <a:gd name="connsiteY14" fmla="*/ 164825 h 461473"/>
                    <a:gd name="connsiteX15" fmla="*/ 21554 w 479589"/>
                    <a:gd name="connsiteY15" fmla="*/ 160645 h 461473"/>
                    <a:gd name="connsiteX16" fmla="*/ 89479 w 479589"/>
                    <a:gd name="connsiteY16" fmla="*/ 177626 h 461473"/>
                    <a:gd name="connsiteX17" fmla="*/ 123180 w 479589"/>
                    <a:gd name="connsiteY17" fmla="*/ 118192 h 461473"/>
                    <a:gd name="connsiteX18" fmla="*/ 89609 w 479589"/>
                    <a:gd name="connsiteY18" fmla="*/ 66987 h 461473"/>
                    <a:gd name="connsiteX19" fmla="*/ 90916 w 479589"/>
                    <a:gd name="connsiteY19" fmla="*/ 59149 h 461473"/>
                    <a:gd name="connsiteX20" fmla="*/ 179610 w 479589"/>
                    <a:gd name="connsiteY20" fmla="*/ 3111 h 461473"/>
                    <a:gd name="connsiteX21" fmla="*/ 187839 w 479589"/>
                    <a:gd name="connsiteY21" fmla="*/ 5854 h 461473"/>
                    <a:gd name="connsiteX22" fmla="*/ 217099 w 479589"/>
                    <a:gd name="connsiteY22" fmla="*/ 66333 h 461473"/>
                    <a:gd name="connsiteX23" fmla="*/ 285285 w 479589"/>
                    <a:gd name="connsiteY23" fmla="*/ 63852 h 461473"/>
                    <a:gd name="connsiteX24" fmla="*/ 319378 w 479589"/>
                    <a:gd name="connsiteY24" fmla="*/ 2980 h 461473"/>
                    <a:gd name="connsiteX25" fmla="*/ 327869 w 479589"/>
                    <a:gd name="connsiteY25" fmla="*/ 760 h 461473"/>
                    <a:gd name="connsiteX26" fmla="*/ 400366 w 479589"/>
                    <a:gd name="connsiteY26" fmla="*/ 49483 h 461473"/>
                    <a:gd name="connsiteX27" fmla="*/ 418131 w 479589"/>
                    <a:gd name="connsiteY27" fmla="*/ 65158 h 461473"/>
                    <a:gd name="connsiteX28" fmla="*/ 425576 w 479589"/>
                    <a:gd name="connsiteY28" fmla="*/ 75477 h 461473"/>
                    <a:gd name="connsiteX29" fmla="*/ 424662 w 479589"/>
                    <a:gd name="connsiteY29" fmla="*/ 80702 h 461473"/>
                    <a:gd name="connsiteX30" fmla="*/ 408987 w 479589"/>
                    <a:gd name="connsiteY30" fmla="*/ 103562 h 461473"/>
                    <a:gd name="connsiteX31" fmla="*/ 386258 w 479589"/>
                    <a:gd name="connsiteY31" fmla="*/ 137001 h 461473"/>
                    <a:gd name="connsiteX32" fmla="*/ 406113 w 479589"/>
                    <a:gd name="connsiteY32" fmla="*/ 188468 h 461473"/>
                    <a:gd name="connsiteX33" fmla="*/ 475214 w 479589"/>
                    <a:gd name="connsiteY33" fmla="*/ 204665 h 461473"/>
                    <a:gd name="connsiteX34" fmla="*/ 479132 w 479589"/>
                    <a:gd name="connsiteY34" fmla="*/ 210282 h 461473"/>
                    <a:gd name="connsiteX35" fmla="*/ 465678 w 479589"/>
                    <a:gd name="connsiteY35" fmla="*/ 304071 h 461473"/>
                    <a:gd name="connsiteX36" fmla="*/ 459408 w 479589"/>
                    <a:gd name="connsiteY36" fmla="*/ 308251 h 461473"/>
                    <a:gd name="connsiteX37" fmla="*/ 452093 w 479589"/>
                    <a:gd name="connsiteY37" fmla="*/ 307989 h 461473"/>
                    <a:gd name="connsiteX38" fmla="*/ 398929 w 479589"/>
                    <a:gd name="connsiteY38" fmla="*/ 307989 h 461473"/>
                    <a:gd name="connsiteX39" fmla="*/ 365358 w 479589"/>
                    <a:gd name="connsiteY39" fmla="*/ 362199 h 461473"/>
                    <a:gd name="connsiteX40" fmla="*/ 394357 w 479589"/>
                    <a:gd name="connsiteY40" fmla="*/ 419674 h 461473"/>
                    <a:gd name="connsiteX41" fmla="*/ 391483 w 479589"/>
                    <a:gd name="connsiteY41" fmla="*/ 427772 h 461473"/>
                    <a:gd name="connsiteX42" fmla="*/ 287898 w 479589"/>
                    <a:gd name="connsiteY42" fmla="*/ 461343 h 461473"/>
                    <a:gd name="connsiteX43" fmla="*/ 287245 w 479589"/>
                    <a:gd name="connsiteY43" fmla="*/ 461343 h 461473"/>
                    <a:gd name="connsiteX44" fmla="*/ 259160 w 479589"/>
                    <a:gd name="connsiteY44" fmla="*/ 389369 h 461473"/>
                    <a:gd name="connsiteX45" fmla="*/ 264647 w 479589"/>
                    <a:gd name="connsiteY45" fmla="*/ 392373 h 461473"/>
                    <a:gd name="connsiteX46" fmla="*/ 291686 w 479589"/>
                    <a:gd name="connsiteY46" fmla="*/ 448019 h 461473"/>
                    <a:gd name="connsiteX47" fmla="*/ 380511 w 479589"/>
                    <a:gd name="connsiteY47" fmla="*/ 419282 h 461473"/>
                    <a:gd name="connsiteX48" fmla="*/ 352296 w 479589"/>
                    <a:gd name="connsiteY48" fmla="*/ 364811 h 461473"/>
                    <a:gd name="connsiteX49" fmla="*/ 352949 w 479589"/>
                    <a:gd name="connsiteY49" fmla="*/ 357496 h 461473"/>
                    <a:gd name="connsiteX50" fmla="*/ 388609 w 479589"/>
                    <a:gd name="connsiteY50" fmla="*/ 299760 h 461473"/>
                    <a:gd name="connsiteX51" fmla="*/ 394096 w 479589"/>
                    <a:gd name="connsiteY51" fmla="*/ 295580 h 461473"/>
                    <a:gd name="connsiteX52" fmla="*/ 452877 w 479589"/>
                    <a:gd name="connsiteY52" fmla="*/ 295057 h 461473"/>
                    <a:gd name="connsiteX53" fmla="*/ 455489 w 479589"/>
                    <a:gd name="connsiteY53" fmla="*/ 295057 h 461473"/>
                    <a:gd name="connsiteX54" fmla="*/ 466723 w 479589"/>
                    <a:gd name="connsiteY54" fmla="*/ 215115 h 461473"/>
                    <a:gd name="connsiteX55" fmla="*/ 401149 w 479589"/>
                    <a:gd name="connsiteY55" fmla="*/ 201008 h 461473"/>
                    <a:gd name="connsiteX56" fmla="*/ 395663 w 479589"/>
                    <a:gd name="connsiteY56" fmla="*/ 196697 h 461473"/>
                    <a:gd name="connsiteX57" fmla="*/ 373326 w 479589"/>
                    <a:gd name="connsiteY57" fmla="*/ 138700 h 461473"/>
                    <a:gd name="connsiteX58" fmla="*/ 373849 w 479589"/>
                    <a:gd name="connsiteY58" fmla="*/ 132821 h 461473"/>
                    <a:gd name="connsiteX59" fmla="*/ 398667 w 479589"/>
                    <a:gd name="connsiteY59" fmla="*/ 96116 h 461473"/>
                    <a:gd name="connsiteX60" fmla="*/ 411991 w 479589"/>
                    <a:gd name="connsiteY60" fmla="*/ 76783 h 461473"/>
                    <a:gd name="connsiteX61" fmla="*/ 409771 w 479589"/>
                    <a:gd name="connsiteY61" fmla="*/ 74693 h 461473"/>
                    <a:gd name="connsiteX62" fmla="*/ 392397 w 479589"/>
                    <a:gd name="connsiteY62" fmla="*/ 59280 h 461473"/>
                    <a:gd name="connsiteX63" fmla="*/ 327608 w 479589"/>
                    <a:gd name="connsiteY63" fmla="*/ 14998 h 461473"/>
                    <a:gd name="connsiteX64" fmla="*/ 295213 w 479589"/>
                    <a:gd name="connsiteY64" fmla="*/ 73779 h 461473"/>
                    <a:gd name="connsiteX65" fmla="*/ 288812 w 479589"/>
                    <a:gd name="connsiteY65" fmla="*/ 77175 h 461473"/>
                    <a:gd name="connsiteX66" fmla="*/ 214617 w 479589"/>
                    <a:gd name="connsiteY66" fmla="*/ 79918 h 461473"/>
                    <a:gd name="connsiteX67" fmla="*/ 207433 w 479589"/>
                    <a:gd name="connsiteY67" fmla="*/ 76000 h 461473"/>
                    <a:gd name="connsiteX68" fmla="*/ 179740 w 479589"/>
                    <a:gd name="connsiteY68" fmla="*/ 17349 h 461473"/>
                    <a:gd name="connsiteX69" fmla="*/ 103717 w 479589"/>
                    <a:gd name="connsiteY69" fmla="*/ 65288 h 461473"/>
                    <a:gd name="connsiteX70" fmla="*/ 136504 w 479589"/>
                    <a:gd name="connsiteY70" fmla="*/ 114012 h 461473"/>
                    <a:gd name="connsiteX71" fmla="*/ 136765 w 479589"/>
                    <a:gd name="connsiteY71" fmla="*/ 121327 h 461473"/>
                    <a:gd name="connsiteX72" fmla="*/ 99406 w 479589"/>
                    <a:gd name="connsiteY72" fmla="*/ 187815 h 461473"/>
                    <a:gd name="connsiteX73" fmla="*/ 91961 w 479589"/>
                    <a:gd name="connsiteY73" fmla="*/ 191472 h 461473"/>
                    <a:gd name="connsiteX74" fmla="*/ 24558 w 479589"/>
                    <a:gd name="connsiteY74" fmla="*/ 174621 h 461473"/>
                    <a:gd name="connsiteX75" fmla="*/ 17113 w 479589"/>
                    <a:gd name="connsiteY75" fmla="*/ 277815 h 461473"/>
                    <a:gd name="connsiteX76" fmla="*/ 59174 w 479589"/>
                    <a:gd name="connsiteY76" fmla="*/ 269716 h 461473"/>
                    <a:gd name="connsiteX77" fmla="*/ 79290 w 479589"/>
                    <a:gd name="connsiteY77" fmla="*/ 265536 h 461473"/>
                    <a:gd name="connsiteX78" fmla="*/ 86474 w 479589"/>
                    <a:gd name="connsiteY78" fmla="*/ 269455 h 461473"/>
                    <a:gd name="connsiteX79" fmla="*/ 124225 w 479589"/>
                    <a:gd name="connsiteY79" fmla="*/ 336465 h 461473"/>
                    <a:gd name="connsiteX80" fmla="*/ 124617 w 479589"/>
                    <a:gd name="connsiteY80" fmla="*/ 343911 h 461473"/>
                    <a:gd name="connsiteX81" fmla="*/ 90393 w 479589"/>
                    <a:gd name="connsiteY81" fmla="*/ 394985 h 461473"/>
                    <a:gd name="connsiteX82" fmla="*/ 156750 w 479589"/>
                    <a:gd name="connsiteY82" fmla="*/ 444100 h 461473"/>
                    <a:gd name="connsiteX83" fmla="*/ 164457 w 479589"/>
                    <a:gd name="connsiteY83" fmla="*/ 429340 h 461473"/>
                    <a:gd name="connsiteX84" fmla="*/ 184443 w 479589"/>
                    <a:gd name="connsiteY84" fmla="*/ 392112 h 461473"/>
                    <a:gd name="connsiteX85" fmla="*/ 190713 w 479589"/>
                    <a:gd name="connsiteY85" fmla="*/ 388846 h 461473"/>
                    <a:gd name="connsiteX86" fmla="*/ 258246 w 479589"/>
                    <a:gd name="connsiteY86" fmla="*/ 389499 h 461473"/>
                    <a:gd name="connsiteX87" fmla="*/ 259160 w 479589"/>
                    <a:gd name="connsiteY87" fmla="*/ 389499 h 46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79589" h="461473">
                      <a:moveTo>
                        <a:pt x="287506" y="461473"/>
                      </a:moveTo>
                      <a:cubicBezTo>
                        <a:pt x="284893" y="461473"/>
                        <a:pt x="282542" y="459906"/>
                        <a:pt x="281497" y="457424"/>
                      </a:cubicBezTo>
                      <a:cubicBezTo>
                        <a:pt x="274052" y="438614"/>
                        <a:pt x="266998" y="420849"/>
                        <a:pt x="255895" y="402823"/>
                      </a:cubicBezTo>
                      <a:cubicBezTo>
                        <a:pt x="234733" y="405435"/>
                        <a:pt x="213572" y="404129"/>
                        <a:pt x="193587" y="402170"/>
                      </a:cubicBezTo>
                      <a:cubicBezTo>
                        <a:pt x="187578" y="412881"/>
                        <a:pt x="181961" y="423854"/>
                        <a:pt x="175822" y="435348"/>
                      </a:cubicBezTo>
                      <a:cubicBezTo>
                        <a:pt x="172425" y="441880"/>
                        <a:pt x="168899" y="448542"/>
                        <a:pt x="165241" y="455334"/>
                      </a:cubicBezTo>
                      <a:cubicBezTo>
                        <a:pt x="163674" y="458208"/>
                        <a:pt x="160277" y="459514"/>
                        <a:pt x="157142" y="458338"/>
                      </a:cubicBezTo>
                      <a:cubicBezTo>
                        <a:pt x="125270" y="445798"/>
                        <a:pt x="97577" y="425421"/>
                        <a:pt x="77069" y="399296"/>
                      </a:cubicBezTo>
                      <a:cubicBezTo>
                        <a:pt x="75241" y="397075"/>
                        <a:pt x="75241" y="393940"/>
                        <a:pt x="76808" y="391589"/>
                      </a:cubicBezTo>
                      <a:cubicBezTo>
                        <a:pt x="87780" y="376175"/>
                        <a:pt x="99014" y="360239"/>
                        <a:pt x="111162" y="340907"/>
                      </a:cubicBezTo>
                      <a:cubicBezTo>
                        <a:pt x="98361" y="324056"/>
                        <a:pt x="86866" y="303809"/>
                        <a:pt x="76416" y="279252"/>
                      </a:cubicBezTo>
                      <a:cubicBezTo>
                        <a:pt x="71452" y="280297"/>
                        <a:pt x="66619" y="281342"/>
                        <a:pt x="61656" y="282387"/>
                      </a:cubicBezTo>
                      <a:cubicBezTo>
                        <a:pt x="46242" y="285652"/>
                        <a:pt x="30175" y="289049"/>
                        <a:pt x="12933" y="291531"/>
                      </a:cubicBezTo>
                      <a:cubicBezTo>
                        <a:pt x="9667" y="291922"/>
                        <a:pt x="6663" y="289963"/>
                        <a:pt x="5748" y="286828"/>
                      </a:cubicBezTo>
                      <a:cubicBezTo>
                        <a:pt x="-4049" y="250514"/>
                        <a:pt x="-1306" y="209498"/>
                        <a:pt x="13847" y="164825"/>
                      </a:cubicBezTo>
                      <a:cubicBezTo>
                        <a:pt x="14892" y="161690"/>
                        <a:pt x="18288" y="159861"/>
                        <a:pt x="21554" y="160645"/>
                      </a:cubicBezTo>
                      <a:cubicBezTo>
                        <a:pt x="42193" y="165870"/>
                        <a:pt x="65444" y="171748"/>
                        <a:pt x="89479" y="177626"/>
                      </a:cubicBezTo>
                      <a:cubicBezTo>
                        <a:pt x="99014" y="157248"/>
                        <a:pt x="110771" y="138177"/>
                        <a:pt x="123180" y="118192"/>
                      </a:cubicBezTo>
                      <a:cubicBezTo>
                        <a:pt x="112338" y="103692"/>
                        <a:pt x="100321" y="86842"/>
                        <a:pt x="89609" y="66987"/>
                      </a:cubicBezTo>
                      <a:cubicBezTo>
                        <a:pt x="88172" y="64374"/>
                        <a:pt x="88695" y="61108"/>
                        <a:pt x="90916" y="59149"/>
                      </a:cubicBezTo>
                      <a:cubicBezTo>
                        <a:pt x="114559" y="37465"/>
                        <a:pt x="144472" y="18655"/>
                        <a:pt x="179610" y="3111"/>
                      </a:cubicBezTo>
                      <a:cubicBezTo>
                        <a:pt x="182614" y="1805"/>
                        <a:pt x="186272" y="2980"/>
                        <a:pt x="187839" y="5854"/>
                      </a:cubicBezTo>
                      <a:cubicBezTo>
                        <a:pt x="198681" y="25317"/>
                        <a:pt x="208608" y="45695"/>
                        <a:pt x="217099" y="66333"/>
                      </a:cubicBezTo>
                      <a:cubicBezTo>
                        <a:pt x="239697" y="62676"/>
                        <a:pt x="262556" y="61892"/>
                        <a:pt x="285285" y="63852"/>
                      </a:cubicBezTo>
                      <a:cubicBezTo>
                        <a:pt x="295474" y="44258"/>
                        <a:pt x="306055" y="24142"/>
                        <a:pt x="319378" y="2980"/>
                      </a:cubicBezTo>
                      <a:cubicBezTo>
                        <a:pt x="321207" y="107"/>
                        <a:pt x="324865" y="-808"/>
                        <a:pt x="327869" y="760"/>
                      </a:cubicBezTo>
                      <a:cubicBezTo>
                        <a:pt x="353602" y="14214"/>
                        <a:pt x="378029" y="30542"/>
                        <a:pt x="400366" y="49483"/>
                      </a:cubicBezTo>
                      <a:cubicBezTo>
                        <a:pt x="406374" y="54577"/>
                        <a:pt x="412383" y="59933"/>
                        <a:pt x="418131" y="65158"/>
                      </a:cubicBezTo>
                      <a:cubicBezTo>
                        <a:pt x="421004" y="67640"/>
                        <a:pt x="424401" y="70775"/>
                        <a:pt x="425576" y="75477"/>
                      </a:cubicBezTo>
                      <a:cubicBezTo>
                        <a:pt x="425968" y="77306"/>
                        <a:pt x="425576" y="79135"/>
                        <a:pt x="424662" y="80702"/>
                      </a:cubicBezTo>
                      <a:cubicBezTo>
                        <a:pt x="419567" y="88278"/>
                        <a:pt x="414342" y="95855"/>
                        <a:pt x="408987" y="103562"/>
                      </a:cubicBezTo>
                      <a:cubicBezTo>
                        <a:pt x="401672" y="114142"/>
                        <a:pt x="394096" y="124984"/>
                        <a:pt x="386258" y="137001"/>
                      </a:cubicBezTo>
                      <a:cubicBezTo>
                        <a:pt x="393051" y="153852"/>
                        <a:pt x="399843" y="171225"/>
                        <a:pt x="406113" y="188468"/>
                      </a:cubicBezTo>
                      <a:cubicBezTo>
                        <a:pt x="425054" y="190296"/>
                        <a:pt x="449219" y="193954"/>
                        <a:pt x="475214" y="204665"/>
                      </a:cubicBezTo>
                      <a:cubicBezTo>
                        <a:pt x="477565" y="205579"/>
                        <a:pt x="479002" y="207800"/>
                        <a:pt x="479132" y="210282"/>
                      </a:cubicBezTo>
                      <a:cubicBezTo>
                        <a:pt x="481092" y="243853"/>
                        <a:pt x="476781" y="274549"/>
                        <a:pt x="465678" y="304071"/>
                      </a:cubicBezTo>
                      <a:cubicBezTo>
                        <a:pt x="464764" y="306683"/>
                        <a:pt x="462151" y="308381"/>
                        <a:pt x="459408" y="308251"/>
                      </a:cubicBezTo>
                      <a:lnTo>
                        <a:pt x="452093" y="307989"/>
                      </a:lnTo>
                      <a:cubicBezTo>
                        <a:pt x="435112" y="307336"/>
                        <a:pt x="417739" y="306552"/>
                        <a:pt x="398929" y="307989"/>
                      </a:cubicBezTo>
                      <a:cubicBezTo>
                        <a:pt x="391875" y="325362"/>
                        <a:pt x="381164" y="342735"/>
                        <a:pt x="365358" y="362199"/>
                      </a:cubicBezTo>
                      <a:cubicBezTo>
                        <a:pt x="375286" y="379833"/>
                        <a:pt x="385474" y="398120"/>
                        <a:pt x="394357" y="419674"/>
                      </a:cubicBezTo>
                      <a:cubicBezTo>
                        <a:pt x="395663" y="422678"/>
                        <a:pt x="394357" y="426205"/>
                        <a:pt x="391483" y="427772"/>
                      </a:cubicBezTo>
                      <a:cubicBezTo>
                        <a:pt x="357521" y="446321"/>
                        <a:pt x="322774" y="457555"/>
                        <a:pt x="287898" y="461343"/>
                      </a:cubicBezTo>
                      <a:cubicBezTo>
                        <a:pt x="287636" y="461343"/>
                        <a:pt x="287375" y="461343"/>
                        <a:pt x="287245" y="461343"/>
                      </a:cubicBezTo>
                      <a:close/>
                      <a:moveTo>
                        <a:pt x="259160" y="389369"/>
                      </a:moveTo>
                      <a:cubicBezTo>
                        <a:pt x="261381" y="389369"/>
                        <a:pt x="263340" y="390414"/>
                        <a:pt x="264647" y="392373"/>
                      </a:cubicBezTo>
                      <a:cubicBezTo>
                        <a:pt x="276664" y="411052"/>
                        <a:pt x="284502" y="429862"/>
                        <a:pt x="291686" y="448019"/>
                      </a:cubicBezTo>
                      <a:cubicBezTo>
                        <a:pt x="321468" y="444231"/>
                        <a:pt x="351251" y="434565"/>
                        <a:pt x="380511" y="419282"/>
                      </a:cubicBezTo>
                      <a:cubicBezTo>
                        <a:pt x="371759" y="399165"/>
                        <a:pt x="361962" y="381662"/>
                        <a:pt x="352296" y="364811"/>
                      </a:cubicBezTo>
                      <a:cubicBezTo>
                        <a:pt x="350989" y="362460"/>
                        <a:pt x="351251" y="359586"/>
                        <a:pt x="352949" y="357496"/>
                      </a:cubicBezTo>
                      <a:cubicBezTo>
                        <a:pt x="370452" y="336335"/>
                        <a:pt x="381817" y="317917"/>
                        <a:pt x="388609" y="299760"/>
                      </a:cubicBezTo>
                      <a:cubicBezTo>
                        <a:pt x="389524" y="297409"/>
                        <a:pt x="391614" y="295841"/>
                        <a:pt x="394096" y="295580"/>
                      </a:cubicBezTo>
                      <a:cubicBezTo>
                        <a:pt x="415126" y="293621"/>
                        <a:pt x="434328" y="294404"/>
                        <a:pt x="452877" y="295057"/>
                      </a:cubicBezTo>
                      <a:lnTo>
                        <a:pt x="455489" y="295057"/>
                      </a:lnTo>
                      <a:cubicBezTo>
                        <a:pt x="464372" y="269977"/>
                        <a:pt x="468029" y="243591"/>
                        <a:pt x="466723" y="215115"/>
                      </a:cubicBezTo>
                      <a:cubicBezTo>
                        <a:pt x="441904" y="205449"/>
                        <a:pt x="418784" y="202444"/>
                        <a:pt x="401149" y="201008"/>
                      </a:cubicBezTo>
                      <a:cubicBezTo>
                        <a:pt x="398667" y="200746"/>
                        <a:pt x="396447" y="199179"/>
                        <a:pt x="395663" y="196697"/>
                      </a:cubicBezTo>
                      <a:cubicBezTo>
                        <a:pt x="388740" y="177365"/>
                        <a:pt x="380902" y="157640"/>
                        <a:pt x="373326" y="138700"/>
                      </a:cubicBezTo>
                      <a:cubicBezTo>
                        <a:pt x="372542" y="136740"/>
                        <a:pt x="372804" y="134520"/>
                        <a:pt x="373849" y="132821"/>
                      </a:cubicBezTo>
                      <a:cubicBezTo>
                        <a:pt x="382470" y="119498"/>
                        <a:pt x="390699" y="107611"/>
                        <a:pt x="398667" y="96116"/>
                      </a:cubicBezTo>
                      <a:cubicBezTo>
                        <a:pt x="403239" y="89585"/>
                        <a:pt x="407550" y="83184"/>
                        <a:pt x="411991" y="76783"/>
                      </a:cubicBezTo>
                      <a:cubicBezTo>
                        <a:pt x="411207" y="76000"/>
                        <a:pt x="410424" y="75347"/>
                        <a:pt x="409771" y="74693"/>
                      </a:cubicBezTo>
                      <a:cubicBezTo>
                        <a:pt x="404154" y="69599"/>
                        <a:pt x="398276" y="64374"/>
                        <a:pt x="392397" y="59280"/>
                      </a:cubicBezTo>
                      <a:cubicBezTo>
                        <a:pt x="372412" y="42299"/>
                        <a:pt x="350598" y="27407"/>
                        <a:pt x="327608" y="14998"/>
                      </a:cubicBezTo>
                      <a:cubicBezTo>
                        <a:pt x="315198" y="35245"/>
                        <a:pt x="305010" y="54838"/>
                        <a:pt x="295213" y="73779"/>
                      </a:cubicBezTo>
                      <a:cubicBezTo>
                        <a:pt x="294037" y="76130"/>
                        <a:pt x="291425" y="77437"/>
                        <a:pt x="288812" y="77175"/>
                      </a:cubicBezTo>
                      <a:cubicBezTo>
                        <a:pt x="264124" y="74693"/>
                        <a:pt x="239175" y="75608"/>
                        <a:pt x="214617" y="79918"/>
                      </a:cubicBezTo>
                      <a:cubicBezTo>
                        <a:pt x="211613" y="80441"/>
                        <a:pt x="208608" y="78873"/>
                        <a:pt x="207433" y="76000"/>
                      </a:cubicBezTo>
                      <a:cubicBezTo>
                        <a:pt x="199334" y="56014"/>
                        <a:pt x="190060" y="36290"/>
                        <a:pt x="179740" y="17349"/>
                      </a:cubicBezTo>
                      <a:cubicBezTo>
                        <a:pt x="149958" y="30934"/>
                        <a:pt x="124486" y="47132"/>
                        <a:pt x="103717" y="65288"/>
                      </a:cubicBezTo>
                      <a:cubicBezTo>
                        <a:pt x="114297" y="83968"/>
                        <a:pt x="126184" y="100165"/>
                        <a:pt x="136504" y="114012"/>
                      </a:cubicBezTo>
                      <a:cubicBezTo>
                        <a:pt x="138071" y="116102"/>
                        <a:pt x="138202" y="119106"/>
                        <a:pt x="136765" y="121327"/>
                      </a:cubicBezTo>
                      <a:cubicBezTo>
                        <a:pt x="122657" y="143794"/>
                        <a:pt x="109464" y="165086"/>
                        <a:pt x="99406" y="187815"/>
                      </a:cubicBezTo>
                      <a:cubicBezTo>
                        <a:pt x="98100" y="190688"/>
                        <a:pt x="94965" y="192256"/>
                        <a:pt x="91961" y="191472"/>
                      </a:cubicBezTo>
                      <a:cubicBezTo>
                        <a:pt x="68317" y="185725"/>
                        <a:pt x="45327" y="179846"/>
                        <a:pt x="24558" y="174621"/>
                      </a:cubicBezTo>
                      <a:cubicBezTo>
                        <a:pt x="12671" y="212241"/>
                        <a:pt x="10190" y="246988"/>
                        <a:pt x="17113" y="277815"/>
                      </a:cubicBezTo>
                      <a:cubicBezTo>
                        <a:pt x="31743" y="275594"/>
                        <a:pt x="45719" y="272590"/>
                        <a:pt x="59174" y="269716"/>
                      </a:cubicBezTo>
                      <a:cubicBezTo>
                        <a:pt x="65966" y="268279"/>
                        <a:pt x="72628" y="266843"/>
                        <a:pt x="79290" y="265536"/>
                      </a:cubicBezTo>
                      <a:cubicBezTo>
                        <a:pt x="82294" y="264883"/>
                        <a:pt x="85299" y="266581"/>
                        <a:pt x="86474" y="269455"/>
                      </a:cubicBezTo>
                      <a:cubicBezTo>
                        <a:pt x="97708" y="296886"/>
                        <a:pt x="110117" y="318831"/>
                        <a:pt x="124225" y="336465"/>
                      </a:cubicBezTo>
                      <a:cubicBezTo>
                        <a:pt x="125923" y="338555"/>
                        <a:pt x="126054" y="341560"/>
                        <a:pt x="124617" y="343911"/>
                      </a:cubicBezTo>
                      <a:cubicBezTo>
                        <a:pt x="112469" y="363635"/>
                        <a:pt x="101235" y="379702"/>
                        <a:pt x="90393" y="394985"/>
                      </a:cubicBezTo>
                      <a:cubicBezTo>
                        <a:pt x="108027" y="416016"/>
                        <a:pt x="130756" y="432867"/>
                        <a:pt x="156750" y="444100"/>
                      </a:cubicBezTo>
                      <a:cubicBezTo>
                        <a:pt x="159363" y="439006"/>
                        <a:pt x="161975" y="434173"/>
                        <a:pt x="164457" y="429340"/>
                      </a:cubicBezTo>
                      <a:cubicBezTo>
                        <a:pt x="171250" y="416408"/>
                        <a:pt x="177650" y="404129"/>
                        <a:pt x="184443" y="392112"/>
                      </a:cubicBezTo>
                      <a:cubicBezTo>
                        <a:pt x="185749" y="389891"/>
                        <a:pt x="188231" y="388585"/>
                        <a:pt x="190713" y="388846"/>
                      </a:cubicBezTo>
                      <a:cubicBezTo>
                        <a:pt x="212397" y="391197"/>
                        <a:pt x="235648" y="392765"/>
                        <a:pt x="258246" y="389499"/>
                      </a:cubicBezTo>
                      <a:cubicBezTo>
                        <a:pt x="258507" y="389499"/>
                        <a:pt x="258899" y="389499"/>
                        <a:pt x="259160" y="389499"/>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22" name="Group 21">
                <a:extLst>
                  <a:ext uri="{FF2B5EF4-FFF2-40B4-BE49-F238E27FC236}">
                    <a16:creationId xmlns:a16="http://schemas.microsoft.com/office/drawing/2014/main" id="{CD60AA4F-4A42-8CF4-C27D-220DBE25C7B3}"/>
                  </a:ext>
                </a:extLst>
              </p:cNvPr>
              <p:cNvGrpSpPr/>
              <p:nvPr userDrawn="1"/>
            </p:nvGrpSpPr>
            <p:grpSpPr>
              <a:xfrm>
                <a:off x="9056209" y="1995501"/>
                <a:ext cx="261550" cy="258994"/>
                <a:chOff x="9345555" y="872096"/>
                <a:chExt cx="261550" cy="258994"/>
              </a:xfrm>
            </p:grpSpPr>
            <p:sp>
              <p:nvSpPr>
                <p:cNvPr id="961" name="Freeform: Shape 960">
                  <a:extLst>
                    <a:ext uri="{FF2B5EF4-FFF2-40B4-BE49-F238E27FC236}">
                      <a16:creationId xmlns:a16="http://schemas.microsoft.com/office/drawing/2014/main" id="{AE87FFF8-2DED-3C8F-1441-A1FD31E56761}"/>
                    </a:ext>
                  </a:extLst>
                </p:cNvPr>
                <p:cNvSpPr/>
                <p:nvPr/>
              </p:nvSpPr>
              <p:spPr>
                <a:xfrm>
                  <a:off x="9442271" y="959523"/>
                  <a:ext cx="62533" cy="67760"/>
                </a:xfrm>
                <a:custGeom>
                  <a:avLst/>
                  <a:gdLst>
                    <a:gd name="connsiteX0" fmla="*/ 31541 w 70395"/>
                    <a:gd name="connsiteY0" fmla="*/ 74097 h 74096"/>
                    <a:gd name="connsiteX1" fmla="*/ 14821 w 70395"/>
                    <a:gd name="connsiteY1" fmla="*/ 70570 h 74096"/>
                    <a:gd name="connsiteX2" fmla="*/ 4371 w 70395"/>
                    <a:gd name="connsiteY2" fmla="*/ 62602 h 74096"/>
                    <a:gd name="connsiteX3" fmla="*/ 191 w 70395"/>
                    <a:gd name="connsiteY3" fmla="*/ 48886 h 74096"/>
                    <a:gd name="connsiteX4" fmla="*/ 9596 w 70395"/>
                    <a:gd name="connsiteY4" fmla="*/ 13487 h 74096"/>
                    <a:gd name="connsiteX5" fmla="*/ 45126 w 70395"/>
                    <a:gd name="connsiteY5" fmla="*/ 1469 h 74096"/>
                    <a:gd name="connsiteX6" fmla="*/ 47477 w 70395"/>
                    <a:gd name="connsiteY6" fmla="*/ 2906 h 74096"/>
                    <a:gd name="connsiteX7" fmla="*/ 70336 w 70395"/>
                    <a:gd name="connsiteY7" fmla="*/ 33995 h 74096"/>
                    <a:gd name="connsiteX8" fmla="*/ 52571 w 70395"/>
                    <a:gd name="connsiteY8" fmla="*/ 68219 h 74096"/>
                    <a:gd name="connsiteX9" fmla="*/ 31541 w 70395"/>
                    <a:gd name="connsiteY9" fmla="*/ 74097 h 74096"/>
                    <a:gd name="connsiteX10" fmla="*/ 36243 w 70395"/>
                    <a:gd name="connsiteY10" fmla="*/ 12964 h 74096"/>
                    <a:gd name="connsiteX11" fmla="*/ 19784 w 70395"/>
                    <a:gd name="connsiteY11" fmla="*/ 21455 h 74096"/>
                    <a:gd name="connsiteX12" fmla="*/ 13122 w 70395"/>
                    <a:gd name="connsiteY12" fmla="*/ 47972 h 74096"/>
                    <a:gd name="connsiteX13" fmla="*/ 14951 w 70395"/>
                    <a:gd name="connsiteY13" fmla="*/ 55287 h 74096"/>
                    <a:gd name="connsiteX14" fmla="*/ 20046 w 70395"/>
                    <a:gd name="connsiteY14" fmla="*/ 58944 h 74096"/>
                    <a:gd name="connsiteX15" fmla="*/ 45648 w 70395"/>
                    <a:gd name="connsiteY15" fmla="*/ 57377 h 74096"/>
                    <a:gd name="connsiteX16" fmla="*/ 57404 w 70395"/>
                    <a:gd name="connsiteY16" fmla="*/ 34779 h 74096"/>
                    <a:gd name="connsiteX17" fmla="*/ 43166 w 70395"/>
                    <a:gd name="connsiteY17" fmla="*/ 15054 h 74096"/>
                    <a:gd name="connsiteX18" fmla="*/ 42252 w 70395"/>
                    <a:gd name="connsiteY18" fmla="*/ 14793 h 74096"/>
                    <a:gd name="connsiteX19" fmla="*/ 38725 w 70395"/>
                    <a:gd name="connsiteY19" fmla="*/ 13095 h 74096"/>
                    <a:gd name="connsiteX20" fmla="*/ 36243 w 70395"/>
                    <a:gd name="connsiteY20" fmla="*/ 12964 h 7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395" h="74096">
                      <a:moveTo>
                        <a:pt x="31541" y="74097"/>
                      </a:moveTo>
                      <a:cubicBezTo>
                        <a:pt x="25924" y="74097"/>
                        <a:pt x="20176" y="72921"/>
                        <a:pt x="14821" y="70570"/>
                      </a:cubicBezTo>
                      <a:cubicBezTo>
                        <a:pt x="10118" y="68480"/>
                        <a:pt x="6722" y="65867"/>
                        <a:pt x="4371" y="62602"/>
                      </a:cubicBezTo>
                      <a:cubicBezTo>
                        <a:pt x="1236" y="58161"/>
                        <a:pt x="452" y="52936"/>
                        <a:pt x="191" y="48886"/>
                      </a:cubicBezTo>
                      <a:cubicBezTo>
                        <a:pt x="-854" y="35171"/>
                        <a:pt x="2411" y="22631"/>
                        <a:pt x="9596" y="13487"/>
                      </a:cubicBezTo>
                      <a:cubicBezTo>
                        <a:pt x="18347" y="2253"/>
                        <a:pt x="32978" y="-2711"/>
                        <a:pt x="45126" y="1469"/>
                      </a:cubicBezTo>
                      <a:cubicBezTo>
                        <a:pt x="46040" y="1731"/>
                        <a:pt x="46824" y="2253"/>
                        <a:pt x="47477" y="2906"/>
                      </a:cubicBezTo>
                      <a:cubicBezTo>
                        <a:pt x="60147" y="7348"/>
                        <a:pt x="69552" y="20018"/>
                        <a:pt x="70336" y="33995"/>
                      </a:cubicBezTo>
                      <a:cubicBezTo>
                        <a:pt x="71120" y="47449"/>
                        <a:pt x="64066" y="60904"/>
                        <a:pt x="52571" y="68219"/>
                      </a:cubicBezTo>
                      <a:cubicBezTo>
                        <a:pt x="46301" y="72137"/>
                        <a:pt x="38986" y="74097"/>
                        <a:pt x="31541" y="74097"/>
                      </a:cubicBezTo>
                      <a:close/>
                      <a:moveTo>
                        <a:pt x="36243" y="12964"/>
                      </a:moveTo>
                      <a:cubicBezTo>
                        <a:pt x="30365" y="12964"/>
                        <a:pt x="23965" y="16099"/>
                        <a:pt x="19784" y="21455"/>
                      </a:cubicBezTo>
                      <a:cubicBezTo>
                        <a:pt x="14690" y="27986"/>
                        <a:pt x="12339" y="37391"/>
                        <a:pt x="13122" y="47972"/>
                      </a:cubicBezTo>
                      <a:cubicBezTo>
                        <a:pt x="13253" y="50323"/>
                        <a:pt x="13645" y="53327"/>
                        <a:pt x="14951" y="55287"/>
                      </a:cubicBezTo>
                      <a:cubicBezTo>
                        <a:pt x="15866" y="56593"/>
                        <a:pt x="17564" y="57769"/>
                        <a:pt x="20046" y="58944"/>
                      </a:cubicBezTo>
                      <a:cubicBezTo>
                        <a:pt x="28406" y="62602"/>
                        <a:pt x="38203" y="62079"/>
                        <a:pt x="45648" y="57377"/>
                      </a:cubicBezTo>
                      <a:cubicBezTo>
                        <a:pt x="53224" y="52674"/>
                        <a:pt x="57927" y="43531"/>
                        <a:pt x="57404" y="34779"/>
                      </a:cubicBezTo>
                      <a:cubicBezTo>
                        <a:pt x="56882" y="26027"/>
                        <a:pt x="50873" y="17798"/>
                        <a:pt x="43166" y="15054"/>
                      </a:cubicBezTo>
                      <a:lnTo>
                        <a:pt x="42252" y="14793"/>
                      </a:lnTo>
                      <a:cubicBezTo>
                        <a:pt x="41468" y="14532"/>
                        <a:pt x="40031" y="14140"/>
                        <a:pt x="38725" y="13095"/>
                      </a:cubicBezTo>
                      <a:cubicBezTo>
                        <a:pt x="37941" y="12964"/>
                        <a:pt x="37027" y="12964"/>
                        <a:pt x="36243" y="12964"/>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7A4D983-5220-D3D1-BFBD-BFE06020839F}"/>
                    </a:ext>
                  </a:extLst>
                </p:cNvPr>
                <p:cNvSpPr/>
                <p:nvPr userDrawn="1"/>
              </p:nvSpPr>
              <p:spPr>
                <a:xfrm>
                  <a:off x="9345555" y="872096"/>
                  <a:ext cx="261550" cy="258994"/>
                </a:xfrm>
                <a:custGeom>
                  <a:avLst/>
                  <a:gdLst>
                    <a:gd name="connsiteX0" fmla="*/ 175815 w 294433"/>
                    <a:gd name="connsiteY0" fmla="*/ 282820 h 283211"/>
                    <a:gd name="connsiteX1" fmla="*/ 169807 w 294433"/>
                    <a:gd name="connsiteY1" fmla="*/ 278770 h 283211"/>
                    <a:gd name="connsiteX2" fmla="*/ 155438 w 294433"/>
                    <a:gd name="connsiteY2" fmla="*/ 247682 h 283211"/>
                    <a:gd name="connsiteX3" fmla="*/ 120692 w 294433"/>
                    <a:gd name="connsiteY3" fmla="*/ 247290 h 283211"/>
                    <a:gd name="connsiteX4" fmla="*/ 110895 w 294433"/>
                    <a:gd name="connsiteY4" fmla="*/ 265708 h 283211"/>
                    <a:gd name="connsiteX5" fmla="*/ 104494 w 294433"/>
                    <a:gd name="connsiteY5" fmla="*/ 277856 h 283211"/>
                    <a:gd name="connsiteX6" fmla="*/ 96396 w 294433"/>
                    <a:gd name="connsiteY6" fmla="*/ 280860 h 283211"/>
                    <a:gd name="connsiteX7" fmla="*/ 47020 w 294433"/>
                    <a:gd name="connsiteY7" fmla="*/ 244547 h 283211"/>
                    <a:gd name="connsiteX8" fmla="*/ 46758 w 294433"/>
                    <a:gd name="connsiteY8" fmla="*/ 236840 h 283211"/>
                    <a:gd name="connsiteX9" fmla="*/ 66352 w 294433"/>
                    <a:gd name="connsiteY9" fmla="*/ 207972 h 283211"/>
                    <a:gd name="connsiteX10" fmla="*/ 47020 w 294433"/>
                    <a:gd name="connsiteY10" fmla="*/ 173617 h 283211"/>
                    <a:gd name="connsiteX11" fmla="*/ 40227 w 294433"/>
                    <a:gd name="connsiteY11" fmla="*/ 175054 h 283211"/>
                    <a:gd name="connsiteX12" fmla="*/ 10706 w 294433"/>
                    <a:gd name="connsiteY12" fmla="*/ 180541 h 283211"/>
                    <a:gd name="connsiteX13" fmla="*/ 3521 w 294433"/>
                    <a:gd name="connsiteY13" fmla="*/ 175838 h 283211"/>
                    <a:gd name="connsiteX14" fmla="*/ 8485 w 294433"/>
                    <a:gd name="connsiteY14" fmla="*/ 100859 h 283211"/>
                    <a:gd name="connsiteX15" fmla="*/ 16192 w 294433"/>
                    <a:gd name="connsiteY15" fmla="*/ 96679 h 283211"/>
                    <a:gd name="connsiteX16" fmla="*/ 55118 w 294433"/>
                    <a:gd name="connsiteY16" fmla="*/ 106476 h 283211"/>
                    <a:gd name="connsiteX17" fmla="*/ 73797 w 294433"/>
                    <a:gd name="connsiteY17" fmla="*/ 73820 h 283211"/>
                    <a:gd name="connsiteX18" fmla="*/ 54465 w 294433"/>
                    <a:gd name="connsiteY18" fmla="*/ 44168 h 283211"/>
                    <a:gd name="connsiteX19" fmla="*/ 55771 w 294433"/>
                    <a:gd name="connsiteY19" fmla="*/ 36331 h 283211"/>
                    <a:gd name="connsiteX20" fmla="*/ 109981 w 294433"/>
                    <a:gd name="connsiteY20" fmla="*/ 2107 h 283211"/>
                    <a:gd name="connsiteX21" fmla="*/ 118210 w 294433"/>
                    <a:gd name="connsiteY21" fmla="*/ 4850 h 283211"/>
                    <a:gd name="connsiteX22" fmla="*/ 135191 w 294433"/>
                    <a:gd name="connsiteY22" fmla="*/ 39727 h 283211"/>
                    <a:gd name="connsiteX23" fmla="*/ 173203 w 294433"/>
                    <a:gd name="connsiteY23" fmla="*/ 38421 h 283211"/>
                    <a:gd name="connsiteX24" fmla="*/ 193058 w 294433"/>
                    <a:gd name="connsiteY24" fmla="*/ 3021 h 283211"/>
                    <a:gd name="connsiteX25" fmla="*/ 201548 w 294433"/>
                    <a:gd name="connsiteY25" fmla="*/ 670 h 283211"/>
                    <a:gd name="connsiteX26" fmla="*/ 245700 w 294433"/>
                    <a:gd name="connsiteY26" fmla="*/ 30322 h 283211"/>
                    <a:gd name="connsiteX27" fmla="*/ 256280 w 294433"/>
                    <a:gd name="connsiteY27" fmla="*/ 39596 h 283211"/>
                    <a:gd name="connsiteX28" fmla="*/ 261767 w 294433"/>
                    <a:gd name="connsiteY28" fmla="*/ 47303 h 283211"/>
                    <a:gd name="connsiteX29" fmla="*/ 260852 w 294433"/>
                    <a:gd name="connsiteY29" fmla="*/ 52528 h 283211"/>
                    <a:gd name="connsiteX30" fmla="*/ 251447 w 294433"/>
                    <a:gd name="connsiteY30" fmla="*/ 66374 h 283211"/>
                    <a:gd name="connsiteX31" fmla="*/ 238515 w 294433"/>
                    <a:gd name="connsiteY31" fmla="*/ 85446 h 283211"/>
                    <a:gd name="connsiteX32" fmla="*/ 249488 w 294433"/>
                    <a:gd name="connsiteY32" fmla="*/ 113791 h 283211"/>
                    <a:gd name="connsiteX33" fmla="*/ 290243 w 294433"/>
                    <a:gd name="connsiteY33" fmla="*/ 123588 h 283211"/>
                    <a:gd name="connsiteX34" fmla="*/ 294161 w 294433"/>
                    <a:gd name="connsiteY34" fmla="*/ 129205 h 283211"/>
                    <a:gd name="connsiteX35" fmla="*/ 285932 w 294433"/>
                    <a:gd name="connsiteY35" fmla="*/ 186811 h 283211"/>
                    <a:gd name="connsiteX36" fmla="*/ 279662 w 294433"/>
                    <a:gd name="connsiteY36" fmla="*/ 190990 h 283211"/>
                    <a:gd name="connsiteX37" fmla="*/ 275221 w 294433"/>
                    <a:gd name="connsiteY37" fmla="*/ 190990 h 283211"/>
                    <a:gd name="connsiteX38" fmla="*/ 245177 w 294433"/>
                    <a:gd name="connsiteY38" fmla="*/ 190729 h 283211"/>
                    <a:gd name="connsiteX39" fmla="*/ 226367 w 294433"/>
                    <a:gd name="connsiteY39" fmla="*/ 221165 h 283211"/>
                    <a:gd name="connsiteX40" fmla="*/ 243087 w 294433"/>
                    <a:gd name="connsiteY40" fmla="*/ 254605 h 283211"/>
                    <a:gd name="connsiteX41" fmla="*/ 240214 w 294433"/>
                    <a:gd name="connsiteY41" fmla="*/ 262703 h 283211"/>
                    <a:gd name="connsiteX42" fmla="*/ 176861 w 294433"/>
                    <a:gd name="connsiteY42" fmla="*/ 283212 h 283211"/>
                    <a:gd name="connsiteX43" fmla="*/ 176207 w 294433"/>
                    <a:gd name="connsiteY43" fmla="*/ 283212 h 283211"/>
                    <a:gd name="connsiteX44" fmla="*/ 158704 w 294433"/>
                    <a:gd name="connsiteY44" fmla="*/ 234227 h 283211"/>
                    <a:gd name="connsiteX45" fmla="*/ 164190 w 294433"/>
                    <a:gd name="connsiteY45" fmla="*/ 237232 h 283211"/>
                    <a:gd name="connsiteX46" fmla="*/ 179995 w 294433"/>
                    <a:gd name="connsiteY46" fmla="*/ 269365 h 283211"/>
                    <a:gd name="connsiteX47" fmla="*/ 228457 w 294433"/>
                    <a:gd name="connsiteY47" fmla="*/ 253690 h 283211"/>
                    <a:gd name="connsiteX48" fmla="*/ 212652 w 294433"/>
                    <a:gd name="connsiteY48" fmla="*/ 223385 h 283211"/>
                    <a:gd name="connsiteX49" fmla="*/ 213305 w 294433"/>
                    <a:gd name="connsiteY49" fmla="*/ 216070 h 283211"/>
                    <a:gd name="connsiteX50" fmla="*/ 234335 w 294433"/>
                    <a:gd name="connsiteY50" fmla="*/ 181977 h 283211"/>
                    <a:gd name="connsiteX51" fmla="*/ 239822 w 294433"/>
                    <a:gd name="connsiteY51" fmla="*/ 177797 h 283211"/>
                    <a:gd name="connsiteX52" fmla="*/ 275221 w 294433"/>
                    <a:gd name="connsiteY52" fmla="*/ 177536 h 283211"/>
                    <a:gd name="connsiteX53" fmla="*/ 281360 w 294433"/>
                    <a:gd name="connsiteY53" fmla="*/ 133777 h 283211"/>
                    <a:gd name="connsiteX54" fmla="*/ 244132 w 294433"/>
                    <a:gd name="connsiteY54" fmla="*/ 126070 h 283211"/>
                    <a:gd name="connsiteX55" fmla="*/ 238646 w 294433"/>
                    <a:gd name="connsiteY55" fmla="*/ 121759 h 283211"/>
                    <a:gd name="connsiteX56" fmla="*/ 225322 w 294433"/>
                    <a:gd name="connsiteY56" fmla="*/ 87274 h 283211"/>
                    <a:gd name="connsiteX57" fmla="*/ 225714 w 294433"/>
                    <a:gd name="connsiteY57" fmla="*/ 81004 h 283211"/>
                    <a:gd name="connsiteX58" fmla="*/ 240736 w 294433"/>
                    <a:gd name="connsiteY58" fmla="*/ 58798 h 283211"/>
                    <a:gd name="connsiteX59" fmla="*/ 247398 w 294433"/>
                    <a:gd name="connsiteY59" fmla="*/ 49001 h 283211"/>
                    <a:gd name="connsiteX60" fmla="*/ 237209 w 294433"/>
                    <a:gd name="connsiteY60" fmla="*/ 40119 h 283211"/>
                    <a:gd name="connsiteX61" fmla="*/ 200765 w 294433"/>
                    <a:gd name="connsiteY61" fmla="*/ 14908 h 283211"/>
                    <a:gd name="connsiteX62" fmla="*/ 182608 w 294433"/>
                    <a:gd name="connsiteY62" fmla="*/ 47956 h 283211"/>
                    <a:gd name="connsiteX63" fmla="*/ 176207 w 294433"/>
                    <a:gd name="connsiteY63" fmla="*/ 51483 h 283211"/>
                    <a:gd name="connsiteX64" fmla="*/ 132187 w 294433"/>
                    <a:gd name="connsiteY64" fmla="*/ 53181 h 283211"/>
                    <a:gd name="connsiteX65" fmla="*/ 125003 w 294433"/>
                    <a:gd name="connsiteY65" fmla="*/ 49263 h 283211"/>
                    <a:gd name="connsiteX66" fmla="*/ 109589 w 294433"/>
                    <a:gd name="connsiteY66" fmla="*/ 16345 h 283211"/>
                    <a:gd name="connsiteX67" fmla="*/ 68181 w 294433"/>
                    <a:gd name="connsiteY67" fmla="*/ 42470 h 283211"/>
                    <a:gd name="connsiteX68" fmla="*/ 86730 w 294433"/>
                    <a:gd name="connsiteY68" fmla="*/ 69640 h 283211"/>
                    <a:gd name="connsiteX69" fmla="*/ 86991 w 294433"/>
                    <a:gd name="connsiteY69" fmla="*/ 76955 h 283211"/>
                    <a:gd name="connsiteX70" fmla="*/ 64654 w 294433"/>
                    <a:gd name="connsiteY70" fmla="*/ 116665 h 283211"/>
                    <a:gd name="connsiteX71" fmla="*/ 57208 w 294433"/>
                    <a:gd name="connsiteY71" fmla="*/ 120322 h 283211"/>
                    <a:gd name="connsiteX72" fmla="*/ 18935 w 294433"/>
                    <a:gd name="connsiteY72" fmla="*/ 110787 h 283211"/>
                    <a:gd name="connsiteX73" fmla="*/ 14755 w 294433"/>
                    <a:gd name="connsiteY73" fmla="*/ 166956 h 283211"/>
                    <a:gd name="connsiteX74" fmla="*/ 37615 w 294433"/>
                    <a:gd name="connsiteY74" fmla="*/ 162514 h 283211"/>
                    <a:gd name="connsiteX75" fmla="*/ 49763 w 294433"/>
                    <a:gd name="connsiteY75" fmla="*/ 160032 h 283211"/>
                    <a:gd name="connsiteX76" fmla="*/ 56947 w 294433"/>
                    <a:gd name="connsiteY76" fmla="*/ 163951 h 283211"/>
                    <a:gd name="connsiteX77" fmla="*/ 79284 w 294433"/>
                    <a:gd name="connsiteY77" fmla="*/ 203661 h 283211"/>
                    <a:gd name="connsiteX78" fmla="*/ 79676 w 294433"/>
                    <a:gd name="connsiteY78" fmla="*/ 211107 h 283211"/>
                    <a:gd name="connsiteX79" fmla="*/ 60082 w 294433"/>
                    <a:gd name="connsiteY79" fmla="*/ 240367 h 283211"/>
                    <a:gd name="connsiteX80" fmla="*/ 95612 w 294433"/>
                    <a:gd name="connsiteY80" fmla="*/ 266753 h 283211"/>
                    <a:gd name="connsiteX81" fmla="*/ 99139 w 294433"/>
                    <a:gd name="connsiteY81" fmla="*/ 259960 h 283211"/>
                    <a:gd name="connsiteX82" fmla="*/ 111156 w 294433"/>
                    <a:gd name="connsiteY82" fmla="*/ 237493 h 283211"/>
                    <a:gd name="connsiteX83" fmla="*/ 117426 w 294433"/>
                    <a:gd name="connsiteY83" fmla="*/ 234227 h 283211"/>
                    <a:gd name="connsiteX84" fmla="*/ 157398 w 294433"/>
                    <a:gd name="connsiteY84" fmla="*/ 234619 h 283211"/>
                    <a:gd name="connsiteX85" fmla="*/ 158312 w 294433"/>
                    <a:gd name="connsiteY85" fmla="*/ 234619 h 283211"/>
                    <a:gd name="connsiteX86" fmla="*/ 249227 w 294433"/>
                    <a:gd name="connsiteY86" fmla="*/ 50699 h 283211"/>
                    <a:gd name="connsiteX87" fmla="*/ 249227 w 294433"/>
                    <a:gd name="connsiteY87" fmla="*/ 50699 h 28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94433" h="283211">
                      <a:moveTo>
                        <a:pt x="175815" y="282820"/>
                      </a:moveTo>
                      <a:cubicBezTo>
                        <a:pt x="173203" y="282820"/>
                        <a:pt x="170852" y="281252"/>
                        <a:pt x="169807" y="278770"/>
                      </a:cubicBezTo>
                      <a:cubicBezTo>
                        <a:pt x="165627" y="268059"/>
                        <a:pt x="161577" y="257870"/>
                        <a:pt x="155438" y="247682"/>
                      </a:cubicBezTo>
                      <a:cubicBezTo>
                        <a:pt x="143682" y="248988"/>
                        <a:pt x="131926" y="248335"/>
                        <a:pt x="120692" y="247290"/>
                      </a:cubicBezTo>
                      <a:cubicBezTo>
                        <a:pt x="117426" y="253299"/>
                        <a:pt x="114160" y="259307"/>
                        <a:pt x="110895" y="265708"/>
                      </a:cubicBezTo>
                      <a:cubicBezTo>
                        <a:pt x="108805" y="269627"/>
                        <a:pt x="106715" y="273676"/>
                        <a:pt x="104494" y="277856"/>
                      </a:cubicBezTo>
                      <a:cubicBezTo>
                        <a:pt x="102927" y="280730"/>
                        <a:pt x="99531" y="282036"/>
                        <a:pt x="96396" y="280860"/>
                      </a:cubicBezTo>
                      <a:cubicBezTo>
                        <a:pt x="76802" y="273153"/>
                        <a:pt x="59690" y="260613"/>
                        <a:pt x="47020" y="244547"/>
                      </a:cubicBezTo>
                      <a:cubicBezTo>
                        <a:pt x="45191" y="242326"/>
                        <a:pt x="45191" y="239191"/>
                        <a:pt x="46758" y="236840"/>
                      </a:cubicBezTo>
                      <a:cubicBezTo>
                        <a:pt x="53028" y="227957"/>
                        <a:pt x="59429" y="218944"/>
                        <a:pt x="66352" y="207972"/>
                      </a:cubicBezTo>
                      <a:cubicBezTo>
                        <a:pt x="59298" y="198436"/>
                        <a:pt x="52898" y="187072"/>
                        <a:pt x="47020" y="173617"/>
                      </a:cubicBezTo>
                      <a:cubicBezTo>
                        <a:pt x="44799" y="174140"/>
                        <a:pt x="42448" y="174532"/>
                        <a:pt x="40227" y="175054"/>
                      </a:cubicBezTo>
                      <a:cubicBezTo>
                        <a:pt x="30822" y="177014"/>
                        <a:pt x="21156" y="179104"/>
                        <a:pt x="10706" y="180541"/>
                      </a:cubicBezTo>
                      <a:cubicBezTo>
                        <a:pt x="7440" y="180932"/>
                        <a:pt x="4436" y="178973"/>
                        <a:pt x="3521" y="175838"/>
                      </a:cubicBezTo>
                      <a:cubicBezTo>
                        <a:pt x="-2487" y="153501"/>
                        <a:pt x="-789" y="128291"/>
                        <a:pt x="8485" y="100859"/>
                      </a:cubicBezTo>
                      <a:cubicBezTo>
                        <a:pt x="9530" y="97724"/>
                        <a:pt x="12926" y="95896"/>
                        <a:pt x="16192" y="96679"/>
                      </a:cubicBezTo>
                      <a:cubicBezTo>
                        <a:pt x="28993" y="99945"/>
                        <a:pt x="41664" y="103211"/>
                        <a:pt x="55118" y="106476"/>
                      </a:cubicBezTo>
                      <a:cubicBezTo>
                        <a:pt x="60474" y="95243"/>
                        <a:pt x="67136" y="84401"/>
                        <a:pt x="73797" y="73820"/>
                      </a:cubicBezTo>
                      <a:cubicBezTo>
                        <a:pt x="67528" y="65329"/>
                        <a:pt x="60605" y="55533"/>
                        <a:pt x="54465" y="44168"/>
                      </a:cubicBezTo>
                      <a:cubicBezTo>
                        <a:pt x="53028" y="41556"/>
                        <a:pt x="53551" y="38290"/>
                        <a:pt x="55771" y="36331"/>
                      </a:cubicBezTo>
                      <a:cubicBezTo>
                        <a:pt x="70271" y="23138"/>
                        <a:pt x="88427" y="11643"/>
                        <a:pt x="109981" y="2107"/>
                      </a:cubicBezTo>
                      <a:cubicBezTo>
                        <a:pt x="112985" y="801"/>
                        <a:pt x="116642" y="1976"/>
                        <a:pt x="118210" y="4850"/>
                      </a:cubicBezTo>
                      <a:cubicBezTo>
                        <a:pt x="124480" y="16084"/>
                        <a:pt x="130227" y="27840"/>
                        <a:pt x="135191" y="39727"/>
                      </a:cubicBezTo>
                      <a:cubicBezTo>
                        <a:pt x="147731" y="37898"/>
                        <a:pt x="160532" y="37376"/>
                        <a:pt x="173203" y="38421"/>
                      </a:cubicBezTo>
                      <a:cubicBezTo>
                        <a:pt x="179081" y="27056"/>
                        <a:pt x="185351" y="15300"/>
                        <a:pt x="193058" y="3021"/>
                      </a:cubicBezTo>
                      <a:cubicBezTo>
                        <a:pt x="194887" y="148"/>
                        <a:pt x="198544" y="-767"/>
                        <a:pt x="201548" y="670"/>
                      </a:cubicBezTo>
                      <a:cubicBezTo>
                        <a:pt x="217224" y="8900"/>
                        <a:pt x="232115" y="18827"/>
                        <a:pt x="245700" y="30322"/>
                      </a:cubicBezTo>
                      <a:cubicBezTo>
                        <a:pt x="249227" y="33326"/>
                        <a:pt x="252754" y="36461"/>
                        <a:pt x="256280" y="39596"/>
                      </a:cubicBezTo>
                      <a:cubicBezTo>
                        <a:pt x="258370" y="41425"/>
                        <a:pt x="260852" y="43776"/>
                        <a:pt x="261767" y="47303"/>
                      </a:cubicBezTo>
                      <a:cubicBezTo>
                        <a:pt x="262159" y="49132"/>
                        <a:pt x="261767" y="50961"/>
                        <a:pt x="260852" y="52528"/>
                      </a:cubicBezTo>
                      <a:cubicBezTo>
                        <a:pt x="257848" y="57100"/>
                        <a:pt x="254582" y="61672"/>
                        <a:pt x="251447" y="66374"/>
                      </a:cubicBezTo>
                      <a:cubicBezTo>
                        <a:pt x="247267" y="72383"/>
                        <a:pt x="242957" y="78653"/>
                        <a:pt x="238515" y="85446"/>
                      </a:cubicBezTo>
                      <a:cubicBezTo>
                        <a:pt x="242304" y="94851"/>
                        <a:pt x="246092" y="104386"/>
                        <a:pt x="249488" y="113791"/>
                      </a:cubicBezTo>
                      <a:cubicBezTo>
                        <a:pt x="260852" y="114967"/>
                        <a:pt x="274960" y="117318"/>
                        <a:pt x="290243" y="123588"/>
                      </a:cubicBezTo>
                      <a:cubicBezTo>
                        <a:pt x="292464" y="124502"/>
                        <a:pt x="294031" y="126723"/>
                        <a:pt x="294161" y="129205"/>
                      </a:cubicBezTo>
                      <a:cubicBezTo>
                        <a:pt x="295337" y="149844"/>
                        <a:pt x="292725" y="168654"/>
                        <a:pt x="285932" y="186811"/>
                      </a:cubicBezTo>
                      <a:cubicBezTo>
                        <a:pt x="285018" y="189423"/>
                        <a:pt x="282667" y="191121"/>
                        <a:pt x="279662" y="190990"/>
                      </a:cubicBezTo>
                      <a:lnTo>
                        <a:pt x="275221" y="190990"/>
                      </a:lnTo>
                      <a:cubicBezTo>
                        <a:pt x="265555" y="190468"/>
                        <a:pt x="255627" y="190076"/>
                        <a:pt x="245177" y="190729"/>
                      </a:cubicBezTo>
                      <a:cubicBezTo>
                        <a:pt x="240997" y="200526"/>
                        <a:pt x="234858" y="210323"/>
                        <a:pt x="226367" y="221165"/>
                      </a:cubicBezTo>
                      <a:cubicBezTo>
                        <a:pt x="232115" y="231354"/>
                        <a:pt x="237993" y="242065"/>
                        <a:pt x="243087" y="254605"/>
                      </a:cubicBezTo>
                      <a:cubicBezTo>
                        <a:pt x="244393" y="257609"/>
                        <a:pt x="243087" y="261136"/>
                        <a:pt x="240214" y="262703"/>
                      </a:cubicBezTo>
                      <a:cubicBezTo>
                        <a:pt x="219444" y="274068"/>
                        <a:pt x="198152" y="280860"/>
                        <a:pt x="176861" y="283212"/>
                      </a:cubicBezTo>
                      <a:cubicBezTo>
                        <a:pt x="176599" y="283212"/>
                        <a:pt x="176338" y="283212"/>
                        <a:pt x="176207" y="283212"/>
                      </a:cubicBezTo>
                      <a:close/>
                      <a:moveTo>
                        <a:pt x="158704" y="234227"/>
                      </a:moveTo>
                      <a:cubicBezTo>
                        <a:pt x="160924" y="234227"/>
                        <a:pt x="162884" y="235272"/>
                        <a:pt x="164190" y="237232"/>
                      </a:cubicBezTo>
                      <a:cubicBezTo>
                        <a:pt x="171113" y="248074"/>
                        <a:pt x="175815" y="258915"/>
                        <a:pt x="179995" y="269365"/>
                      </a:cubicBezTo>
                      <a:cubicBezTo>
                        <a:pt x="196193" y="267014"/>
                        <a:pt x="212521" y="261789"/>
                        <a:pt x="228457" y="253690"/>
                      </a:cubicBezTo>
                      <a:cubicBezTo>
                        <a:pt x="223624" y="242718"/>
                        <a:pt x="218268" y="233313"/>
                        <a:pt x="212652" y="223385"/>
                      </a:cubicBezTo>
                      <a:cubicBezTo>
                        <a:pt x="211345" y="221034"/>
                        <a:pt x="211607" y="218030"/>
                        <a:pt x="213305" y="216070"/>
                      </a:cubicBezTo>
                      <a:cubicBezTo>
                        <a:pt x="223624" y="203530"/>
                        <a:pt x="230286" y="192689"/>
                        <a:pt x="234335" y="181977"/>
                      </a:cubicBezTo>
                      <a:cubicBezTo>
                        <a:pt x="235250" y="179626"/>
                        <a:pt x="237340" y="178059"/>
                        <a:pt x="239822" y="177797"/>
                      </a:cubicBezTo>
                      <a:cubicBezTo>
                        <a:pt x="252492" y="176622"/>
                        <a:pt x="264118" y="177014"/>
                        <a:pt x="275221" y="177536"/>
                      </a:cubicBezTo>
                      <a:cubicBezTo>
                        <a:pt x="279793" y="163690"/>
                        <a:pt x="281883" y="149321"/>
                        <a:pt x="281360" y="133777"/>
                      </a:cubicBezTo>
                      <a:cubicBezTo>
                        <a:pt x="267253" y="128552"/>
                        <a:pt x="254190" y="126854"/>
                        <a:pt x="244132" y="126070"/>
                      </a:cubicBezTo>
                      <a:cubicBezTo>
                        <a:pt x="241650" y="125809"/>
                        <a:pt x="239430" y="124241"/>
                        <a:pt x="238646" y="121759"/>
                      </a:cubicBezTo>
                      <a:cubicBezTo>
                        <a:pt x="234596" y="110264"/>
                        <a:pt x="229894" y="98508"/>
                        <a:pt x="225322" y="87274"/>
                      </a:cubicBezTo>
                      <a:cubicBezTo>
                        <a:pt x="224539" y="85315"/>
                        <a:pt x="224669" y="82703"/>
                        <a:pt x="225714" y="81004"/>
                      </a:cubicBezTo>
                      <a:cubicBezTo>
                        <a:pt x="230939" y="72906"/>
                        <a:pt x="235903" y="65721"/>
                        <a:pt x="240736" y="58798"/>
                      </a:cubicBezTo>
                      <a:cubicBezTo>
                        <a:pt x="242957" y="55533"/>
                        <a:pt x="245308" y="52267"/>
                        <a:pt x="247398" y="49001"/>
                      </a:cubicBezTo>
                      <a:cubicBezTo>
                        <a:pt x="243871" y="45866"/>
                        <a:pt x="240606" y="42993"/>
                        <a:pt x="237209" y="40119"/>
                      </a:cubicBezTo>
                      <a:cubicBezTo>
                        <a:pt x="225845" y="30583"/>
                        <a:pt x="213697" y="22093"/>
                        <a:pt x="200765" y="14908"/>
                      </a:cubicBezTo>
                      <a:cubicBezTo>
                        <a:pt x="193972" y="26273"/>
                        <a:pt x="188225" y="37245"/>
                        <a:pt x="182608" y="47956"/>
                      </a:cubicBezTo>
                      <a:cubicBezTo>
                        <a:pt x="181433" y="50308"/>
                        <a:pt x="178820" y="51744"/>
                        <a:pt x="176207" y="51483"/>
                      </a:cubicBezTo>
                      <a:cubicBezTo>
                        <a:pt x="161577" y="50046"/>
                        <a:pt x="146817" y="50569"/>
                        <a:pt x="132187" y="53181"/>
                      </a:cubicBezTo>
                      <a:cubicBezTo>
                        <a:pt x="129183" y="53704"/>
                        <a:pt x="126178" y="52136"/>
                        <a:pt x="125003" y="49263"/>
                      </a:cubicBezTo>
                      <a:cubicBezTo>
                        <a:pt x="120431" y="38029"/>
                        <a:pt x="115336" y="26926"/>
                        <a:pt x="109589" y="16345"/>
                      </a:cubicBezTo>
                      <a:cubicBezTo>
                        <a:pt x="93522" y="23921"/>
                        <a:pt x="79676" y="32673"/>
                        <a:pt x="68181" y="42470"/>
                      </a:cubicBezTo>
                      <a:cubicBezTo>
                        <a:pt x="74189" y="52789"/>
                        <a:pt x="80851" y="61933"/>
                        <a:pt x="86730" y="69640"/>
                      </a:cubicBezTo>
                      <a:cubicBezTo>
                        <a:pt x="88297" y="71730"/>
                        <a:pt x="88427" y="74734"/>
                        <a:pt x="86991" y="76955"/>
                      </a:cubicBezTo>
                      <a:cubicBezTo>
                        <a:pt x="78630" y="90409"/>
                        <a:pt x="70663" y="103080"/>
                        <a:pt x="64654" y="116665"/>
                      </a:cubicBezTo>
                      <a:cubicBezTo>
                        <a:pt x="63348" y="119539"/>
                        <a:pt x="60213" y="121106"/>
                        <a:pt x="57208" y="120322"/>
                      </a:cubicBezTo>
                      <a:cubicBezTo>
                        <a:pt x="44015" y="117057"/>
                        <a:pt x="31344" y="113922"/>
                        <a:pt x="18935" y="110787"/>
                      </a:cubicBezTo>
                      <a:cubicBezTo>
                        <a:pt x="12796" y="131164"/>
                        <a:pt x="11359" y="150105"/>
                        <a:pt x="14755" y="166956"/>
                      </a:cubicBezTo>
                      <a:cubicBezTo>
                        <a:pt x="22723" y="165649"/>
                        <a:pt x="30300" y="164082"/>
                        <a:pt x="37615" y="162514"/>
                      </a:cubicBezTo>
                      <a:cubicBezTo>
                        <a:pt x="41664" y="161600"/>
                        <a:pt x="45713" y="160816"/>
                        <a:pt x="49763" y="160032"/>
                      </a:cubicBezTo>
                      <a:cubicBezTo>
                        <a:pt x="52767" y="159379"/>
                        <a:pt x="55771" y="161077"/>
                        <a:pt x="56947" y="163951"/>
                      </a:cubicBezTo>
                      <a:cubicBezTo>
                        <a:pt x="63609" y="180279"/>
                        <a:pt x="70924" y="193211"/>
                        <a:pt x="79284" y="203661"/>
                      </a:cubicBezTo>
                      <a:cubicBezTo>
                        <a:pt x="80982" y="205751"/>
                        <a:pt x="81112" y="208755"/>
                        <a:pt x="79676" y="211107"/>
                      </a:cubicBezTo>
                      <a:cubicBezTo>
                        <a:pt x="72753" y="222471"/>
                        <a:pt x="66352" y="231615"/>
                        <a:pt x="60082" y="240367"/>
                      </a:cubicBezTo>
                      <a:cubicBezTo>
                        <a:pt x="69748" y="251470"/>
                        <a:pt x="81896" y="260483"/>
                        <a:pt x="95612" y="266753"/>
                      </a:cubicBezTo>
                      <a:cubicBezTo>
                        <a:pt x="96788" y="264402"/>
                        <a:pt x="97963" y="262181"/>
                        <a:pt x="99139" y="259960"/>
                      </a:cubicBezTo>
                      <a:cubicBezTo>
                        <a:pt x="103188" y="252123"/>
                        <a:pt x="107107" y="244808"/>
                        <a:pt x="111156" y="237493"/>
                      </a:cubicBezTo>
                      <a:cubicBezTo>
                        <a:pt x="112463" y="235272"/>
                        <a:pt x="114945" y="233966"/>
                        <a:pt x="117426" y="234227"/>
                      </a:cubicBezTo>
                      <a:cubicBezTo>
                        <a:pt x="130358" y="235534"/>
                        <a:pt x="144204" y="236579"/>
                        <a:pt x="157398" y="234619"/>
                      </a:cubicBezTo>
                      <a:cubicBezTo>
                        <a:pt x="157659" y="234619"/>
                        <a:pt x="158051" y="234619"/>
                        <a:pt x="158312" y="234619"/>
                      </a:cubicBezTo>
                      <a:close/>
                      <a:moveTo>
                        <a:pt x="249227" y="50699"/>
                      </a:moveTo>
                      <a:lnTo>
                        <a:pt x="249227" y="50699"/>
                      </a:ln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28" name="Graphic 717">
                <a:extLst>
                  <a:ext uri="{FF2B5EF4-FFF2-40B4-BE49-F238E27FC236}">
                    <a16:creationId xmlns:a16="http://schemas.microsoft.com/office/drawing/2014/main" id="{DF57930D-8917-0AC4-F121-0D03B79A76F8}"/>
                  </a:ext>
                </a:extLst>
              </p:cNvPr>
              <p:cNvGrpSpPr/>
              <p:nvPr userDrawn="1"/>
            </p:nvGrpSpPr>
            <p:grpSpPr>
              <a:xfrm flipH="1">
                <a:off x="8262542" y="1825396"/>
                <a:ext cx="672662" cy="1009776"/>
                <a:chOff x="308624" y="3248117"/>
                <a:chExt cx="757231" cy="2796937"/>
              </a:xfrm>
              <a:noFill/>
            </p:grpSpPr>
            <p:sp>
              <p:nvSpPr>
                <p:cNvPr id="29" name="Freeform: Shape 28">
                  <a:extLst>
                    <a:ext uri="{FF2B5EF4-FFF2-40B4-BE49-F238E27FC236}">
                      <a16:creationId xmlns:a16="http://schemas.microsoft.com/office/drawing/2014/main" id="{F5D9BD55-1668-2285-2F33-0AEE64170683}"/>
                    </a:ext>
                  </a:extLst>
                </p:cNvPr>
                <p:cNvSpPr/>
                <p:nvPr/>
              </p:nvSpPr>
              <p:spPr>
                <a:xfrm>
                  <a:off x="308624" y="3248117"/>
                  <a:ext cx="733849" cy="2764803"/>
                </a:xfrm>
                <a:custGeom>
                  <a:avLst/>
                  <a:gdLst>
                    <a:gd name="connsiteX0" fmla="*/ 729147 w 733849"/>
                    <a:gd name="connsiteY0" fmla="*/ 2764804 h 2764803"/>
                    <a:gd name="connsiteX1" fmla="*/ 691397 w 733849"/>
                    <a:gd name="connsiteY1" fmla="*/ 2764804 h 2764803"/>
                    <a:gd name="connsiteX2" fmla="*/ 686694 w 733849"/>
                    <a:gd name="connsiteY2" fmla="*/ 2758403 h 2764803"/>
                    <a:gd name="connsiteX3" fmla="*/ 691397 w 733849"/>
                    <a:gd name="connsiteY3" fmla="*/ 2752003 h 2764803"/>
                    <a:gd name="connsiteX4" fmla="*/ 729147 w 733849"/>
                    <a:gd name="connsiteY4" fmla="*/ 2752003 h 2764803"/>
                    <a:gd name="connsiteX5" fmla="*/ 733850 w 733849"/>
                    <a:gd name="connsiteY5" fmla="*/ 2758403 h 2764803"/>
                    <a:gd name="connsiteX6" fmla="*/ 729147 w 733849"/>
                    <a:gd name="connsiteY6" fmla="*/ 2764804 h 2764803"/>
                    <a:gd name="connsiteX7" fmla="*/ 653777 w 733849"/>
                    <a:gd name="connsiteY7" fmla="*/ 2764804 h 2764803"/>
                    <a:gd name="connsiteX8" fmla="*/ 616026 w 733849"/>
                    <a:gd name="connsiteY8" fmla="*/ 2764804 h 2764803"/>
                    <a:gd name="connsiteX9" fmla="*/ 611324 w 733849"/>
                    <a:gd name="connsiteY9" fmla="*/ 2758403 h 2764803"/>
                    <a:gd name="connsiteX10" fmla="*/ 616026 w 733849"/>
                    <a:gd name="connsiteY10" fmla="*/ 2752003 h 2764803"/>
                    <a:gd name="connsiteX11" fmla="*/ 653777 w 733849"/>
                    <a:gd name="connsiteY11" fmla="*/ 2752003 h 2764803"/>
                    <a:gd name="connsiteX12" fmla="*/ 658479 w 733849"/>
                    <a:gd name="connsiteY12" fmla="*/ 2758403 h 2764803"/>
                    <a:gd name="connsiteX13" fmla="*/ 653777 w 733849"/>
                    <a:gd name="connsiteY13" fmla="*/ 2764804 h 2764803"/>
                    <a:gd name="connsiteX14" fmla="*/ 578406 w 733849"/>
                    <a:gd name="connsiteY14" fmla="*/ 2764804 h 2764803"/>
                    <a:gd name="connsiteX15" fmla="*/ 540656 w 733849"/>
                    <a:gd name="connsiteY15" fmla="*/ 2764804 h 2764803"/>
                    <a:gd name="connsiteX16" fmla="*/ 535953 w 733849"/>
                    <a:gd name="connsiteY16" fmla="*/ 2758403 h 2764803"/>
                    <a:gd name="connsiteX17" fmla="*/ 540656 w 733849"/>
                    <a:gd name="connsiteY17" fmla="*/ 2752003 h 2764803"/>
                    <a:gd name="connsiteX18" fmla="*/ 578406 w 733849"/>
                    <a:gd name="connsiteY18" fmla="*/ 2752003 h 2764803"/>
                    <a:gd name="connsiteX19" fmla="*/ 583109 w 733849"/>
                    <a:gd name="connsiteY19" fmla="*/ 2758403 h 2764803"/>
                    <a:gd name="connsiteX20" fmla="*/ 578406 w 733849"/>
                    <a:gd name="connsiteY20" fmla="*/ 2764804 h 2764803"/>
                    <a:gd name="connsiteX21" fmla="*/ 503036 w 733849"/>
                    <a:gd name="connsiteY21" fmla="*/ 2764804 h 2764803"/>
                    <a:gd name="connsiteX22" fmla="*/ 465285 w 733849"/>
                    <a:gd name="connsiteY22" fmla="*/ 2764804 h 2764803"/>
                    <a:gd name="connsiteX23" fmla="*/ 460583 w 733849"/>
                    <a:gd name="connsiteY23" fmla="*/ 2758403 h 2764803"/>
                    <a:gd name="connsiteX24" fmla="*/ 465285 w 733849"/>
                    <a:gd name="connsiteY24" fmla="*/ 2752003 h 2764803"/>
                    <a:gd name="connsiteX25" fmla="*/ 503036 w 733849"/>
                    <a:gd name="connsiteY25" fmla="*/ 2752003 h 2764803"/>
                    <a:gd name="connsiteX26" fmla="*/ 507738 w 733849"/>
                    <a:gd name="connsiteY26" fmla="*/ 2758403 h 2764803"/>
                    <a:gd name="connsiteX27" fmla="*/ 503036 w 733849"/>
                    <a:gd name="connsiteY27" fmla="*/ 2764804 h 2764803"/>
                    <a:gd name="connsiteX28" fmla="*/ 427665 w 733849"/>
                    <a:gd name="connsiteY28" fmla="*/ 2764804 h 2764803"/>
                    <a:gd name="connsiteX29" fmla="*/ 389915 w 733849"/>
                    <a:gd name="connsiteY29" fmla="*/ 2764804 h 2764803"/>
                    <a:gd name="connsiteX30" fmla="*/ 385212 w 733849"/>
                    <a:gd name="connsiteY30" fmla="*/ 2758403 h 2764803"/>
                    <a:gd name="connsiteX31" fmla="*/ 389915 w 733849"/>
                    <a:gd name="connsiteY31" fmla="*/ 2752003 h 2764803"/>
                    <a:gd name="connsiteX32" fmla="*/ 427665 w 733849"/>
                    <a:gd name="connsiteY32" fmla="*/ 2752003 h 2764803"/>
                    <a:gd name="connsiteX33" fmla="*/ 432368 w 733849"/>
                    <a:gd name="connsiteY33" fmla="*/ 2758403 h 2764803"/>
                    <a:gd name="connsiteX34" fmla="*/ 427665 w 733849"/>
                    <a:gd name="connsiteY34" fmla="*/ 2764804 h 2764803"/>
                    <a:gd name="connsiteX35" fmla="*/ 352295 w 733849"/>
                    <a:gd name="connsiteY35" fmla="*/ 2764804 h 2764803"/>
                    <a:gd name="connsiteX36" fmla="*/ 314544 w 733849"/>
                    <a:gd name="connsiteY36" fmla="*/ 2764804 h 2764803"/>
                    <a:gd name="connsiteX37" fmla="*/ 309842 w 733849"/>
                    <a:gd name="connsiteY37" fmla="*/ 2758403 h 2764803"/>
                    <a:gd name="connsiteX38" fmla="*/ 314544 w 733849"/>
                    <a:gd name="connsiteY38" fmla="*/ 2752003 h 2764803"/>
                    <a:gd name="connsiteX39" fmla="*/ 352295 w 733849"/>
                    <a:gd name="connsiteY39" fmla="*/ 2752003 h 2764803"/>
                    <a:gd name="connsiteX40" fmla="*/ 356997 w 733849"/>
                    <a:gd name="connsiteY40" fmla="*/ 2758403 h 2764803"/>
                    <a:gd name="connsiteX41" fmla="*/ 352295 w 733849"/>
                    <a:gd name="connsiteY41" fmla="*/ 2764804 h 2764803"/>
                    <a:gd name="connsiteX42" fmla="*/ 276924 w 733849"/>
                    <a:gd name="connsiteY42" fmla="*/ 2764804 h 2764803"/>
                    <a:gd name="connsiteX43" fmla="*/ 239174 w 733849"/>
                    <a:gd name="connsiteY43" fmla="*/ 2764804 h 2764803"/>
                    <a:gd name="connsiteX44" fmla="*/ 234471 w 733849"/>
                    <a:gd name="connsiteY44" fmla="*/ 2758403 h 2764803"/>
                    <a:gd name="connsiteX45" fmla="*/ 239174 w 733849"/>
                    <a:gd name="connsiteY45" fmla="*/ 2752003 h 2764803"/>
                    <a:gd name="connsiteX46" fmla="*/ 276924 w 733849"/>
                    <a:gd name="connsiteY46" fmla="*/ 2752003 h 2764803"/>
                    <a:gd name="connsiteX47" fmla="*/ 281627 w 733849"/>
                    <a:gd name="connsiteY47" fmla="*/ 2758403 h 2764803"/>
                    <a:gd name="connsiteX48" fmla="*/ 276924 w 733849"/>
                    <a:gd name="connsiteY48" fmla="*/ 2764804 h 2764803"/>
                    <a:gd name="connsiteX49" fmla="*/ 201554 w 733849"/>
                    <a:gd name="connsiteY49" fmla="*/ 2764804 h 2764803"/>
                    <a:gd name="connsiteX50" fmla="*/ 163803 w 733849"/>
                    <a:gd name="connsiteY50" fmla="*/ 2764804 h 2764803"/>
                    <a:gd name="connsiteX51" fmla="*/ 159101 w 733849"/>
                    <a:gd name="connsiteY51" fmla="*/ 2758403 h 2764803"/>
                    <a:gd name="connsiteX52" fmla="*/ 163803 w 733849"/>
                    <a:gd name="connsiteY52" fmla="*/ 2752003 h 2764803"/>
                    <a:gd name="connsiteX53" fmla="*/ 201554 w 733849"/>
                    <a:gd name="connsiteY53" fmla="*/ 2752003 h 2764803"/>
                    <a:gd name="connsiteX54" fmla="*/ 206256 w 733849"/>
                    <a:gd name="connsiteY54" fmla="*/ 2758403 h 2764803"/>
                    <a:gd name="connsiteX55" fmla="*/ 201554 w 733849"/>
                    <a:gd name="connsiteY55" fmla="*/ 2764804 h 2764803"/>
                    <a:gd name="connsiteX56" fmla="*/ 126184 w 733849"/>
                    <a:gd name="connsiteY56" fmla="*/ 2764804 h 2764803"/>
                    <a:gd name="connsiteX57" fmla="*/ 88433 w 733849"/>
                    <a:gd name="connsiteY57" fmla="*/ 2764804 h 2764803"/>
                    <a:gd name="connsiteX58" fmla="*/ 83730 w 733849"/>
                    <a:gd name="connsiteY58" fmla="*/ 2758403 h 2764803"/>
                    <a:gd name="connsiteX59" fmla="*/ 88433 w 733849"/>
                    <a:gd name="connsiteY59" fmla="*/ 2752003 h 2764803"/>
                    <a:gd name="connsiteX60" fmla="*/ 126184 w 733849"/>
                    <a:gd name="connsiteY60" fmla="*/ 2752003 h 2764803"/>
                    <a:gd name="connsiteX61" fmla="*/ 130886 w 733849"/>
                    <a:gd name="connsiteY61" fmla="*/ 2758403 h 2764803"/>
                    <a:gd name="connsiteX62" fmla="*/ 126184 w 733849"/>
                    <a:gd name="connsiteY62" fmla="*/ 2764804 h 2764803"/>
                    <a:gd name="connsiteX63" fmla="*/ 50813 w 733849"/>
                    <a:gd name="connsiteY63" fmla="*/ 2764804 h 2764803"/>
                    <a:gd name="connsiteX64" fmla="*/ 13062 w 733849"/>
                    <a:gd name="connsiteY64" fmla="*/ 2764804 h 2764803"/>
                    <a:gd name="connsiteX65" fmla="*/ 8360 w 733849"/>
                    <a:gd name="connsiteY65" fmla="*/ 2758403 h 2764803"/>
                    <a:gd name="connsiteX66" fmla="*/ 13062 w 733849"/>
                    <a:gd name="connsiteY66" fmla="*/ 2752003 h 2764803"/>
                    <a:gd name="connsiteX67" fmla="*/ 50813 w 733849"/>
                    <a:gd name="connsiteY67" fmla="*/ 2752003 h 2764803"/>
                    <a:gd name="connsiteX68" fmla="*/ 55516 w 733849"/>
                    <a:gd name="connsiteY68" fmla="*/ 2758403 h 2764803"/>
                    <a:gd name="connsiteX69" fmla="*/ 50813 w 733849"/>
                    <a:gd name="connsiteY69" fmla="*/ 2764804 h 2764803"/>
                    <a:gd name="connsiteX70" fmla="*/ 11495 w 733849"/>
                    <a:gd name="connsiteY70" fmla="*/ 2715167 h 2764803"/>
                    <a:gd name="connsiteX71" fmla="*/ 6792 w 733849"/>
                    <a:gd name="connsiteY71" fmla="*/ 2708766 h 2764803"/>
                    <a:gd name="connsiteX72" fmla="*/ 6792 w 733849"/>
                    <a:gd name="connsiteY72" fmla="*/ 2657169 h 2764803"/>
                    <a:gd name="connsiteX73" fmla="*/ 11364 w 733849"/>
                    <a:gd name="connsiteY73" fmla="*/ 2650638 h 2764803"/>
                    <a:gd name="connsiteX74" fmla="*/ 11364 w 733849"/>
                    <a:gd name="connsiteY74" fmla="*/ 2650638 h 2764803"/>
                    <a:gd name="connsiteX75" fmla="*/ 16067 w 733849"/>
                    <a:gd name="connsiteY75" fmla="*/ 2657039 h 2764803"/>
                    <a:gd name="connsiteX76" fmla="*/ 16067 w 733849"/>
                    <a:gd name="connsiteY76" fmla="*/ 2708635 h 2764803"/>
                    <a:gd name="connsiteX77" fmla="*/ 11495 w 733849"/>
                    <a:gd name="connsiteY77" fmla="*/ 2715167 h 2764803"/>
                    <a:gd name="connsiteX78" fmla="*/ 11495 w 733849"/>
                    <a:gd name="connsiteY78" fmla="*/ 2715167 h 2764803"/>
                    <a:gd name="connsiteX79" fmla="*/ 11234 w 733849"/>
                    <a:gd name="connsiteY79" fmla="*/ 2611842 h 2764803"/>
                    <a:gd name="connsiteX80" fmla="*/ 6531 w 733849"/>
                    <a:gd name="connsiteY80" fmla="*/ 2605442 h 2764803"/>
                    <a:gd name="connsiteX81" fmla="*/ 6531 w 733849"/>
                    <a:gd name="connsiteY81" fmla="*/ 2553845 h 2764803"/>
                    <a:gd name="connsiteX82" fmla="*/ 11103 w 733849"/>
                    <a:gd name="connsiteY82" fmla="*/ 2547314 h 2764803"/>
                    <a:gd name="connsiteX83" fmla="*/ 11103 w 733849"/>
                    <a:gd name="connsiteY83" fmla="*/ 2547314 h 2764803"/>
                    <a:gd name="connsiteX84" fmla="*/ 15806 w 733849"/>
                    <a:gd name="connsiteY84" fmla="*/ 2553714 h 2764803"/>
                    <a:gd name="connsiteX85" fmla="*/ 15806 w 733849"/>
                    <a:gd name="connsiteY85" fmla="*/ 2605311 h 2764803"/>
                    <a:gd name="connsiteX86" fmla="*/ 11234 w 733849"/>
                    <a:gd name="connsiteY86" fmla="*/ 2611842 h 2764803"/>
                    <a:gd name="connsiteX87" fmla="*/ 11234 w 733849"/>
                    <a:gd name="connsiteY87" fmla="*/ 2611842 h 2764803"/>
                    <a:gd name="connsiteX88" fmla="*/ 10972 w 733849"/>
                    <a:gd name="connsiteY88" fmla="*/ 2508518 h 2764803"/>
                    <a:gd name="connsiteX89" fmla="*/ 6270 w 733849"/>
                    <a:gd name="connsiteY89" fmla="*/ 2502118 h 2764803"/>
                    <a:gd name="connsiteX90" fmla="*/ 6270 w 733849"/>
                    <a:gd name="connsiteY90" fmla="*/ 2450521 h 2764803"/>
                    <a:gd name="connsiteX91" fmla="*/ 10842 w 733849"/>
                    <a:gd name="connsiteY91" fmla="*/ 2443990 h 2764803"/>
                    <a:gd name="connsiteX92" fmla="*/ 10842 w 733849"/>
                    <a:gd name="connsiteY92" fmla="*/ 2443990 h 2764803"/>
                    <a:gd name="connsiteX93" fmla="*/ 15544 w 733849"/>
                    <a:gd name="connsiteY93" fmla="*/ 2450390 h 2764803"/>
                    <a:gd name="connsiteX94" fmla="*/ 15544 w 733849"/>
                    <a:gd name="connsiteY94" fmla="*/ 2501987 h 2764803"/>
                    <a:gd name="connsiteX95" fmla="*/ 10972 w 733849"/>
                    <a:gd name="connsiteY95" fmla="*/ 2508518 h 2764803"/>
                    <a:gd name="connsiteX96" fmla="*/ 10972 w 733849"/>
                    <a:gd name="connsiteY96" fmla="*/ 2508518 h 2764803"/>
                    <a:gd name="connsiteX97" fmla="*/ 10711 w 733849"/>
                    <a:gd name="connsiteY97" fmla="*/ 2405194 h 2764803"/>
                    <a:gd name="connsiteX98" fmla="*/ 6009 w 733849"/>
                    <a:gd name="connsiteY98" fmla="*/ 2398794 h 2764803"/>
                    <a:gd name="connsiteX99" fmla="*/ 6009 w 733849"/>
                    <a:gd name="connsiteY99" fmla="*/ 2347197 h 2764803"/>
                    <a:gd name="connsiteX100" fmla="*/ 10581 w 733849"/>
                    <a:gd name="connsiteY100" fmla="*/ 2340665 h 2764803"/>
                    <a:gd name="connsiteX101" fmla="*/ 10581 w 733849"/>
                    <a:gd name="connsiteY101" fmla="*/ 2340665 h 2764803"/>
                    <a:gd name="connsiteX102" fmla="*/ 15283 w 733849"/>
                    <a:gd name="connsiteY102" fmla="*/ 2347066 h 2764803"/>
                    <a:gd name="connsiteX103" fmla="*/ 15283 w 733849"/>
                    <a:gd name="connsiteY103" fmla="*/ 2398663 h 2764803"/>
                    <a:gd name="connsiteX104" fmla="*/ 10711 w 733849"/>
                    <a:gd name="connsiteY104" fmla="*/ 2405194 h 2764803"/>
                    <a:gd name="connsiteX105" fmla="*/ 10711 w 733849"/>
                    <a:gd name="connsiteY105" fmla="*/ 2405194 h 2764803"/>
                    <a:gd name="connsiteX106" fmla="*/ 10450 w 733849"/>
                    <a:gd name="connsiteY106" fmla="*/ 2301870 h 2764803"/>
                    <a:gd name="connsiteX107" fmla="*/ 5747 w 733849"/>
                    <a:gd name="connsiteY107" fmla="*/ 2295469 h 2764803"/>
                    <a:gd name="connsiteX108" fmla="*/ 5747 w 733849"/>
                    <a:gd name="connsiteY108" fmla="*/ 2243872 h 2764803"/>
                    <a:gd name="connsiteX109" fmla="*/ 10319 w 733849"/>
                    <a:gd name="connsiteY109" fmla="*/ 2237341 h 2764803"/>
                    <a:gd name="connsiteX110" fmla="*/ 10319 w 733849"/>
                    <a:gd name="connsiteY110" fmla="*/ 2237341 h 2764803"/>
                    <a:gd name="connsiteX111" fmla="*/ 15022 w 733849"/>
                    <a:gd name="connsiteY111" fmla="*/ 2243742 h 2764803"/>
                    <a:gd name="connsiteX112" fmla="*/ 15022 w 733849"/>
                    <a:gd name="connsiteY112" fmla="*/ 2295339 h 2764803"/>
                    <a:gd name="connsiteX113" fmla="*/ 10450 w 733849"/>
                    <a:gd name="connsiteY113" fmla="*/ 2301870 h 2764803"/>
                    <a:gd name="connsiteX114" fmla="*/ 10450 w 733849"/>
                    <a:gd name="connsiteY114" fmla="*/ 2301870 h 2764803"/>
                    <a:gd name="connsiteX115" fmla="*/ 10189 w 733849"/>
                    <a:gd name="connsiteY115" fmla="*/ 2198546 h 2764803"/>
                    <a:gd name="connsiteX116" fmla="*/ 5486 w 733849"/>
                    <a:gd name="connsiteY116" fmla="*/ 2192145 h 2764803"/>
                    <a:gd name="connsiteX117" fmla="*/ 5486 w 733849"/>
                    <a:gd name="connsiteY117" fmla="*/ 2140548 h 2764803"/>
                    <a:gd name="connsiteX118" fmla="*/ 10058 w 733849"/>
                    <a:gd name="connsiteY118" fmla="*/ 2134017 h 2764803"/>
                    <a:gd name="connsiteX119" fmla="*/ 10058 w 733849"/>
                    <a:gd name="connsiteY119" fmla="*/ 2134017 h 2764803"/>
                    <a:gd name="connsiteX120" fmla="*/ 14761 w 733849"/>
                    <a:gd name="connsiteY120" fmla="*/ 2140418 h 2764803"/>
                    <a:gd name="connsiteX121" fmla="*/ 14761 w 733849"/>
                    <a:gd name="connsiteY121" fmla="*/ 2192014 h 2764803"/>
                    <a:gd name="connsiteX122" fmla="*/ 10189 w 733849"/>
                    <a:gd name="connsiteY122" fmla="*/ 2198546 h 2764803"/>
                    <a:gd name="connsiteX123" fmla="*/ 10189 w 733849"/>
                    <a:gd name="connsiteY123" fmla="*/ 2198546 h 2764803"/>
                    <a:gd name="connsiteX124" fmla="*/ 9927 w 733849"/>
                    <a:gd name="connsiteY124" fmla="*/ 2095222 h 2764803"/>
                    <a:gd name="connsiteX125" fmla="*/ 5225 w 733849"/>
                    <a:gd name="connsiteY125" fmla="*/ 2088821 h 2764803"/>
                    <a:gd name="connsiteX126" fmla="*/ 5225 w 733849"/>
                    <a:gd name="connsiteY126" fmla="*/ 2037224 h 2764803"/>
                    <a:gd name="connsiteX127" fmla="*/ 9797 w 733849"/>
                    <a:gd name="connsiteY127" fmla="*/ 2030693 h 2764803"/>
                    <a:gd name="connsiteX128" fmla="*/ 9797 w 733849"/>
                    <a:gd name="connsiteY128" fmla="*/ 2030693 h 2764803"/>
                    <a:gd name="connsiteX129" fmla="*/ 14499 w 733849"/>
                    <a:gd name="connsiteY129" fmla="*/ 2037093 h 2764803"/>
                    <a:gd name="connsiteX130" fmla="*/ 14499 w 733849"/>
                    <a:gd name="connsiteY130" fmla="*/ 2088690 h 2764803"/>
                    <a:gd name="connsiteX131" fmla="*/ 9927 w 733849"/>
                    <a:gd name="connsiteY131" fmla="*/ 2095222 h 2764803"/>
                    <a:gd name="connsiteX132" fmla="*/ 9927 w 733849"/>
                    <a:gd name="connsiteY132" fmla="*/ 2095222 h 2764803"/>
                    <a:gd name="connsiteX133" fmla="*/ 9666 w 733849"/>
                    <a:gd name="connsiteY133" fmla="*/ 1991897 h 2764803"/>
                    <a:gd name="connsiteX134" fmla="*/ 4964 w 733849"/>
                    <a:gd name="connsiteY134" fmla="*/ 1985497 h 2764803"/>
                    <a:gd name="connsiteX135" fmla="*/ 4964 w 733849"/>
                    <a:gd name="connsiteY135" fmla="*/ 1933900 h 2764803"/>
                    <a:gd name="connsiteX136" fmla="*/ 9536 w 733849"/>
                    <a:gd name="connsiteY136" fmla="*/ 1927369 h 2764803"/>
                    <a:gd name="connsiteX137" fmla="*/ 9536 w 733849"/>
                    <a:gd name="connsiteY137" fmla="*/ 1927369 h 2764803"/>
                    <a:gd name="connsiteX138" fmla="*/ 14238 w 733849"/>
                    <a:gd name="connsiteY138" fmla="*/ 1933769 h 2764803"/>
                    <a:gd name="connsiteX139" fmla="*/ 14238 w 733849"/>
                    <a:gd name="connsiteY139" fmla="*/ 1985366 h 2764803"/>
                    <a:gd name="connsiteX140" fmla="*/ 9666 w 733849"/>
                    <a:gd name="connsiteY140" fmla="*/ 1991897 h 2764803"/>
                    <a:gd name="connsiteX141" fmla="*/ 9666 w 733849"/>
                    <a:gd name="connsiteY141" fmla="*/ 1991897 h 2764803"/>
                    <a:gd name="connsiteX142" fmla="*/ 9405 w 733849"/>
                    <a:gd name="connsiteY142" fmla="*/ 1888573 h 2764803"/>
                    <a:gd name="connsiteX143" fmla="*/ 4702 w 733849"/>
                    <a:gd name="connsiteY143" fmla="*/ 1882172 h 2764803"/>
                    <a:gd name="connsiteX144" fmla="*/ 4702 w 733849"/>
                    <a:gd name="connsiteY144" fmla="*/ 1830576 h 2764803"/>
                    <a:gd name="connsiteX145" fmla="*/ 9274 w 733849"/>
                    <a:gd name="connsiteY145" fmla="*/ 1824044 h 2764803"/>
                    <a:gd name="connsiteX146" fmla="*/ 9274 w 733849"/>
                    <a:gd name="connsiteY146" fmla="*/ 1824044 h 2764803"/>
                    <a:gd name="connsiteX147" fmla="*/ 13977 w 733849"/>
                    <a:gd name="connsiteY147" fmla="*/ 1830445 h 2764803"/>
                    <a:gd name="connsiteX148" fmla="*/ 13977 w 733849"/>
                    <a:gd name="connsiteY148" fmla="*/ 1882042 h 2764803"/>
                    <a:gd name="connsiteX149" fmla="*/ 9405 w 733849"/>
                    <a:gd name="connsiteY149" fmla="*/ 1888573 h 2764803"/>
                    <a:gd name="connsiteX150" fmla="*/ 9405 w 733849"/>
                    <a:gd name="connsiteY150" fmla="*/ 1888573 h 2764803"/>
                    <a:gd name="connsiteX151" fmla="*/ 9144 w 733849"/>
                    <a:gd name="connsiteY151" fmla="*/ 1785249 h 2764803"/>
                    <a:gd name="connsiteX152" fmla="*/ 4441 w 733849"/>
                    <a:gd name="connsiteY152" fmla="*/ 1778848 h 2764803"/>
                    <a:gd name="connsiteX153" fmla="*/ 4441 w 733849"/>
                    <a:gd name="connsiteY153" fmla="*/ 1727251 h 2764803"/>
                    <a:gd name="connsiteX154" fmla="*/ 9013 w 733849"/>
                    <a:gd name="connsiteY154" fmla="*/ 1720720 h 2764803"/>
                    <a:gd name="connsiteX155" fmla="*/ 9013 w 733849"/>
                    <a:gd name="connsiteY155" fmla="*/ 1720720 h 2764803"/>
                    <a:gd name="connsiteX156" fmla="*/ 13716 w 733849"/>
                    <a:gd name="connsiteY156" fmla="*/ 1727121 h 2764803"/>
                    <a:gd name="connsiteX157" fmla="*/ 13716 w 733849"/>
                    <a:gd name="connsiteY157" fmla="*/ 1778718 h 2764803"/>
                    <a:gd name="connsiteX158" fmla="*/ 9144 w 733849"/>
                    <a:gd name="connsiteY158" fmla="*/ 1785249 h 2764803"/>
                    <a:gd name="connsiteX159" fmla="*/ 9144 w 733849"/>
                    <a:gd name="connsiteY159" fmla="*/ 1785249 h 2764803"/>
                    <a:gd name="connsiteX160" fmla="*/ 8882 w 733849"/>
                    <a:gd name="connsiteY160" fmla="*/ 1681925 h 2764803"/>
                    <a:gd name="connsiteX161" fmla="*/ 4180 w 733849"/>
                    <a:gd name="connsiteY161" fmla="*/ 1675524 h 2764803"/>
                    <a:gd name="connsiteX162" fmla="*/ 4180 w 733849"/>
                    <a:gd name="connsiteY162" fmla="*/ 1623927 h 2764803"/>
                    <a:gd name="connsiteX163" fmla="*/ 8752 w 733849"/>
                    <a:gd name="connsiteY163" fmla="*/ 1617396 h 2764803"/>
                    <a:gd name="connsiteX164" fmla="*/ 8752 w 733849"/>
                    <a:gd name="connsiteY164" fmla="*/ 1617396 h 2764803"/>
                    <a:gd name="connsiteX165" fmla="*/ 13454 w 733849"/>
                    <a:gd name="connsiteY165" fmla="*/ 1623797 h 2764803"/>
                    <a:gd name="connsiteX166" fmla="*/ 13454 w 733849"/>
                    <a:gd name="connsiteY166" fmla="*/ 1675393 h 2764803"/>
                    <a:gd name="connsiteX167" fmla="*/ 8882 w 733849"/>
                    <a:gd name="connsiteY167" fmla="*/ 1681925 h 2764803"/>
                    <a:gd name="connsiteX168" fmla="*/ 8882 w 733849"/>
                    <a:gd name="connsiteY168" fmla="*/ 1681925 h 2764803"/>
                    <a:gd name="connsiteX169" fmla="*/ 8621 w 733849"/>
                    <a:gd name="connsiteY169" fmla="*/ 1578600 h 2764803"/>
                    <a:gd name="connsiteX170" fmla="*/ 3919 w 733849"/>
                    <a:gd name="connsiteY170" fmla="*/ 1572200 h 2764803"/>
                    <a:gd name="connsiteX171" fmla="*/ 3919 w 733849"/>
                    <a:gd name="connsiteY171" fmla="*/ 1520603 h 2764803"/>
                    <a:gd name="connsiteX172" fmla="*/ 8491 w 733849"/>
                    <a:gd name="connsiteY172" fmla="*/ 1514072 h 2764803"/>
                    <a:gd name="connsiteX173" fmla="*/ 8491 w 733849"/>
                    <a:gd name="connsiteY173" fmla="*/ 1514072 h 2764803"/>
                    <a:gd name="connsiteX174" fmla="*/ 13193 w 733849"/>
                    <a:gd name="connsiteY174" fmla="*/ 1520472 h 2764803"/>
                    <a:gd name="connsiteX175" fmla="*/ 13193 w 733849"/>
                    <a:gd name="connsiteY175" fmla="*/ 1572069 h 2764803"/>
                    <a:gd name="connsiteX176" fmla="*/ 8621 w 733849"/>
                    <a:gd name="connsiteY176" fmla="*/ 1578600 h 2764803"/>
                    <a:gd name="connsiteX177" fmla="*/ 8621 w 733849"/>
                    <a:gd name="connsiteY177" fmla="*/ 1578600 h 2764803"/>
                    <a:gd name="connsiteX178" fmla="*/ 8360 w 733849"/>
                    <a:gd name="connsiteY178" fmla="*/ 1475276 h 2764803"/>
                    <a:gd name="connsiteX179" fmla="*/ 3658 w 733849"/>
                    <a:gd name="connsiteY179" fmla="*/ 1468876 h 2764803"/>
                    <a:gd name="connsiteX180" fmla="*/ 3658 w 733849"/>
                    <a:gd name="connsiteY180" fmla="*/ 1417279 h 2764803"/>
                    <a:gd name="connsiteX181" fmla="*/ 8229 w 733849"/>
                    <a:gd name="connsiteY181" fmla="*/ 1410748 h 2764803"/>
                    <a:gd name="connsiteX182" fmla="*/ 8229 w 733849"/>
                    <a:gd name="connsiteY182" fmla="*/ 1410748 h 2764803"/>
                    <a:gd name="connsiteX183" fmla="*/ 12932 w 733849"/>
                    <a:gd name="connsiteY183" fmla="*/ 1417148 h 2764803"/>
                    <a:gd name="connsiteX184" fmla="*/ 12932 w 733849"/>
                    <a:gd name="connsiteY184" fmla="*/ 1468745 h 2764803"/>
                    <a:gd name="connsiteX185" fmla="*/ 8360 w 733849"/>
                    <a:gd name="connsiteY185" fmla="*/ 1475276 h 2764803"/>
                    <a:gd name="connsiteX186" fmla="*/ 8360 w 733849"/>
                    <a:gd name="connsiteY186" fmla="*/ 1475276 h 2764803"/>
                    <a:gd name="connsiteX187" fmla="*/ 8099 w 733849"/>
                    <a:gd name="connsiteY187" fmla="*/ 1371952 h 2764803"/>
                    <a:gd name="connsiteX188" fmla="*/ 3396 w 733849"/>
                    <a:gd name="connsiteY188" fmla="*/ 1365551 h 2764803"/>
                    <a:gd name="connsiteX189" fmla="*/ 3396 w 733849"/>
                    <a:gd name="connsiteY189" fmla="*/ 1313955 h 2764803"/>
                    <a:gd name="connsiteX190" fmla="*/ 7968 w 733849"/>
                    <a:gd name="connsiteY190" fmla="*/ 1307423 h 2764803"/>
                    <a:gd name="connsiteX191" fmla="*/ 7968 w 733849"/>
                    <a:gd name="connsiteY191" fmla="*/ 1307423 h 2764803"/>
                    <a:gd name="connsiteX192" fmla="*/ 12671 w 733849"/>
                    <a:gd name="connsiteY192" fmla="*/ 1313824 h 2764803"/>
                    <a:gd name="connsiteX193" fmla="*/ 12671 w 733849"/>
                    <a:gd name="connsiteY193" fmla="*/ 1365421 h 2764803"/>
                    <a:gd name="connsiteX194" fmla="*/ 8099 w 733849"/>
                    <a:gd name="connsiteY194" fmla="*/ 1371952 h 2764803"/>
                    <a:gd name="connsiteX195" fmla="*/ 8099 w 733849"/>
                    <a:gd name="connsiteY195" fmla="*/ 1371952 h 2764803"/>
                    <a:gd name="connsiteX196" fmla="*/ 7837 w 733849"/>
                    <a:gd name="connsiteY196" fmla="*/ 1268628 h 2764803"/>
                    <a:gd name="connsiteX197" fmla="*/ 3135 w 733849"/>
                    <a:gd name="connsiteY197" fmla="*/ 1262227 h 2764803"/>
                    <a:gd name="connsiteX198" fmla="*/ 3135 w 733849"/>
                    <a:gd name="connsiteY198" fmla="*/ 1210630 h 2764803"/>
                    <a:gd name="connsiteX199" fmla="*/ 7707 w 733849"/>
                    <a:gd name="connsiteY199" fmla="*/ 1204099 h 2764803"/>
                    <a:gd name="connsiteX200" fmla="*/ 7707 w 733849"/>
                    <a:gd name="connsiteY200" fmla="*/ 1204099 h 2764803"/>
                    <a:gd name="connsiteX201" fmla="*/ 12409 w 733849"/>
                    <a:gd name="connsiteY201" fmla="*/ 1210500 h 2764803"/>
                    <a:gd name="connsiteX202" fmla="*/ 12409 w 733849"/>
                    <a:gd name="connsiteY202" fmla="*/ 1262097 h 2764803"/>
                    <a:gd name="connsiteX203" fmla="*/ 7837 w 733849"/>
                    <a:gd name="connsiteY203" fmla="*/ 1268628 h 2764803"/>
                    <a:gd name="connsiteX204" fmla="*/ 7837 w 733849"/>
                    <a:gd name="connsiteY204" fmla="*/ 1268628 h 2764803"/>
                    <a:gd name="connsiteX205" fmla="*/ 7576 w 733849"/>
                    <a:gd name="connsiteY205" fmla="*/ 1165304 h 2764803"/>
                    <a:gd name="connsiteX206" fmla="*/ 2874 w 733849"/>
                    <a:gd name="connsiteY206" fmla="*/ 1158903 h 2764803"/>
                    <a:gd name="connsiteX207" fmla="*/ 2874 w 733849"/>
                    <a:gd name="connsiteY207" fmla="*/ 1107306 h 2764803"/>
                    <a:gd name="connsiteX208" fmla="*/ 7446 w 733849"/>
                    <a:gd name="connsiteY208" fmla="*/ 1100775 h 2764803"/>
                    <a:gd name="connsiteX209" fmla="*/ 7446 w 733849"/>
                    <a:gd name="connsiteY209" fmla="*/ 1100775 h 2764803"/>
                    <a:gd name="connsiteX210" fmla="*/ 12148 w 733849"/>
                    <a:gd name="connsiteY210" fmla="*/ 1107176 h 2764803"/>
                    <a:gd name="connsiteX211" fmla="*/ 12148 w 733849"/>
                    <a:gd name="connsiteY211" fmla="*/ 1158772 h 2764803"/>
                    <a:gd name="connsiteX212" fmla="*/ 7576 w 733849"/>
                    <a:gd name="connsiteY212" fmla="*/ 1165304 h 2764803"/>
                    <a:gd name="connsiteX213" fmla="*/ 7576 w 733849"/>
                    <a:gd name="connsiteY213" fmla="*/ 1165304 h 2764803"/>
                    <a:gd name="connsiteX214" fmla="*/ 7315 w 733849"/>
                    <a:gd name="connsiteY214" fmla="*/ 1061979 h 2764803"/>
                    <a:gd name="connsiteX215" fmla="*/ 2613 w 733849"/>
                    <a:gd name="connsiteY215" fmla="*/ 1055579 h 2764803"/>
                    <a:gd name="connsiteX216" fmla="*/ 2613 w 733849"/>
                    <a:gd name="connsiteY216" fmla="*/ 1003982 h 2764803"/>
                    <a:gd name="connsiteX217" fmla="*/ 7184 w 733849"/>
                    <a:gd name="connsiteY217" fmla="*/ 997451 h 2764803"/>
                    <a:gd name="connsiteX218" fmla="*/ 11887 w 733849"/>
                    <a:gd name="connsiteY218" fmla="*/ 1003851 h 2764803"/>
                    <a:gd name="connsiteX219" fmla="*/ 11887 w 733849"/>
                    <a:gd name="connsiteY219" fmla="*/ 1055448 h 2764803"/>
                    <a:gd name="connsiteX220" fmla="*/ 7315 w 733849"/>
                    <a:gd name="connsiteY220" fmla="*/ 1061979 h 2764803"/>
                    <a:gd name="connsiteX221" fmla="*/ 7315 w 733849"/>
                    <a:gd name="connsiteY221" fmla="*/ 1061979 h 2764803"/>
                    <a:gd name="connsiteX222" fmla="*/ 7054 w 733849"/>
                    <a:gd name="connsiteY222" fmla="*/ 958655 h 2764803"/>
                    <a:gd name="connsiteX223" fmla="*/ 2351 w 733849"/>
                    <a:gd name="connsiteY223" fmla="*/ 952255 h 2764803"/>
                    <a:gd name="connsiteX224" fmla="*/ 2351 w 733849"/>
                    <a:gd name="connsiteY224" fmla="*/ 900658 h 2764803"/>
                    <a:gd name="connsiteX225" fmla="*/ 6923 w 733849"/>
                    <a:gd name="connsiteY225" fmla="*/ 894127 h 2764803"/>
                    <a:gd name="connsiteX226" fmla="*/ 6923 w 733849"/>
                    <a:gd name="connsiteY226" fmla="*/ 894127 h 2764803"/>
                    <a:gd name="connsiteX227" fmla="*/ 11626 w 733849"/>
                    <a:gd name="connsiteY227" fmla="*/ 900527 h 2764803"/>
                    <a:gd name="connsiteX228" fmla="*/ 11626 w 733849"/>
                    <a:gd name="connsiteY228" fmla="*/ 952124 h 2764803"/>
                    <a:gd name="connsiteX229" fmla="*/ 7054 w 733849"/>
                    <a:gd name="connsiteY229" fmla="*/ 958655 h 2764803"/>
                    <a:gd name="connsiteX230" fmla="*/ 7054 w 733849"/>
                    <a:gd name="connsiteY230" fmla="*/ 958655 h 2764803"/>
                    <a:gd name="connsiteX231" fmla="*/ 6792 w 733849"/>
                    <a:gd name="connsiteY231" fmla="*/ 855331 h 2764803"/>
                    <a:gd name="connsiteX232" fmla="*/ 2090 w 733849"/>
                    <a:gd name="connsiteY232" fmla="*/ 848930 h 2764803"/>
                    <a:gd name="connsiteX233" fmla="*/ 2090 w 733849"/>
                    <a:gd name="connsiteY233" fmla="*/ 797334 h 2764803"/>
                    <a:gd name="connsiteX234" fmla="*/ 6662 w 733849"/>
                    <a:gd name="connsiteY234" fmla="*/ 790802 h 2764803"/>
                    <a:gd name="connsiteX235" fmla="*/ 6662 w 733849"/>
                    <a:gd name="connsiteY235" fmla="*/ 790802 h 2764803"/>
                    <a:gd name="connsiteX236" fmla="*/ 11364 w 733849"/>
                    <a:gd name="connsiteY236" fmla="*/ 797203 h 2764803"/>
                    <a:gd name="connsiteX237" fmla="*/ 11364 w 733849"/>
                    <a:gd name="connsiteY237" fmla="*/ 848800 h 2764803"/>
                    <a:gd name="connsiteX238" fmla="*/ 6792 w 733849"/>
                    <a:gd name="connsiteY238" fmla="*/ 855331 h 2764803"/>
                    <a:gd name="connsiteX239" fmla="*/ 6792 w 733849"/>
                    <a:gd name="connsiteY239" fmla="*/ 855331 h 2764803"/>
                    <a:gd name="connsiteX240" fmla="*/ 6531 w 733849"/>
                    <a:gd name="connsiteY240" fmla="*/ 752007 h 2764803"/>
                    <a:gd name="connsiteX241" fmla="*/ 1829 w 733849"/>
                    <a:gd name="connsiteY241" fmla="*/ 745606 h 2764803"/>
                    <a:gd name="connsiteX242" fmla="*/ 1829 w 733849"/>
                    <a:gd name="connsiteY242" fmla="*/ 694009 h 2764803"/>
                    <a:gd name="connsiteX243" fmla="*/ 6401 w 733849"/>
                    <a:gd name="connsiteY243" fmla="*/ 687478 h 2764803"/>
                    <a:gd name="connsiteX244" fmla="*/ 6401 w 733849"/>
                    <a:gd name="connsiteY244" fmla="*/ 687478 h 2764803"/>
                    <a:gd name="connsiteX245" fmla="*/ 11103 w 733849"/>
                    <a:gd name="connsiteY245" fmla="*/ 693879 h 2764803"/>
                    <a:gd name="connsiteX246" fmla="*/ 11103 w 733849"/>
                    <a:gd name="connsiteY246" fmla="*/ 745476 h 2764803"/>
                    <a:gd name="connsiteX247" fmla="*/ 6531 w 733849"/>
                    <a:gd name="connsiteY247" fmla="*/ 752007 h 2764803"/>
                    <a:gd name="connsiteX248" fmla="*/ 6531 w 733849"/>
                    <a:gd name="connsiteY248" fmla="*/ 752007 h 2764803"/>
                    <a:gd name="connsiteX249" fmla="*/ 6270 w 733849"/>
                    <a:gd name="connsiteY249" fmla="*/ 648683 h 2764803"/>
                    <a:gd name="connsiteX250" fmla="*/ 1568 w 733849"/>
                    <a:gd name="connsiteY250" fmla="*/ 642282 h 2764803"/>
                    <a:gd name="connsiteX251" fmla="*/ 1568 w 733849"/>
                    <a:gd name="connsiteY251" fmla="*/ 590685 h 2764803"/>
                    <a:gd name="connsiteX252" fmla="*/ 6139 w 733849"/>
                    <a:gd name="connsiteY252" fmla="*/ 584154 h 2764803"/>
                    <a:gd name="connsiteX253" fmla="*/ 10842 w 733849"/>
                    <a:gd name="connsiteY253" fmla="*/ 590555 h 2764803"/>
                    <a:gd name="connsiteX254" fmla="*/ 10842 w 733849"/>
                    <a:gd name="connsiteY254" fmla="*/ 642151 h 2764803"/>
                    <a:gd name="connsiteX255" fmla="*/ 6270 w 733849"/>
                    <a:gd name="connsiteY255" fmla="*/ 648683 h 2764803"/>
                    <a:gd name="connsiteX256" fmla="*/ 6270 w 733849"/>
                    <a:gd name="connsiteY256" fmla="*/ 648683 h 2764803"/>
                    <a:gd name="connsiteX257" fmla="*/ 6009 w 733849"/>
                    <a:gd name="connsiteY257" fmla="*/ 545359 h 2764803"/>
                    <a:gd name="connsiteX258" fmla="*/ 1306 w 733849"/>
                    <a:gd name="connsiteY258" fmla="*/ 538958 h 2764803"/>
                    <a:gd name="connsiteX259" fmla="*/ 1306 w 733849"/>
                    <a:gd name="connsiteY259" fmla="*/ 487361 h 2764803"/>
                    <a:gd name="connsiteX260" fmla="*/ 5878 w 733849"/>
                    <a:gd name="connsiteY260" fmla="*/ 480830 h 2764803"/>
                    <a:gd name="connsiteX261" fmla="*/ 5878 w 733849"/>
                    <a:gd name="connsiteY261" fmla="*/ 480830 h 2764803"/>
                    <a:gd name="connsiteX262" fmla="*/ 10581 w 733849"/>
                    <a:gd name="connsiteY262" fmla="*/ 487230 h 2764803"/>
                    <a:gd name="connsiteX263" fmla="*/ 10581 w 733849"/>
                    <a:gd name="connsiteY263" fmla="*/ 538827 h 2764803"/>
                    <a:gd name="connsiteX264" fmla="*/ 6009 w 733849"/>
                    <a:gd name="connsiteY264" fmla="*/ 545359 h 2764803"/>
                    <a:gd name="connsiteX265" fmla="*/ 6009 w 733849"/>
                    <a:gd name="connsiteY265" fmla="*/ 545359 h 2764803"/>
                    <a:gd name="connsiteX266" fmla="*/ 5747 w 733849"/>
                    <a:gd name="connsiteY266" fmla="*/ 442034 h 2764803"/>
                    <a:gd name="connsiteX267" fmla="*/ 1045 w 733849"/>
                    <a:gd name="connsiteY267" fmla="*/ 435634 h 2764803"/>
                    <a:gd name="connsiteX268" fmla="*/ 1045 w 733849"/>
                    <a:gd name="connsiteY268" fmla="*/ 384037 h 2764803"/>
                    <a:gd name="connsiteX269" fmla="*/ 5617 w 733849"/>
                    <a:gd name="connsiteY269" fmla="*/ 377506 h 2764803"/>
                    <a:gd name="connsiteX270" fmla="*/ 5617 w 733849"/>
                    <a:gd name="connsiteY270" fmla="*/ 377506 h 2764803"/>
                    <a:gd name="connsiteX271" fmla="*/ 10319 w 733849"/>
                    <a:gd name="connsiteY271" fmla="*/ 383906 h 2764803"/>
                    <a:gd name="connsiteX272" fmla="*/ 10319 w 733849"/>
                    <a:gd name="connsiteY272" fmla="*/ 435503 h 2764803"/>
                    <a:gd name="connsiteX273" fmla="*/ 5747 w 733849"/>
                    <a:gd name="connsiteY273" fmla="*/ 442034 h 2764803"/>
                    <a:gd name="connsiteX274" fmla="*/ 5747 w 733849"/>
                    <a:gd name="connsiteY274" fmla="*/ 442034 h 2764803"/>
                    <a:gd name="connsiteX275" fmla="*/ 5486 w 733849"/>
                    <a:gd name="connsiteY275" fmla="*/ 338710 h 2764803"/>
                    <a:gd name="connsiteX276" fmla="*/ 784 w 733849"/>
                    <a:gd name="connsiteY276" fmla="*/ 332309 h 2764803"/>
                    <a:gd name="connsiteX277" fmla="*/ 784 w 733849"/>
                    <a:gd name="connsiteY277" fmla="*/ 280713 h 2764803"/>
                    <a:gd name="connsiteX278" fmla="*/ 5356 w 733849"/>
                    <a:gd name="connsiteY278" fmla="*/ 274181 h 2764803"/>
                    <a:gd name="connsiteX279" fmla="*/ 5356 w 733849"/>
                    <a:gd name="connsiteY279" fmla="*/ 274181 h 2764803"/>
                    <a:gd name="connsiteX280" fmla="*/ 10058 w 733849"/>
                    <a:gd name="connsiteY280" fmla="*/ 280582 h 2764803"/>
                    <a:gd name="connsiteX281" fmla="*/ 10058 w 733849"/>
                    <a:gd name="connsiteY281" fmla="*/ 332179 h 2764803"/>
                    <a:gd name="connsiteX282" fmla="*/ 5486 w 733849"/>
                    <a:gd name="connsiteY282" fmla="*/ 338710 h 2764803"/>
                    <a:gd name="connsiteX283" fmla="*/ 5486 w 733849"/>
                    <a:gd name="connsiteY283" fmla="*/ 338710 h 2764803"/>
                    <a:gd name="connsiteX284" fmla="*/ 5225 w 733849"/>
                    <a:gd name="connsiteY284" fmla="*/ 235386 h 2764803"/>
                    <a:gd name="connsiteX285" fmla="*/ 523 w 733849"/>
                    <a:gd name="connsiteY285" fmla="*/ 228985 h 2764803"/>
                    <a:gd name="connsiteX286" fmla="*/ 523 w 733849"/>
                    <a:gd name="connsiteY286" fmla="*/ 177388 h 2764803"/>
                    <a:gd name="connsiteX287" fmla="*/ 5094 w 733849"/>
                    <a:gd name="connsiteY287" fmla="*/ 170857 h 2764803"/>
                    <a:gd name="connsiteX288" fmla="*/ 5094 w 733849"/>
                    <a:gd name="connsiteY288" fmla="*/ 170857 h 2764803"/>
                    <a:gd name="connsiteX289" fmla="*/ 9797 w 733849"/>
                    <a:gd name="connsiteY289" fmla="*/ 177258 h 2764803"/>
                    <a:gd name="connsiteX290" fmla="*/ 9797 w 733849"/>
                    <a:gd name="connsiteY290" fmla="*/ 228855 h 2764803"/>
                    <a:gd name="connsiteX291" fmla="*/ 5225 w 733849"/>
                    <a:gd name="connsiteY291" fmla="*/ 235386 h 2764803"/>
                    <a:gd name="connsiteX292" fmla="*/ 5225 w 733849"/>
                    <a:gd name="connsiteY292" fmla="*/ 235386 h 2764803"/>
                    <a:gd name="connsiteX293" fmla="*/ 4964 w 733849"/>
                    <a:gd name="connsiteY293" fmla="*/ 132062 h 2764803"/>
                    <a:gd name="connsiteX294" fmla="*/ 261 w 733849"/>
                    <a:gd name="connsiteY294" fmla="*/ 125661 h 2764803"/>
                    <a:gd name="connsiteX295" fmla="*/ 261 w 733849"/>
                    <a:gd name="connsiteY295" fmla="*/ 74064 h 2764803"/>
                    <a:gd name="connsiteX296" fmla="*/ 4833 w 733849"/>
                    <a:gd name="connsiteY296" fmla="*/ 67533 h 2764803"/>
                    <a:gd name="connsiteX297" fmla="*/ 4833 w 733849"/>
                    <a:gd name="connsiteY297" fmla="*/ 67533 h 2764803"/>
                    <a:gd name="connsiteX298" fmla="*/ 9536 w 733849"/>
                    <a:gd name="connsiteY298" fmla="*/ 73934 h 2764803"/>
                    <a:gd name="connsiteX299" fmla="*/ 9536 w 733849"/>
                    <a:gd name="connsiteY299" fmla="*/ 125530 h 2764803"/>
                    <a:gd name="connsiteX300" fmla="*/ 4964 w 733849"/>
                    <a:gd name="connsiteY300" fmla="*/ 132062 h 2764803"/>
                    <a:gd name="connsiteX301" fmla="*/ 4964 w 733849"/>
                    <a:gd name="connsiteY301" fmla="*/ 132062 h 2764803"/>
                    <a:gd name="connsiteX302" fmla="*/ 4702 w 733849"/>
                    <a:gd name="connsiteY302" fmla="*/ 28738 h 2764803"/>
                    <a:gd name="connsiteX303" fmla="*/ 0 w 733849"/>
                    <a:gd name="connsiteY303" fmla="*/ 22337 h 2764803"/>
                    <a:gd name="connsiteX304" fmla="*/ 0 w 733849"/>
                    <a:gd name="connsiteY304" fmla="*/ 6531 h 2764803"/>
                    <a:gd name="connsiteX305" fmla="*/ 4702 w 733849"/>
                    <a:gd name="connsiteY305" fmla="*/ 0 h 2764803"/>
                    <a:gd name="connsiteX306" fmla="*/ 4702 w 733849"/>
                    <a:gd name="connsiteY306" fmla="*/ 0 h 2764803"/>
                    <a:gd name="connsiteX307" fmla="*/ 9405 w 733849"/>
                    <a:gd name="connsiteY307" fmla="*/ 6401 h 2764803"/>
                    <a:gd name="connsiteX308" fmla="*/ 9405 w 733849"/>
                    <a:gd name="connsiteY308" fmla="*/ 22206 h 2764803"/>
                    <a:gd name="connsiteX309" fmla="*/ 4702 w 733849"/>
                    <a:gd name="connsiteY309" fmla="*/ 28738 h 2764803"/>
                    <a:gd name="connsiteX310" fmla="*/ 4702 w 733849"/>
                    <a:gd name="connsiteY310" fmla="*/ 28738 h 276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Lst>
                  <a:rect l="l" t="t" r="r" b="b"/>
                  <a:pathLst>
                    <a:path w="733849" h="2764803">
                      <a:moveTo>
                        <a:pt x="729147" y="2764804"/>
                      </a:moveTo>
                      <a:lnTo>
                        <a:pt x="691397" y="2764804"/>
                      </a:lnTo>
                      <a:cubicBezTo>
                        <a:pt x="688784" y="2764804"/>
                        <a:pt x="686694" y="2761930"/>
                        <a:pt x="686694" y="2758403"/>
                      </a:cubicBezTo>
                      <a:cubicBezTo>
                        <a:pt x="686694" y="2754877"/>
                        <a:pt x="688784" y="2752003"/>
                        <a:pt x="691397" y="2752003"/>
                      </a:cubicBezTo>
                      <a:lnTo>
                        <a:pt x="729147" y="2752003"/>
                      </a:lnTo>
                      <a:cubicBezTo>
                        <a:pt x="731760" y="2752003"/>
                        <a:pt x="733850" y="2754877"/>
                        <a:pt x="733850" y="2758403"/>
                      </a:cubicBezTo>
                      <a:cubicBezTo>
                        <a:pt x="733850" y="2761930"/>
                        <a:pt x="731760" y="2764804"/>
                        <a:pt x="729147" y="2764804"/>
                      </a:cubicBezTo>
                      <a:close/>
                      <a:moveTo>
                        <a:pt x="653777" y="2764804"/>
                      </a:moveTo>
                      <a:lnTo>
                        <a:pt x="616026" y="2764804"/>
                      </a:lnTo>
                      <a:cubicBezTo>
                        <a:pt x="613414" y="2764804"/>
                        <a:pt x="611324" y="2761930"/>
                        <a:pt x="611324" y="2758403"/>
                      </a:cubicBezTo>
                      <a:cubicBezTo>
                        <a:pt x="611324" y="2754877"/>
                        <a:pt x="613414" y="2752003"/>
                        <a:pt x="616026" y="2752003"/>
                      </a:cubicBezTo>
                      <a:lnTo>
                        <a:pt x="653777" y="2752003"/>
                      </a:lnTo>
                      <a:cubicBezTo>
                        <a:pt x="656389" y="2752003"/>
                        <a:pt x="658479" y="2754877"/>
                        <a:pt x="658479" y="2758403"/>
                      </a:cubicBezTo>
                      <a:cubicBezTo>
                        <a:pt x="658479" y="2761930"/>
                        <a:pt x="656389" y="2764804"/>
                        <a:pt x="653777" y="2764804"/>
                      </a:cubicBezTo>
                      <a:close/>
                      <a:moveTo>
                        <a:pt x="578406" y="2764804"/>
                      </a:moveTo>
                      <a:lnTo>
                        <a:pt x="540656" y="2764804"/>
                      </a:lnTo>
                      <a:cubicBezTo>
                        <a:pt x="538043" y="2764804"/>
                        <a:pt x="535953" y="2761930"/>
                        <a:pt x="535953" y="2758403"/>
                      </a:cubicBezTo>
                      <a:cubicBezTo>
                        <a:pt x="535953" y="2754877"/>
                        <a:pt x="538043" y="2752003"/>
                        <a:pt x="540656" y="2752003"/>
                      </a:cubicBezTo>
                      <a:lnTo>
                        <a:pt x="578406" y="2752003"/>
                      </a:lnTo>
                      <a:cubicBezTo>
                        <a:pt x="581019" y="2752003"/>
                        <a:pt x="583109" y="2754877"/>
                        <a:pt x="583109" y="2758403"/>
                      </a:cubicBezTo>
                      <a:cubicBezTo>
                        <a:pt x="583109" y="2761930"/>
                        <a:pt x="581019" y="2764804"/>
                        <a:pt x="578406" y="2764804"/>
                      </a:cubicBezTo>
                      <a:close/>
                      <a:moveTo>
                        <a:pt x="503036" y="2764804"/>
                      </a:moveTo>
                      <a:lnTo>
                        <a:pt x="465285" y="2764804"/>
                      </a:lnTo>
                      <a:cubicBezTo>
                        <a:pt x="462673" y="2764804"/>
                        <a:pt x="460583" y="2761930"/>
                        <a:pt x="460583" y="2758403"/>
                      </a:cubicBezTo>
                      <a:cubicBezTo>
                        <a:pt x="460583" y="2754877"/>
                        <a:pt x="462673" y="2752003"/>
                        <a:pt x="465285" y="2752003"/>
                      </a:cubicBezTo>
                      <a:lnTo>
                        <a:pt x="503036" y="2752003"/>
                      </a:lnTo>
                      <a:cubicBezTo>
                        <a:pt x="505648" y="2752003"/>
                        <a:pt x="507738" y="2754877"/>
                        <a:pt x="507738" y="2758403"/>
                      </a:cubicBezTo>
                      <a:cubicBezTo>
                        <a:pt x="507738" y="2761930"/>
                        <a:pt x="505648" y="2764804"/>
                        <a:pt x="503036" y="2764804"/>
                      </a:cubicBezTo>
                      <a:close/>
                      <a:moveTo>
                        <a:pt x="427665" y="2764804"/>
                      </a:moveTo>
                      <a:lnTo>
                        <a:pt x="389915" y="2764804"/>
                      </a:lnTo>
                      <a:cubicBezTo>
                        <a:pt x="387302" y="2764804"/>
                        <a:pt x="385212" y="2761930"/>
                        <a:pt x="385212" y="2758403"/>
                      </a:cubicBezTo>
                      <a:cubicBezTo>
                        <a:pt x="385212" y="2754877"/>
                        <a:pt x="387302" y="2752003"/>
                        <a:pt x="389915" y="2752003"/>
                      </a:cubicBezTo>
                      <a:lnTo>
                        <a:pt x="427665" y="2752003"/>
                      </a:lnTo>
                      <a:cubicBezTo>
                        <a:pt x="430278" y="2752003"/>
                        <a:pt x="432368" y="2754877"/>
                        <a:pt x="432368" y="2758403"/>
                      </a:cubicBezTo>
                      <a:cubicBezTo>
                        <a:pt x="432368" y="2761930"/>
                        <a:pt x="430278" y="2764804"/>
                        <a:pt x="427665" y="2764804"/>
                      </a:cubicBezTo>
                      <a:close/>
                      <a:moveTo>
                        <a:pt x="352295" y="2764804"/>
                      </a:moveTo>
                      <a:lnTo>
                        <a:pt x="314544" y="2764804"/>
                      </a:lnTo>
                      <a:cubicBezTo>
                        <a:pt x="311932" y="2764804"/>
                        <a:pt x="309842" y="2761930"/>
                        <a:pt x="309842" y="2758403"/>
                      </a:cubicBezTo>
                      <a:cubicBezTo>
                        <a:pt x="309842" y="2754877"/>
                        <a:pt x="311932" y="2752003"/>
                        <a:pt x="314544" y="2752003"/>
                      </a:cubicBezTo>
                      <a:lnTo>
                        <a:pt x="352295" y="2752003"/>
                      </a:lnTo>
                      <a:cubicBezTo>
                        <a:pt x="354907" y="2752003"/>
                        <a:pt x="356997" y="2754877"/>
                        <a:pt x="356997" y="2758403"/>
                      </a:cubicBezTo>
                      <a:cubicBezTo>
                        <a:pt x="356997" y="2761930"/>
                        <a:pt x="354907" y="2764804"/>
                        <a:pt x="352295" y="2764804"/>
                      </a:cubicBezTo>
                      <a:close/>
                      <a:moveTo>
                        <a:pt x="276924" y="2764804"/>
                      </a:moveTo>
                      <a:lnTo>
                        <a:pt x="239174" y="2764804"/>
                      </a:lnTo>
                      <a:cubicBezTo>
                        <a:pt x="236561" y="2764804"/>
                        <a:pt x="234471" y="2761930"/>
                        <a:pt x="234471" y="2758403"/>
                      </a:cubicBezTo>
                      <a:cubicBezTo>
                        <a:pt x="234471" y="2754877"/>
                        <a:pt x="236561" y="2752003"/>
                        <a:pt x="239174" y="2752003"/>
                      </a:cubicBezTo>
                      <a:lnTo>
                        <a:pt x="276924" y="2752003"/>
                      </a:lnTo>
                      <a:cubicBezTo>
                        <a:pt x="279537" y="2752003"/>
                        <a:pt x="281627" y="2754877"/>
                        <a:pt x="281627" y="2758403"/>
                      </a:cubicBezTo>
                      <a:cubicBezTo>
                        <a:pt x="281627" y="2761930"/>
                        <a:pt x="279537" y="2764804"/>
                        <a:pt x="276924" y="2764804"/>
                      </a:cubicBezTo>
                      <a:close/>
                      <a:moveTo>
                        <a:pt x="201554" y="2764804"/>
                      </a:moveTo>
                      <a:lnTo>
                        <a:pt x="163803" y="2764804"/>
                      </a:lnTo>
                      <a:cubicBezTo>
                        <a:pt x="161191" y="2764804"/>
                        <a:pt x="159101" y="2761930"/>
                        <a:pt x="159101" y="2758403"/>
                      </a:cubicBezTo>
                      <a:cubicBezTo>
                        <a:pt x="159101" y="2754877"/>
                        <a:pt x="161191" y="2752003"/>
                        <a:pt x="163803" y="2752003"/>
                      </a:cubicBezTo>
                      <a:lnTo>
                        <a:pt x="201554" y="2752003"/>
                      </a:lnTo>
                      <a:cubicBezTo>
                        <a:pt x="204166" y="2752003"/>
                        <a:pt x="206256" y="2754877"/>
                        <a:pt x="206256" y="2758403"/>
                      </a:cubicBezTo>
                      <a:cubicBezTo>
                        <a:pt x="206256" y="2761930"/>
                        <a:pt x="204166" y="2764804"/>
                        <a:pt x="201554" y="2764804"/>
                      </a:cubicBezTo>
                      <a:close/>
                      <a:moveTo>
                        <a:pt x="126184" y="2764804"/>
                      </a:moveTo>
                      <a:lnTo>
                        <a:pt x="88433" y="2764804"/>
                      </a:lnTo>
                      <a:cubicBezTo>
                        <a:pt x="85820" y="2764804"/>
                        <a:pt x="83730" y="2761930"/>
                        <a:pt x="83730" y="2758403"/>
                      </a:cubicBezTo>
                      <a:cubicBezTo>
                        <a:pt x="83730" y="2754877"/>
                        <a:pt x="85820" y="2752003"/>
                        <a:pt x="88433" y="2752003"/>
                      </a:cubicBezTo>
                      <a:lnTo>
                        <a:pt x="126184" y="2752003"/>
                      </a:lnTo>
                      <a:cubicBezTo>
                        <a:pt x="128796" y="2752003"/>
                        <a:pt x="130886" y="2754877"/>
                        <a:pt x="130886" y="2758403"/>
                      </a:cubicBezTo>
                      <a:cubicBezTo>
                        <a:pt x="130886" y="2761930"/>
                        <a:pt x="128796" y="2764804"/>
                        <a:pt x="126184" y="2764804"/>
                      </a:cubicBezTo>
                      <a:close/>
                      <a:moveTo>
                        <a:pt x="50813" y="2764804"/>
                      </a:moveTo>
                      <a:lnTo>
                        <a:pt x="13062" y="2764804"/>
                      </a:lnTo>
                      <a:cubicBezTo>
                        <a:pt x="10450" y="2764804"/>
                        <a:pt x="8360" y="2761930"/>
                        <a:pt x="8360" y="2758403"/>
                      </a:cubicBezTo>
                      <a:cubicBezTo>
                        <a:pt x="8360" y="2754877"/>
                        <a:pt x="10450" y="2752003"/>
                        <a:pt x="13062" y="2752003"/>
                      </a:cubicBezTo>
                      <a:lnTo>
                        <a:pt x="50813" y="2752003"/>
                      </a:lnTo>
                      <a:cubicBezTo>
                        <a:pt x="53426" y="2752003"/>
                        <a:pt x="55516" y="2754877"/>
                        <a:pt x="55516" y="2758403"/>
                      </a:cubicBezTo>
                      <a:cubicBezTo>
                        <a:pt x="55516" y="2761930"/>
                        <a:pt x="53426" y="2764804"/>
                        <a:pt x="50813" y="2764804"/>
                      </a:cubicBezTo>
                      <a:close/>
                      <a:moveTo>
                        <a:pt x="11495" y="2715167"/>
                      </a:moveTo>
                      <a:cubicBezTo>
                        <a:pt x="8882" y="2715167"/>
                        <a:pt x="6792" y="2712293"/>
                        <a:pt x="6792" y="2708766"/>
                      </a:cubicBezTo>
                      <a:lnTo>
                        <a:pt x="6792" y="2657169"/>
                      </a:lnTo>
                      <a:cubicBezTo>
                        <a:pt x="6792" y="2653643"/>
                        <a:pt x="8752" y="2650769"/>
                        <a:pt x="11364" y="2650638"/>
                      </a:cubicBezTo>
                      <a:lnTo>
                        <a:pt x="11364" y="2650638"/>
                      </a:lnTo>
                      <a:cubicBezTo>
                        <a:pt x="13977" y="2650638"/>
                        <a:pt x="16067" y="2653512"/>
                        <a:pt x="16067" y="2657039"/>
                      </a:cubicBezTo>
                      <a:lnTo>
                        <a:pt x="16067" y="2708635"/>
                      </a:lnTo>
                      <a:cubicBezTo>
                        <a:pt x="16067" y="2712162"/>
                        <a:pt x="14107" y="2715036"/>
                        <a:pt x="11495" y="2715167"/>
                      </a:cubicBezTo>
                      <a:lnTo>
                        <a:pt x="11495" y="2715167"/>
                      </a:lnTo>
                      <a:close/>
                      <a:moveTo>
                        <a:pt x="11234" y="2611842"/>
                      </a:moveTo>
                      <a:cubicBezTo>
                        <a:pt x="8621" y="2611842"/>
                        <a:pt x="6531" y="2608969"/>
                        <a:pt x="6531" y="2605442"/>
                      </a:cubicBezTo>
                      <a:lnTo>
                        <a:pt x="6531" y="2553845"/>
                      </a:lnTo>
                      <a:cubicBezTo>
                        <a:pt x="6531" y="2550318"/>
                        <a:pt x="8491" y="2547445"/>
                        <a:pt x="11103" y="2547314"/>
                      </a:cubicBezTo>
                      <a:lnTo>
                        <a:pt x="11103" y="2547314"/>
                      </a:lnTo>
                      <a:cubicBezTo>
                        <a:pt x="13716" y="2547314"/>
                        <a:pt x="15806" y="2550188"/>
                        <a:pt x="15806" y="2553714"/>
                      </a:cubicBezTo>
                      <a:lnTo>
                        <a:pt x="15806" y="2605311"/>
                      </a:lnTo>
                      <a:cubicBezTo>
                        <a:pt x="15806" y="2608838"/>
                        <a:pt x="13846" y="2611712"/>
                        <a:pt x="11234" y="2611842"/>
                      </a:cubicBezTo>
                      <a:lnTo>
                        <a:pt x="11234" y="2611842"/>
                      </a:lnTo>
                      <a:close/>
                      <a:moveTo>
                        <a:pt x="10972" y="2508518"/>
                      </a:moveTo>
                      <a:cubicBezTo>
                        <a:pt x="8360" y="2508518"/>
                        <a:pt x="6270" y="2505644"/>
                        <a:pt x="6270" y="2502118"/>
                      </a:cubicBezTo>
                      <a:lnTo>
                        <a:pt x="6270" y="2450521"/>
                      </a:lnTo>
                      <a:cubicBezTo>
                        <a:pt x="6270" y="2446994"/>
                        <a:pt x="8229" y="2444120"/>
                        <a:pt x="10842" y="2443990"/>
                      </a:cubicBezTo>
                      <a:lnTo>
                        <a:pt x="10842" y="2443990"/>
                      </a:lnTo>
                      <a:cubicBezTo>
                        <a:pt x="13454" y="2443990"/>
                        <a:pt x="15544" y="2446863"/>
                        <a:pt x="15544" y="2450390"/>
                      </a:cubicBezTo>
                      <a:lnTo>
                        <a:pt x="15544" y="2501987"/>
                      </a:lnTo>
                      <a:cubicBezTo>
                        <a:pt x="15544" y="2505514"/>
                        <a:pt x="13585" y="2508387"/>
                        <a:pt x="10972" y="2508518"/>
                      </a:cubicBezTo>
                      <a:lnTo>
                        <a:pt x="10972" y="2508518"/>
                      </a:lnTo>
                      <a:close/>
                      <a:moveTo>
                        <a:pt x="10711" y="2405194"/>
                      </a:moveTo>
                      <a:cubicBezTo>
                        <a:pt x="8099" y="2405194"/>
                        <a:pt x="6009" y="2402320"/>
                        <a:pt x="6009" y="2398794"/>
                      </a:cubicBezTo>
                      <a:lnTo>
                        <a:pt x="6009" y="2347197"/>
                      </a:lnTo>
                      <a:cubicBezTo>
                        <a:pt x="6009" y="2343670"/>
                        <a:pt x="7968" y="2340796"/>
                        <a:pt x="10581" y="2340665"/>
                      </a:cubicBezTo>
                      <a:lnTo>
                        <a:pt x="10581" y="2340665"/>
                      </a:lnTo>
                      <a:cubicBezTo>
                        <a:pt x="13193" y="2340665"/>
                        <a:pt x="15283" y="2343539"/>
                        <a:pt x="15283" y="2347066"/>
                      </a:cubicBezTo>
                      <a:lnTo>
                        <a:pt x="15283" y="2398663"/>
                      </a:lnTo>
                      <a:cubicBezTo>
                        <a:pt x="15283" y="2402190"/>
                        <a:pt x="13324" y="2405063"/>
                        <a:pt x="10711" y="2405194"/>
                      </a:cubicBezTo>
                      <a:lnTo>
                        <a:pt x="10711" y="2405194"/>
                      </a:lnTo>
                      <a:close/>
                      <a:moveTo>
                        <a:pt x="10450" y="2301870"/>
                      </a:moveTo>
                      <a:cubicBezTo>
                        <a:pt x="7837" y="2301870"/>
                        <a:pt x="5747" y="2298996"/>
                        <a:pt x="5747" y="2295469"/>
                      </a:cubicBezTo>
                      <a:lnTo>
                        <a:pt x="5747" y="2243872"/>
                      </a:lnTo>
                      <a:cubicBezTo>
                        <a:pt x="5747" y="2240346"/>
                        <a:pt x="7707" y="2237472"/>
                        <a:pt x="10319" y="2237341"/>
                      </a:cubicBezTo>
                      <a:lnTo>
                        <a:pt x="10319" y="2237341"/>
                      </a:lnTo>
                      <a:cubicBezTo>
                        <a:pt x="12932" y="2237341"/>
                        <a:pt x="15022" y="2240215"/>
                        <a:pt x="15022" y="2243742"/>
                      </a:cubicBezTo>
                      <a:lnTo>
                        <a:pt x="15022" y="2295339"/>
                      </a:lnTo>
                      <a:cubicBezTo>
                        <a:pt x="15022" y="2298866"/>
                        <a:pt x="13062" y="2301739"/>
                        <a:pt x="10450" y="2301870"/>
                      </a:cubicBezTo>
                      <a:lnTo>
                        <a:pt x="10450" y="2301870"/>
                      </a:lnTo>
                      <a:close/>
                      <a:moveTo>
                        <a:pt x="10189" y="2198546"/>
                      </a:moveTo>
                      <a:cubicBezTo>
                        <a:pt x="7576" y="2198546"/>
                        <a:pt x="5486" y="2195672"/>
                        <a:pt x="5486" y="2192145"/>
                      </a:cubicBezTo>
                      <a:lnTo>
                        <a:pt x="5486" y="2140548"/>
                      </a:lnTo>
                      <a:cubicBezTo>
                        <a:pt x="5486" y="2137021"/>
                        <a:pt x="7446" y="2134148"/>
                        <a:pt x="10058" y="2134017"/>
                      </a:cubicBezTo>
                      <a:lnTo>
                        <a:pt x="10058" y="2134017"/>
                      </a:lnTo>
                      <a:cubicBezTo>
                        <a:pt x="12671" y="2134017"/>
                        <a:pt x="14761" y="2136891"/>
                        <a:pt x="14761" y="2140418"/>
                      </a:cubicBezTo>
                      <a:lnTo>
                        <a:pt x="14761" y="2192014"/>
                      </a:lnTo>
                      <a:cubicBezTo>
                        <a:pt x="14761" y="2195541"/>
                        <a:pt x="12801" y="2198415"/>
                        <a:pt x="10189" y="2198546"/>
                      </a:cubicBezTo>
                      <a:lnTo>
                        <a:pt x="10189" y="2198546"/>
                      </a:lnTo>
                      <a:close/>
                      <a:moveTo>
                        <a:pt x="9927" y="2095222"/>
                      </a:moveTo>
                      <a:cubicBezTo>
                        <a:pt x="7315" y="2095222"/>
                        <a:pt x="5225" y="2092348"/>
                        <a:pt x="5225" y="2088821"/>
                      </a:cubicBezTo>
                      <a:lnTo>
                        <a:pt x="5225" y="2037224"/>
                      </a:lnTo>
                      <a:cubicBezTo>
                        <a:pt x="5225" y="2033697"/>
                        <a:pt x="7184" y="2030823"/>
                        <a:pt x="9797" y="2030693"/>
                      </a:cubicBezTo>
                      <a:lnTo>
                        <a:pt x="9797" y="2030693"/>
                      </a:lnTo>
                      <a:cubicBezTo>
                        <a:pt x="12409" y="2030693"/>
                        <a:pt x="14499" y="2033567"/>
                        <a:pt x="14499" y="2037093"/>
                      </a:cubicBezTo>
                      <a:lnTo>
                        <a:pt x="14499" y="2088690"/>
                      </a:lnTo>
                      <a:cubicBezTo>
                        <a:pt x="14499" y="2092217"/>
                        <a:pt x="12540" y="2095091"/>
                        <a:pt x="9927" y="2095222"/>
                      </a:cubicBezTo>
                      <a:lnTo>
                        <a:pt x="9927" y="2095222"/>
                      </a:lnTo>
                      <a:close/>
                      <a:moveTo>
                        <a:pt x="9666" y="1991897"/>
                      </a:moveTo>
                      <a:cubicBezTo>
                        <a:pt x="7054" y="1991897"/>
                        <a:pt x="4964" y="1989023"/>
                        <a:pt x="4964" y="1985497"/>
                      </a:cubicBezTo>
                      <a:lnTo>
                        <a:pt x="4964" y="1933900"/>
                      </a:lnTo>
                      <a:cubicBezTo>
                        <a:pt x="4964" y="1930373"/>
                        <a:pt x="6923" y="1927499"/>
                        <a:pt x="9536" y="1927369"/>
                      </a:cubicBezTo>
                      <a:lnTo>
                        <a:pt x="9536" y="1927369"/>
                      </a:lnTo>
                      <a:cubicBezTo>
                        <a:pt x="12148" y="1927369"/>
                        <a:pt x="14238" y="1930242"/>
                        <a:pt x="14238" y="1933769"/>
                      </a:cubicBezTo>
                      <a:lnTo>
                        <a:pt x="14238" y="1985366"/>
                      </a:lnTo>
                      <a:cubicBezTo>
                        <a:pt x="14238" y="1988893"/>
                        <a:pt x="12279" y="1991767"/>
                        <a:pt x="9666" y="1991897"/>
                      </a:cubicBezTo>
                      <a:lnTo>
                        <a:pt x="9666" y="1991897"/>
                      </a:lnTo>
                      <a:close/>
                      <a:moveTo>
                        <a:pt x="9405" y="1888573"/>
                      </a:moveTo>
                      <a:cubicBezTo>
                        <a:pt x="6792" y="1888573"/>
                        <a:pt x="4702" y="1885699"/>
                        <a:pt x="4702" y="1882172"/>
                      </a:cubicBezTo>
                      <a:lnTo>
                        <a:pt x="4702" y="1830576"/>
                      </a:lnTo>
                      <a:cubicBezTo>
                        <a:pt x="4702" y="1827049"/>
                        <a:pt x="6662" y="1824175"/>
                        <a:pt x="9274" y="1824044"/>
                      </a:cubicBezTo>
                      <a:lnTo>
                        <a:pt x="9274" y="1824044"/>
                      </a:lnTo>
                      <a:cubicBezTo>
                        <a:pt x="11887" y="1824044"/>
                        <a:pt x="13977" y="1826918"/>
                        <a:pt x="13977" y="1830445"/>
                      </a:cubicBezTo>
                      <a:lnTo>
                        <a:pt x="13977" y="1882042"/>
                      </a:lnTo>
                      <a:cubicBezTo>
                        <a:pt x="13977" y="1885569"/>
                        <a:pt x="12017" y="1888442"/>
                        <a:pt x="9405" y="1888573"/>
                      </a:cubicBezTo>
                      <a:lnTo>
                        <a:pt x="9405" y="1888573"/>
                      </a:lnTo>
                      <a:close/>
                      <a:moveTo>
                        <a:pt x="9144" y="1785249"/>
                      </a:moveTo>
                      <a:cubicBezTo>
                        <a:pt x="6531" y="1785249"/>
                        <a:pt x="4441" y="1782375"/>
                        <a:pt x="4441" y="1778848"/>
                      </a:cubicBezTo>
                      <a:lnTo>
                        <a:pt x="4441" y="1727251"/>
                      </a:lnTo>
                      <a:cubicBezTo>
                        <a:pt x="4441" y="1723725"/>
                        <a:pt x="6401" y="1720851"/>
                        <a:pt x="9013" y="1720720"/>
                      </a:cubicBezTo>
                      <a:lnTo>
                        <a:pt x="9013" y="1720720"/>
                      </a:lnTo>
                      <a:cubicBezTo>
                        <a:pt x="11626" y="1720720"/>
                        <a:pt x="13716" y="1723594"/>
                        <a:pt x="13716" y="1727121"/>
                      </a:cubicBezTo>
                      <a:lnTo>
                        <a:pt x="13716" y="1778718"/>
                      </a:lnTo>
                      <a:cubicBezTo>
                        <a:pt x="13716" y="1782244"/>
                        <a:pt x="11756" y="1785118"/>
                        <a:pt x="9144" y="1785249"/>
                      </a:cubicBezTo>
                      <a:lnTo>
                        <a:pt x="9144" y="1785249"/>
                      </a:lnTo>
                      <a:close/>
                      <a:moveTo>
                        <a:pt x="8882" y="1681925"/>
                      </a:moveTo>
                      <a:cubicBezTo>
                        <a:pt x="6270" y="1681925"/>
                        <a:pt x="4180" y="1679051"/>
                        <a:pt x="4180" y="1675524"/>
                      </a:cubicBezTo>
                      <a:lnTo>
                        <a:pt x="4180" y="1623927"/>
                      </a:lnTo>
                      <a:cubicBezTo>
                        <a:pt x="4180" y="1620400"/>
                        <a:pt x="6139" y="1617527"/>
                        <a:pt x="8752" y="1617396"/>
                      </a:cubicBezTo>
                      <a:lnTo>
                        <a:pt x="8752" y="1617396"/>
                      </a:lnTo>
                      <a:cubicBezTo>
                        <a:pt x="11364" y="1617396"/>
                        <a:pt x="13454" y="1620270"/>
                        <a:pt x="13454" y="1623797"/>
                      </a:cubicBezTo>
                      <a:lnTo>
                        <a:pt x="13454" y="1675393"/>
                      </a:lnTo>
                      <a:cubicBezTo>
                        <a:pt x="13454" y="1678920"/>
                        <a:pt x="11495" y="1681794"/>
                        <a:pt x="8882" y="1681925"/>
                      </a:cubicBezTo>
                      <a:lnTo>
                        <a:pt x="8882" y="1681925"/>
                      </a:lnTo>
                      <a:close/>
                      <a:moveTo>
                        <a:pt x="8621" y="1578600"/>
                      </a:moveTo>
                      <a:cubicBezTo>
                        <a:pt x="6009" y="1578600"/>
                        <a:pt x="3919" y="1575727"/>
                        <a:pt x="3919" y="1572200"/>
                      </a:cubicBezTo>
                      <a:lnTo>
                        <a:pt x="3919" y="1520603"/>
                      </a:lnTo>
                      <a:cubicBezTo>
                        <a:pt x="3919" y="1517076"/>
                        <a:pt x="5878" y="1514202"/>
                        <a:pt x="8491" y="1514072"/>
                      </a:cubicBezTo>
                      <a:lnTo>
                        <a:pt x="8491" y="1514072"/>
                      </a:lnTo>
                      <a:cubicBezTo>
                        <a:pt x="11103" y="1514072"/>
                        <a:pt x="13193" y="1516945"/>
                        <a:pt x="13193" y="1520472"/>
                      </a:cubicBezTo>
                      <a:lnTo>
                        <a:pt x="13193" y="1572069"/>
                      </a:lnTo>
                      <a:cubicBezTo>
                        <a:pt x="13193" y="1575596"/>
                        <a:pt x="11234" y="1578470"/>
                        <a:pt x="8621" y="1578600"/>
                      </a:cubicBezTo>
                      <a:lnTo>
                        <a:pt x="8621" y="1578600"/>
                      </a:lnTo>
                      <a:close/>
                      <a:moveTo>
                        <a:pt x="8360" y="1475276"/>
                      </a:moveTo>
                      <a:cubicBezTo>
                        <a:pt x="5747" y="1475276"/>
                        <a:pt x="3658" y="1472403"/>
                        <a:pt x="3658" y="1468876"/>
                      </a:cubicBezTo>
                      <a:lnTo>
                        <a:pt x="3658" y="1417279"/>
                      </a:lnTo>
                      <a:cubicBezTo>
                        <a:pt x="3658" y="1413752"/>
                        <a:pt x="5617" y="1410878"/>
                        <a:pt x="8229" y="1410748"/>
                      </a:cubicBezTo>
                      <a:lnTo>
                        <a:pt x="8229" y="1410748"/>
                      </a:lnTo>
                      <a:cubicBezTo>
                        <a:pt x="10842" y="1410748"/>
                        <a:pt x="12932" y="1413621"/>
                        <a:pt x="12932" y="1417148"/>
                      </a:cubicBezTo>
                      <a:lnTo>
                        <a:pt x="12932" y="1468745"/>
                      </a:lnTo>
                      <a:cubicBezTo>
                        <a:pt x="12932" y="1472272"/>
                        <a:pt x="10972" y="1475146"/>
                        <a:pt x="8360" y="1475276"/>
                      </a:cubicBezTo>
                      <a:lnTo>
                        <a:pt x="8360" y="1475276"/>
                      </a:lnTo>
                      <a:close/>
                      <a:moveTo>
                        <a:pt x="8099" y="1371952"/>
                      </a:moveTo>
                      <a:cubicBezTo>
                        <a:pt x="5486" y="1371952"/>
                        <a:pt x="3396" y="1369078"/>
                        <a:pt x="3396" y="1365551"/>
                      </a:cubicBezTo>
                      <a:lnTo>
                        <a:pt x="3396" y="1313955"/>
                      </a:lnTo>
                      <a:cubicBezTo>
                        <a:pt x="3396" y="1310428"/>
                        <a:pt x="5356" y="1307554"/>
                        <a:pt x="7968" y="1307423"/>
                      </a:cubicBezTo>
                      <a:lnTo>
                        <a:pt x="7968" y="1307423"/>
                      </a:lnTo>
                      <a:cubicBezTo>
                        <a:pt x="10581" y="1307423"/>
                        <a:pt x="12671" y="1310297"/>
                        <a:pt x="12671" y="1313824"/>
                      </a:cubicBezTo>
                      <a:lnTo>
                        <a:pt x="12671" y="1365421"/>
                      </a:lnTo>
                      <a:cubicBezTo>
                        <a:pt x="12671" y="1368948"/>
                        <a:pt x="10711" y="1371821"/>
                        <a:pt x="8099" y="1371952"/>
                      </a:cubicBezTo>
                      <a:lnTo>
                        <a:pt x="8099" y="1371952"/>
                      </a:lnTo>
                      <a:close/>
                      <a:moveTo>
                        <a:pt x="7837" y="1268628"/>
                      </a:moveTo>
                      <a:cubicBezTo>
                        <a:pt x="5225" y="1268628"/>
                        <a:pt x="3135" y="1265754"/>
                        <a:pt x="3135" y="1262227"/>
                      </a:cubicBezTo>
                      <a:lnTo>
                        <a:pt x="3135" y="1210630"/>
                      </a:lnTo>
                      <a:cubicBezTo>
                        <a:pt x="3135" y="1207104"/>
                        <a:pt x="5094" y="1204230"/>
                        <a:pt x="7707" y="1204099"/>
                      </a:cubicBezTo>
                      <a:lnTo>
                        <a:pt x="7707" y="1204099"/>
                      </a:lnTo>
                      <a:cubicBezTo>
                        <a:pt x="10319" y="1204099"/>
                        <a:pt x="12409" y="1206973"/>
                        <a:pt x="12409" y="1210500"/>
                      </a:cubicBezTo>
                      <a:lnTo>
                        <a:pt x="12409" y="1262097"/>
                      </a:lnTo>
                      <a:cubicBezTo>
                        <a:pt x="12409" y="1265624"/>
                        <a:pt x="10450" y="1268497"/>
                        <a:pt x="7837" y="1268628"/>
                      </a:cubicBezTo>
                      <a:lnTo>
                        <a:pt x="7837" y="1268628"/>
                      </a:lnTo>
                      <a:close/>
                      <a:moveTo>
                        <a:pt x="7576" y="1165304"/>
                      </a:moveTo>
                      <a:cubicBezTo>
                        <a:pt x="4964" y="1165304"/>
                        <a:pt x="2874" y="1162430"/>
                        <a:pt x="2874" y="1158903"/>
                      </a:cubicBezTo>
                      <a:lnTo>
                        <a:pt x="2874" y="1107306"/>
                      </a:lnTo>
                      <a:cubicBezTo>
                        <a:pt x="2874" y="1103779"/>
                        <a:pt x="4833" y="1100906"/>
                        <a:pt x="7446" y="1100775"/>
                      </a:cubicBezTo>
                      <a:lnTo>
                        <a:pt x="7446" y="1100775"/>
                      </a:lnTo>
                      <a:cubicBezTo>
                        <a:pt x="10058" y="1100775"/>
                        <a:pt x="12148" y="1103649"/>
                        <a:pt x="12148" y="1107176"/>
                      </a:cubicBezTo>
                      <a:lnTo>
                        <a:pt x="12148" y="1158772"/>
                      </a:lnTo>
                      <a:cubicBezTo>
                        <a:pt x="12148" y="1162299"/>
                        <a:pt x="10189" y="1165173"/>
                        <a:pt x="7576" y="1165304"/>
                      </a:cubicBezTo>
                      <a:lnTo>
                        <a:pt x="7576" y="1165304"/>
                      </a:lnTo>
                      <a:close/>
                      <a:moveTo>
                        <a:pt x="7315" y="1061979"/>
                      </a:moveTo>
                      <a:cubicBezTo>
                        <a:pt x="4702" y="1061979"/>
                        <a:pt x="2613" y="1059106"/>
                        <a:pt x="2613" y="1055579"/>
                      </a:cubicBezTo>
                      <a:lnTo>
                        <a:pt x="2613" y="1003982"/>
                      </a:lnTo>
                      <a:cubicBezTo>
                        <a:pt x="2613" y="1000455"/>
                        <a:pt x="4572" y="997581"/>
                        <a:pt x="7184" y="997451"/>
                      </a:cubicBezTo>
                      <a:cubicBezTo>
                        <a:pt x="9666" y="997451"/>
                        <a:pt x="11887" y="1000325"/>
                        <a:pt x="11887" y="1003851"/>
                      </a:cubicBezTo>
                      <a:lnTo>
                        <a:pt x="11887" y="1055448"/>
                      </a:lnTo>
                      <a:cubicBezTo>
                        <a:pt x="11887" y="1058975"/>
                        <a:pt x="9927" y="1061849"/>
                        <a:pt x="7315" y="1061979"/>
                      </a:cubicBezTo>
                      <a:lnTo>
                        <a:pt x="7315" y="1061979"/>
                      </a:lnTo>
                      <a:close/>
                      <a:moveTo>
                        <a:pt x="7054" y="958655"/>
                      </a:moveTo>
                      <a:cubicBezTo>
                        <a:pt x="4441" y="958655"/>
                        <a:pt x="2351" y="955782"/>
                        <a:pt x="2351" y="952255"/>
                      </a:cubicBezTo>
                      <a:lnTo>
                        <a:pt x="2351" y="900658"/>
                      </a:lnTo>
                      <a:cubicBezTo>
                        <a:pt x="2351" y="897131"/>
                        <a:pt x="4311" y="894257"/>
                        <a:pt x="6923" y="894127"/>
                      </a:cubicBezTo>
                      <a:lnTo>
                        <a:pt x="6923" y="894127"/>
                      </a:lnTo>
                      <a:cubicBezTo>
                        <a:pt x="9536" y="894127"/>
                        <a:pt x="11626" y="897000"/>
                        <a:pt x="11626" y="900527"/>
                      </a:cubicBezTo>
                      <a:lnTo>
                        <a:pt x="11626" y="952124"/>
                      </a:lnTo>
                      <a:cubicBezTo>
                        <a:pt x="11626" y="955651"/>
                        <a:pt x="9666" y="958525"/>
                        <a:pt x="7054" y="958655"/>
                      </a:cubicBezTo>
                      <a:lnTo>
                        <a:pt x="7054" y="958655"/>
                      </a:lnTo>
                      <a:close/>
                      <a:moveTo>
                        <a:pt x="6792" y="855331"/>
                      </a:moveTo>
                      <a:cubicBezTo>
                        <a:pt x="4180" y="855331"/>
                        <a:pt x="2090" y="852457"/>
                        <a:pt x="2090" y="848930"/>
                      </a:cubicBezTo>
                      <a:lnTo>
                        <a:pt x="2090" y="797334"/>
                      </a:lnTo>
                      <a:cubicBezTo>
                        <a:pt x="2090" y="793807"/>
                        <a:pt x="4049" y="790933"/>
                        <a:pt x="6662" y="790802"/>
                      </a:cubicBezTo>
                      <a:lnTo>
                        <a:pt x="6662" y="790802"/>
                      </a:lnTo>
                      <a:cubicBezTo>
                        <a:pt x="9274" y="790802"/>
                        <a:pt x="11364" y="793676"/>
                        <a:pt x="11364" y="797203"/>
                      </a:cubicBezTo>
                      <a:lnTo>
                        <a:pt x="11364" y="848800"/>
                      </a:lnTo>
                      <a:cubicBezTo>
                        <a:pt x="11364" y="852327"/>
                        <a:pt x="9405" y="855201"/>
                        <a:pt x="6792" y="855331"/>
                      </a:cubicBezTo>
                      <a:lnTo>
                        <a:pt x="6792" y="855331"/>
                      </a:lnTo>
                      <a:close/>
                      <a:moveTo>
                        <a:pt x="6531" y="752007"/>
                      </a:moveTo>
                      <a:cubicBezTo>
                        <a:pt x="3919" y="752007"/>
                        <a:pt x="1829" y="749133"/>
                        <a:pt x="1829" y="745606"/>
                      </a:cubicBezTo>
                      <a:lnTo>
                        <a:pt x="1829" y="694009"/>
                      </a:lnTo>
                      <a:cubicBezTo>
                        <a:pt x="1829" y="690483"/>
                        <a:pt x="3788" y="687609"/>
                        <a:pt x="6401" y="687478"/>
                      </a:cubicBezTo>
                      <a:lnTo>
                        <a:pt x="6401" y="687478"/>
                      </a:lnTo>
                      <a:cubicBezTo>
                        <a:pt x="9013" y="687478"/>
                        <a:pt x="11103" y="690352"/>
                        <a:pt x="11103" y="693879"/>
                      </a:cubicBezTo>
                      <a:lnTo>
                        <a:pt x="11103" y="745476"/>
                      </a:lnTo>
                      <a:cubicBezTo>
                        <a:pt x="11103" y="749003"/>
                        <a:pt x="9144" y="751876"/>
                        <a:pt x="6531" y="752007"/>
                      </a:cubicBezTo>
                      <a:lnTo>
                        <a:pt x="6531" y="752007"/>
                      </a:lnTo>
                      <a:close/>
                      <a:moveTo>
                        <a:pt x="6270" y="648683"/>
                      </a:moveTo>
                      <a:cubicBezTo>
                        <a:pt x="3658" y="648683"/>
                        <a:pt x="1568" y="645809"/>
                        <a:pt x="1568" y="642282"/>
                      </a:cubicBezTo>
                      <a:lnTo>
                        <a:pt x="1568" y="590685"/>
                      </a:lnTo>
                      <a:cubicBezTo>
                        <a:pt x="1568" y="587158"/>
                        <a:pt x="3527" y="584285"/>
                        <a:pt x="6139" y="584154"/>
                      </a:cubicBezTo>
                      <a:cubicBezTo>
                        <a:pt x="8621" y="584023"/>
                        <a:pt x="10842" y="587028"/>
                        <a:pt x="10842" y="590555"/>
                      </a:cubicBezTo>
                      <a:lnTo>
                        <a:pt x="10842" y="642151"/>
                      </a:lnTo>
                      <a:cubicBezTo>
                        <a:pt x="10842" y="645678"/>
                        <a:pt x="8882" y="648552"/>
                        <a:pt x="6270" y="648683"/>
                      </a:cubicBezTo>
                      <a:lnTo>
                        <a:pt x="6270" y="648683"/>
                      </a:lnTo>
                      <a:close/>
                      <a:moveTo>
                        <a:pt x="6009" y="545359"/>
                      </a:moveTo>
                      <a:cubicBezTo>
                        <a:pt x="3396" y="545359"/>
                        <a:pt x="1306" y="542485"/>
                        <a:pt x="1306" y="538958"/>
                      </a:cubicBezTo>
                      <a:lnTo>
                        <a:pt x="1306" y="487361"/>
                      </a:lnTo>
                      <a:cubicBezTo>
                        <a:pt x="1306" y="483834"/>
                        <a:pt x="3266" y="480960"/>
                        <a:pt x="5878" y="480830"/>
                      </a:cubicBezTo>
                      <a:lnTo>
                        <a:pt x="5878" y="480830"/>
                      </a:lnTo>
                      <a:cubicBezTo>
                        <a:pt x="8491" y="480830"/>
                        <a:pt x="10581" y="483704"/>
                        <a:pt x="10581" y="487230"/>
                      </a:cubicBezTo>
                      <a:lnTo>
                        <a:pt x="10581" y="538827"/>
                      </a:lnTo>
                      <a:cubicBezTo>
                        <a:pt x="10581" y="542354"/>
                        <a:pt x="8621" y="545228"/>
                        <a:pt x="6009" y="545359"/>
                      </a:cubicBezTo>
                      <a:lnTo>
                        <a:pt x="6009" y="545359"/>
                      </a:lnTo>
                      <a:close/>
                      <a:moveTo>
                        <a:pt x="5747" y="442034"/>
                      </a:moveTo>
                      <a:cubicBezTo>
                        <a:pt x="3135" y="442034"/>
                        <a:pt x="1045" y="439161"/>
                        <a:pt x="1045" y="435634"/>
                      </a:cubicBezTo>
                      <a:lnTo>
                        <a:pt x="1045" y="384037"/>
                      </a:lnTo>
                      <a:cubicBezTo>
                        <a:pt x="1045" y="380510"/>
                        <a:pt x="3004" y="377636"/>
                        <a:pt x="5617" y="377506"/>
                      </a:cubicBezTo>
                      <a:lnTo>
                        <a:pt x="5617" y="377506"/>
                      </a:lnTo>
                      <a:cubicBezTo>
                        <a:pt x="8229" y="377506"/>
                        <a:pt x="10319" y="380379"/>
                        <a:pt x="10319" y="383906"/>
                      </a:cubicBezTo>
                      <a:lnTo>
                        <a:pt x="10319" y="435503"/>
                      </a:lnTo>
                      <a:cubicBezTo>
                        <a:pt x="10319" y="439030"/>
                        <a:pt x="8360" y="441904"/>
                        <a:pt x="5747" y="442034"/>
                      </a:cubicBezTo>
                      <a:lnTo>
                        <a:pt x="5747" y="442034"/>
                      </a:lnTo>
                      <a:close/>
                      <a:moveTo>
                        <a:pt x="5486" y="338710"/>
                      </a:moveTo>
                      <a:cubicBezTo>
                        <a:pt x="2874" y="338710"/>
                        <a:pt x="784" y="335836"/>
                        <a:pt x="784" y="332309"/>
                      </a:cubicBezTo>
                      <a:lnTo>
                        <a:pt x="784" y="280713"/>
                      </a:lnTo>
                      <a:cubicBezTo>
                        <a:pt x="784" y="277186"/>
                        <a:pt x="2743" y="274312"/>
                        <a:pt x="5356" y="274181"/>
                      </a:cubicBezTo>
                      <a:lnTo>
                        <a:pt x="5356" y="274181"/>
                      </a:lnTo>
                      <a:cubicBezTo>
                        <a:pt x="7968" y="274181"/>
                        <a:pt x="10058" y="277055"/>
                        <a:pt x="10058" y="280582"/>
                      </a:cubicBezTo>
                      <a:lnTo>
                        <a:pt x="10058" y="332179"/>
                      </a:lnTo>
                      <a:cubicBezTo>
                        <a:pt x="10058" y="335706"/>
                        <a:pt x="8099" y="338579"/>
                        <a:pt x="5486" y="338710"/>
                      </a:cubicBezTo>
                      <a:lnTo>
                        <a:pt x="5486" y="338710"/>
                      </a:lnTo>
                      <a:close/>
                      <a:moveTo>
                        <a:pt x="5225" y="235386"/>
                      </a:moveTo>
                      <a:cubicBezTo>
                        <a:pt x="2613" y="235386"/>
                        <a:pt x="523" y="232512"/>
                        <a:pt x="523" y="228985"/>
                      </a:cubicBezTo>
                      <a:lnTo>
                        <a:pt x="523" y="177388"/>
                      </a:lnTo>
                      <a:cubicBezTo>
                        <a:pt x="523" y="173862"/>
                        <a:pt x="2482" y="170988"/>
                        <a:pt x="5094" y="170857"/>
                      </a:cubicBezTo>
                      <a:lnTo>
                        <a:pt x="5094" y="170857"/>
                      </a:lnTo>
                      <a:cubicBezTo>
                        <a:pt x="7707" y="170857"/>
                        <a:pt x="9797" y="173731"/>
                        <a:pt x="9797" y="177258"/>
                      </a:cubicBezTo>
                      <a:lnTo>
                        <a:pt x="9797" y="228855"/>
                      </a:lnTo>
                      <a:cubicBezTo>
                        <a:pt x="9797" y="232381"/>
                        <a:pt x="7837" y="235255"/>
                        <a:pt x="5225" y="235386"/>
                      </a:cubicBezTo>
                      <a:lnTo>
                        <a:pt x="5225" y="235386"/>
                      </a:lnTo>
                      <a:close/>
                      <a:moveTo>
                        <a:pt x="4964" y="132062"/>
                      </a:moveTo>
                      <a:cubicBezTo>
                        <a:pt x="2351" y="132062"/>
                        <a:pt x="261" y="129188"/>
                        <a:pt x="261" y="125661"/>
                      </a:cubicBezTo>
                      <a:lnTo>
                        <a:pt x="261" y="74064"/>
                      </a:lnTo>
                      <a:cubicBezTo>
                        <a:pt x="261" y="70537"/>
                        <a:pt x="2221" y="67664"/>
                        <a:pt x="4833" y="67533"/>
                      </a:cubicBezTo>
                      <a:lnTo>
                        <a:pt x="4833" y="67533"/>
                      </a:lnTo>
                      <a:cubicBezTo>
                        <a:pt x="7446" y="67533"/>
                        <a:pt x="9536" y="70407"/>
                        <a:pt x="9536" y="73934"/>
                      </a:cubicBezTo>
                      <a:lnTo>
                        <a:pt x="9536" y="125530"/>
                      </a:lnTo>
                      <a:cubicBezTo>
                        <a:pt x="9536" y="129057"/>
                        <a:pt x="7576" y="131931"/>
                        <a:pt x="4964" y="132062"/>
                      </a:cubicBezTo>
                      <a:lnTo>
                        <a:pt x="4964" y="132062"/>
                      </a:lnTo>
                      <a:close/>
                      <a:moveTo>
                        <a:pt x="4702" y="28738"/>
                      </a:moveTo>
                      <a:cubicBezTo>
                        <a:pt x="2090" y="28738"/>
                        <a:pt x="0" y="25864"/>
                        <a:pt x="0" y="22337"/>
                      </a:cubicBezTo>
                      <a:lnTo>
                        <a:pt x="0" y="6531"/>
                      </a:lnTo>
                      <a:cubicBezTo>
                        <a:pt x="0" y="3004"/>
                        <a:pt x="2090" y="131"/>
                        <a:pt x="4702" y="0"/>
                      </a:cubicBezTo>
                      <a:lnTo>
                        <a:pt x="4702" y="0"/>
                      </a:lnTo>
                      <a:cubicBezTo>
                        <a:pt x="7315" y="0"/>
                        <a:pt x="9405" y="2874"/>
                        <a:pt x="9405" y="6401"/>
                      </a:cubicBezTo>
                      <a:lnTo>
                        <a:pt x="9405" y="22206"/>
                      </a:lnTo>
                      <a:cubicBezTo>
                        <a:pt x="9405" y="25733"/>
                        <a:pt x="7315" y="28607"/>
                        <a:pt x="4702" y="28738"/>
                      </a:cubicBezTo>
                      <a:lnTo>
                        <a:pt x="4702" y="28738"/>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30" name="Graphic 717">
                  <a:extLst>
                    <a:ext uri="{FF2B5EF4-FFF2-40B4-BE49-F238E27FC236}">
                      <a16:creationId xmlns:a16="http://schemas.microsoft.com/office/drawing/2014/main" id="{1086C668-54EB-46DA-EEE2-801B3E3470BD}"/>
                    </a:ext>
                  </a:extLst>
                </p:cNvPr>
                <p:cNvGrpSpPr/>
                <p:nvPr/>
              </p:nvGrpSpPr>
              <p:grpSpPr>
                <a:xfrm>
                  <a:off x="1009687" y="5967986"/>
                  <a:ext cx="56168" cy="77068"/>
                  <a:chOff x="1009687" y="5967986"/>
                  <a:chExt cx="56168" cy="77068"/>
                </a:xfrm>
                <a:grpFill/>
              </p:grpSpPr>
              <p:sp>
                <p:nvSpPr>
                  <p:cNvPr id="31" name="Freeform: Shape 30">
                    <a:extLst>
                      <a:ext uri="{FF2B5EF4-FFF2-40B4-BE49-F238E27FC236}">
                        <a16:creationId xmlns:a16="http://schemas.microsoft.com/office/drawing/2014/main" id="{65384F00-D1A2-3C3C-905E-CF4C2E259DE0}"/>
                      </a:ext>
                    </a:extLst>
                  </p:cNvPr>
                  <p:cNvSpPr/>
                  <p:nvPr/>
                </p:nvSpPr>
                <p:spPr>
                  <a:xfrm>
                    <a:off x="1014390" y="5974257"/>
                    <a:ext cx="46763" cy="64267"/>
                  </a:xfrm>
                  <a:custGeom>
                    <a:avLst/>
                    <a:gdLst>
                      <a:gd name="connsiteX0" fmla="*/ 23382 w 46763"/>
                      <a:gd name="connsiteY0" fmla="*/ 64267 h 64267"/>
                      <a:gd name="connsiteX1" fmla="*/ 46764 w 46763"/>
                      <a:gd name="connsiteY1" fmla="*/ 32134 h 64267"/>
                      <a:gd name="connsiteX2" fmla="*/ 23382 w 46763"/>
                      <a:gd name="connsiteY2" fmla="*/ 0 h 64267"/>
                      <a:gd name="connsiteX3" fmla="*/ 0 w 46763"/>
                      <a:gd name="connsiteY3" fmla="*/ 32134 h 64267"/>
                      <a:gd name="connsiteX4" fmla="*/ 23382 w 46763"/>
                      <a:gd name="connsiteY4" fmla="*/ 64267 h 64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63" h="64267">
                        <a:moveTo>
                          <a:pt x="23382" y="64267"/>
                        </a:moveTo>
                        <a:cubicBezTo>
                          <a:pt x="36314" y="64267"/>
                          <a:pt x="46764" y="49899"/>
                          <a:pt x="46764" y="32134"/>
                        </a:cubicBezTo>
                        <a:cubicBezTo>
                          <a:pt x="46764" y="14369"/>
                          <a:pt x="36314" y="0"/>
                          <a:pt x="23382" y="0"/>
                        </a:cubicBezTo>
                        <a:cubicBezTo>
                          <a:pt x="10450" y="0"/>
                          <a:pt x="0" y="14369"/>
                          <a:pt x="0" y="32134"/>
                        </a:cubicBezTo>
                        <a:cubicBezTo>
                          <a:pt x="0" y="49899"/>
                          <a:pt x="10450" y="64267"/>
                          <a:pt x="23382" y="6426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CB77027D-636A-3CC9-C745-07B16C3FCE86}"/>
                      </a:ext>
                    </a:extLst>
                  </p:cNvPr>
                  <p:cNvSpPr/>
                  <p:nvPr/>
                </p:nvSpPr>
                <p:spPr>
                  <a:xfrm>
                    <a:off x="1009687" y="5967986"/>
                    <a:ext cx="56168" cy="77068"/>
                  </a:xfrm>
                  <a:custGeom>
                    <a:avLst/>
                    <a:gdLst>
                      <a:gd name="connsiteX0" fmla="*/ 28084 w 56168"/>
                      <a:gd name="connsiteY0" fmla="*/ 77069 h 77068"/>
                      <a:gd name="connsiteX1" fmla="*/ 0 w 56168"/>
                      <a:gd name="connsiteY1" fmla="*/ 38534 h 77068"/>
                      <a:gd name="connsiteX2" fmla="*/ 28084 w 56168"/>
                      <a:gd name="connsiteY2" fmla="*/ 0 h 77068"/>
                      <a:gd name="connsiteX3" fmla="*/ 56169 w 56168"/>
                      <a:gd name="connsiteY3" fmla="*/ 38534 h 77068"/>
                      <a:gd name="connsiteX4" fmla="*/ 28084 w 56168"/>
                      <a:gd name="connsiteY4" fmla="*/ 77069 h 77068"/>
                      <a:gd name="connsiteX5" fmla="*/ 28084 w 56168"/>
                      <a:gd name="connsiteY5" fmla="*/ 12932 h 77068"/>
                      <a:gd name="connsiteX6" fmla="*/ 9405 w 56168"/>
                      <a:gd name="connsiteY6" fmla="*/ 38534 h 77068"/>
                      <a:gd name="connsiteX7" fmla="*/ 28084 w 56168"/>
                      <a:gd name="connsiteY7" fmla="*/ 64137 h 77068"/>
                      <a:gd name="connsiteX8" fmla="*/ 46764 w 56168"/>
                      <a:gd name="connsiteY8" fmla="*/ 38534 h 77068"/>
                      <a:gd name="connsiteX9" fmla="*/ 28084 w 56168"/>
                      <a:gd name="connsiteY9" fmla="*/ 12932 h 7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168" h="77068">
                        <a:moveTo>
                          <a:pt x="28084" y="77069"/>
                        </a:moveTo>
                        <a:cubicBezTo>
                          <a:pt x="12540" y="77069"/>
                          <a:pt x="0" y="59826"/>
                          <a:pt x="0" y="38534"/>
                        </a:cubicBezTo>
                        <a:cubicBezTo>
                          <a:pt x="0" y="17243"/>
                          <a:pt x="12671" y="0"/>
                          <a:pt x="28084" y="0"/>
                        </a:cubicBezTo>
                        <a:cubicBezTo>
                          <a:pt x="43498" y="0"/>
                          <a:pt x="56169" y="17243"/>
                          <a:pt x="56169" y="38534"/>
                        </a:cubicBezTo>
                        <a:cubicBezTo>
                          <a:pt x="56169" y="59826"/>
                          <a:pt x="43498" y="77069"/>
                          <a:pt x="28084" y="77069"/>
                        </a:cubicBezTo>
                        <a:close/>
                        <a:moveTo>
                          <a:pt x="28084" y="12932"/>
                        </a:moveTo>
                        <a:cubicBezTo>
                          <a:pt x="17765" y="12932"/>
                          <a:pt x="9405" y="24427"/>
                          <a:pt x="9405" y="38534"/>
                        </a:cubicBezTo>
                        <a:cubicBezTo>
                          <a:pt x="9405" y="52642"/>
                          <a:pt x="17765" y="64137"/>
                          <a:pt x="28084" y="64137"/>
                        </a:cubicBezTo>
                        <a:cubicBezTo>
                          <a:pt x="38404" y="64137"/>
                          <a:pt x="46764" y="52642"/>
                          <a:pt x="46764" y="38534"/>
                        </a:cubicBezTo>
                        <a:cubicBezTo>
                          <a:pt x="46764" y="24427"/>
                          <a:pt x="38404" y="12932"/>
                          <a:pt x="28084" y="1293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nvGrpSpPr>
              <p:cNvPr id="791" name="Graphic 717">
                <a:extLst>
                  <a:ext uri="{FF2B5EF4-FFF2-40B4-BE49-F238E27FC236}">
                    <a16:creationId xmlns:a16="http://schemas.microsoft.com/office/drawing/2014/main" id="{47A4CD83-91D6-DC31-3A40-867DE2F243ED}"/>
                  </a:ext>
                </a:extLst>
              </p:cNvPr>
              <p:cNvGrpSpPr/>
              <p:nvPr/>
            </p:nvGrpSpPr>
            <p:grpSpPr>
              <a:xfrm>
                <a:off x="8304887" y="875648"/>
                <a:ext cx="1562911" cy="1009534"/>
                <a:chOff x="2781743" y="2597476"/>
                <a:chExt cx="1273677" cy="799162"/>
              </a:xfrm>
              <a:noFill/>
            </p:grpSpPr>
            <p:grpSp>
              <p:nvGrpSpPr>
                <p:cNvPr id="792" name="Graphic 717">
                  <a:extLst>
                    <a:ext uri="{FF2B5EF4-FFF2-40B4-BE49-F238E27FC236}">
                      <a16:creationId xmlns:a16="http://schemas.microsoft.com/office/drawing/2014/main" id="{EADEA915-AC92-A603-58B0-1686705ACA95}"/>
                    </a:ext>
                  </a:extLst>
                </p:cNvPr>
                <p:cNvGrpSpPr/>
                <p:nvPr/>
              </p:nvGrpSpPr>
              <p:grpSpPr>
                <a:xfrm>
                  <a:off x="2781743" y="2597476"/>
                  <a:ext cx="1273677" cy="799162"/>
                  <a:chOff x="2781743" y="2597476"/>
                  <a:chExt cx="1273677" cy="799162"/>
                </a:xfrm>
                <a:grpFill/>
              </p:grpSpPr>
              <p:sp>
                <p:nvSpPr>
                  <p:cNvPr id="793" name="Freeform: Shape 792">
                    <a:extLst>
                      <a:ext uri="{FF2B5EF4-FFF2-40B4-BE49-F238E27FC236}">
                        <a16:creationId xmlns:a16="http://schemas.microsoft.com/office/drawing/2014/main" id="{6C3BE504-A1DF-BB73-0DC0-E5FDAFE155C9}"/>
                      </a:ext>
                    </a:extLst>
                  </p:cNvPr>
                  <p:cNvSpPr/>
                  <p:nvPr/>
                </p:nvSpPr>
                <p:spPr>
                  <a:xfrm>
                    <a:off x="2785429" y="2601394"/>
                    <a:ext cx="1266184" cy="791455"/>
                  </a:xfrm>
                  <a:custGeom>
                    <a:avLst/>
                    <a:gdLst>
                      <a:gd name="connsiteX0" fmla="*/ 1263374 w 1266184"/>
                      <a:gd name="connsiteY0" fmla="*/ 790541 h 791455"/>
                      <a:gd name="connsiteX1" fmla="*/ 1264941 w 1266184"/>
                      <a:gd name="connsiteY1" fmla="*/ 0 h 791455"/>
                      <a:gd name="connsiteX2" fmla="*/ 1800 w 1266184"/>
                      <a:gd name="connsiteY2" fmla="*/ 1437 h 791455"/>
                      <a:gd name="connsiteX3" fmla="*/ 1800 w 1266184"/>
                      <a:gd name="connsiteY3" fmla="*/ 791456 h 791455"/>
                      <a:gd name="connsiteX4" fmla="*/ 1263374 w 1266184"/>
                      <a:gd name="connsiteY4" fmla="*/ 790541 h 791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184" h="791455">
                        <a:moveTo>
                          <a:pt x="1263374" y="790541"/>
                        </a:moveTo>
                        <a:cubicBezTo>
                          <a:pt x="1263374" y="507085"/>
                          <a:pt x="1268468" y="266083"/>
                          <a:pt x="1264941" y="0"/>
                        </a:cubicBezTo>
                        <a:cubicBezTo>
                          <a:pt x="846158" y="0"/>
                          <a:pt x="423718" y="5747"/>
                          <a:pt x="1800" y="1437"/>
                        </a:cubicBezTo>
                        <a:cubicBezTo>
                          <a:pt x="-2250" y="272614"/>
                          <a:pt x="1800" y="527724"/>
                          <a:pt x="1800" y="791456"/>
                        </a:cubicBezTo>
                        <a:cubicBezTo>
                          <a:pt x="423456" y="791456"/>
                          <a:pt x="843807" y="790541"/>
                          <a:pt x="1263374" y="79054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94" name="Freeform: Shape 793">
                    <a:extLst>
                      <a:ext uri="{FF2B5EF4-FFF2-40B4-BE49-F238E27FC236}">
                        <a16:creationId xmlns:a16="http://schemas.microsoft.com/office/drawing/2014/main" id="{0FEF0C19-F128-1CF2-901C-BD6DEBC9BC71}"/>
                      </a:ext>
                    </a:extLst>
                  </p:cNvPr>
                  <p:cNvSpPr/>
                  <p:nvPr/>
                </p:nvSpPr>
                <p:spPr>
                  <a:xfrm>
                    <a:off x="2781743" y="2597476"/>
                    <a:ext cx="1273677" cy="799162"/>
                  </a:xfrm>
                  <a:custGeom>
                    <a:avLst/>
                    <a:gdLst>
                      <a:gd name="connsiteX0" fmla="*/ 5617 w 1273677"/>
                      <a:gd name="connsiteY0" fmla="*/ 799162 h 799162"/>
                      <a:gd name="connsiteX1" fmla="*/ 1829 w 1273677"/>
                      <a:gd name="connsiteY1" fmla="*/ 795374 h 799162"/>
                      <a:gd name="connsiteX2" fmla="*/ 914 w 1273677"/>
                      <a:gd name="connsiteY2" fmla="*/ 533472 h 799162"/>
                      <a:gd name="connsiteX3" fmla="*/ 1829 w 1273677"/>
                      <a:gd name="connsiteY3" fmla="*/ 5225 h 799162"/>
                      <a:gd name="connsiteX4" fmla="*/ 5617 w 1273677"/>
                      <a:gd name="connsiteY4" fmla="*/ 1567 h 799162"/>
                      <a:gd name="connsiteX5" fmla="*/ 809351 w 1273677"/>
                      <a:gd name="connsiteY5" fmla="*/ 1567 h 799162"/>
                      <a:gd name="connsiteX6" fmla="*/ 1268628 w 1273677"/>
                      <a:gd name="connsiteY6" fmla="*/ 0 h 799162"/>
                      <a:gd name="connsiteX7" fmla="*/ 1272416 w 1273677"/>
                      <a:gd name="connsiteY7" fmla="*/ 3657 h 799162"/>
                      <a:gd name="connsiteX8" fmla="*/ 1272416 w 1273677"/>
                      <a:gd name="connsiteY8" fmla="*/ 485663 h 799162"/>
                      <a:gd name="connsiteX9" fmla="*/ 1270979 w 1273677"/>
                      <a:gd name="connsiteY9" fmla="*/ 794329 h 799162"/>
                      <a:gd name="connsiteX10" fmla="*/ 1267191 w 1273677"/>
                      <a:gd name="connsiteY10" fmla="*/ 798117 h 799162"/>
                      <a:gd name="connsiteX11" fmla="*/ 637971 w 1273677"/>
                      <a:gd name="connsiteY11" fmla="*/ 798640 h 799162"/>
                      <a:gd name="connsiteX12" fmla="*/ 5617 w 1273677"/>
                      <a:gd name="connsiteY12" fmla="*/ 799162 h 799162"/>
                      <a:gd name="connsiteX13" fmla="*/ 9274 w 1273677"/>
                      <a:gd name="connsiteY13" fmla="*/ 9144 h 799162"/>
                      <a:gd name="connsiteX14" fmla="*/ 8491 w 1273677"/>
                      <a:gd name="connsiteY14" fmla="*/ 533472 h 799162"/>
                      <a:gd name="connsiteX15" fmla="*/ 9405 w 1273677"/>
                      <a:gd name="connsiteY15" fmla="*/ 791586 h 799162"/>
                      <a:gd name="connsiteX16" fmla="*/ 637971 w 1273677"/>
                      <a:gd name="connsiteY16" fmla="*/ 791064 h 799162"/>
                      <a:gd name="connsiteX17" fmla="*/ 1263403 w 1273677"/>
                      <a:gd name="connsiteY17" fmla="*/ 790541 h 799162"/>
                      <a:gd name="connsiteX18" fmla="*/ 1264839 w 1273677"/>
                      <a:gd name="connsiteY18" fmla="*/ 485663 h 799162"/>
                      <a:gd name="connsiteX19" fmla="*/ 1264970 w 1273677"/>
                      <a:gd name="connsiteY19" fmla="*/ 7446 h 799162"/>
                      <a:gd name="connsiteX20" fmla="*/ 809482 w 1273677"/>
                      <a:gd name="connsiteY20" fmla="*/ 9013 h 799162"/>
                      <a:gd name="connsiteX21" fmla="*/ 9274 w 1273677"/>
                      <a:gd name="connsiteY21" fmla="*/ 9013 h 799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3677" h="799162">
                        <a:moveTo>
                          <a:pt x="5617" y="799162"/>
                        </a:moveTo>
                        <a:cubicBezTo>
                          <a:pt x="3527" y="799162"/>
                          <a:pt x="1829" y="797464"/>
                          <a:pt x="1829" y="795374"/>
                        </a:cubicBezTo>
                        <a:cubicBezTo>
                          <a:pt x="1829" y="707464"/>
                          <a:pt x="1306" y="619031"/>
                          <a:pt x="914" y="533472"/>
                        </a:cubicBezTo>
                        <a:cubicBezTo>
                          <a:pt x="0" y="362614"/>
                          <a:pt x="-914" y="186010"/>
                          <a:pt x="1829" y="5225"/>
                        </a:cubicBezTo>
                        <a:cubicBezTo>
                          <a:pt x="1829" y="3135"/>
                          <a:pt x="3527" y="1437"/>
                          <a:pt x="5617" y="1567"/>
                        </a:cubicBezTo>
                        <a:cubicBezTo>
                          <a:pt x="273659" y="4180"/>
                          <a:pt x="546012" y="2874"/>
                          <a:pt x="809351" y="1567"/>
                        </a:cubicBezTo>
                        <a:cubicBezTo>
                          <a:pt x="960092" y="784"/>
                          <a:pt x="1115927" y="0"/>
                          <a:pt x="1268628" y="0"/>
                        </a:cubicBezTo>
                        <a:cubicBezTo>
                          <a:pt x="1270718" y="0"/>
                          <a:pt x="1272285" y="1698"/>
                          <a:pt x="1272416" y="3657"/>
                        </a:cubicBezTo>
                        <a:cubicBezTo>
                          <a:pt x="1274636" y="168637"/>
                          <a:pt x="1273461" y="322643"/>
                          <a:pt x="1272416" y="485663"/>
                        </a:cubicBezTo>
                        <a:cubicBezTo>
                          <a:pt x="1271763" y="584415"/>
                          <a:pt x="1270979" y="686564"/>
                          <a:pt x="1270979" y="794329"/>
                        </a:cubicBezTo>
                        <a:cubicBezTo>
                          <a:pt x="1270979" y="796419"/>
                          <a:pt x="1269281" y="798117"/>
                          <a:pt x="1267191" y="798117"/>
                        </a:cubicBezTo>
                        <a:cubicBezTo>
                          <a:pt x="1057669" y="798117"/>
                          <a:pt x="844358" y="798379"/>
                          <a:pt x="637971" y="798640"/>
                        </a:cubicBezTo>
                        <a:cubicBezTo>
                          <a:pt x="430931" y="798901"/>
                          <a:pt x="216706" y="799162"/>
                          <a:pt x="5617" y="799162"/>
                        </a:cubicBezTo>
                        <a:close/>
                        <a:moveTo>
                          <a:pt x="9274" y="9144"/>
                        </a:moveTo>
                        <a:cubicBezTo>
                          <a:pt x="6662" y="188622"/>
                          <a:pt x="7576" y="363921"/>
                          <a:pt x="8491" y="533472"/>
                        </a:cubicBezTo>
                        <a:cubicBezTo>
                          <a:pt x="8882" y="617725"/>
                          <a:pt x="9405" y="704851"/>
                          <a:pt x="9405" y="791586"/>
                        </a:cubicBezTo>
                        <a:cubicBezTo>
                          <a:pt x="219319" y="791586"/>
                          <a:pt x="432107" y="791325"/>
                          <a:pt x="637971" y="791064"/>
                        </a:cubicBezTo>
                        <a:cubicBezTo>
                          <a:pt x="843052" y="790802"/>
                          <a:pt x="1055056" y="790541"/>
                          <a:pt x="1263403" y="790541"/>
                        </a:cubicBezTo>
                        <a:cubicBezTo>
                          <a:pt x="1263403" y="684082"/>
                          <a:pt x="1264186" y="583240"/>
                          <a:pt x="1264839" y="485663"/>
                        </a:cubicBezTo>
                        <a:cubicBezTo>
                          <a:pt x="1266015" y="323819"/>
                          <a:pt x="1267060" y="170988"/>
                          <a:pt x="1264970" y="7446"/>
                        </a:cubicBezTo>
                        <a:cubicBezTo>
                          <a:pt x="1113445" y="7446"/>
                          <a:pt x="958916" y="8229"/>
                          <a:pt x="809482" y="9013"/>
                        </a:cubicBezTo>
                        <a:cubicBezTo>
                          <a:pt x="547318" y="10319"/>
                          <a:pt x="276271" y="11626"/>
                          <a:pt x="9274" y="901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95" name="Graphic 717">
                  <a:extLst>
                    <a:ext uri="{FF2B5EF4-FFF2-40B4-BE49-F238E27FC236}">
                      <a16:creationId xmlns:a16="http://schemas.microsoft.com/office/drawing/2014/main" id="{7E824D64-9D5D-D4B7-E936-AB919E37E5F6}"/>
                    </a:ext>
                  </a:extLst>
                </p:cNvPr>
                <p:cNvGrpSpPr/>
                <p:nvPr/>
              </p:nvGrpSpPr>
              <p:grpSpPr>
                <a:xfrm>
                  <a:off x="3090017" y="2975373"/>
                  <a:ext cx="425967" cy="299914"/>
                  <a:chOff x="3090017" y="2975373"/>
                  <a:chExt cx="425967" cy="299914"/>
                </a:xfrm>
                <a:grpFill/>
              </p:grpSpPr>
              <p:grpSp>
                <p:nvGrpSpPr>
                  <p:cNvPr id="796" name="Graphic 717">
                    <a:extLst>
                      <a:ext uri="{FF2B5EF4-FFF2-40B4-BE49-F238E27FC236}">
                        <a16:creationId xmlns:a16="http://schemas.microsoft.com/office/drawing/2014/main" id="{69D55D1C-B431-2E7A-95C3-C85500E728B6}"/>
                      </a:ext>
                    </a:extLst>
                  </p:cNvPr>
                  <p:cNvGrpSpPr/>
                  <p:nvPr/>
                </p:nvGrpSpPr>
                <p:grpSpPr>
                  <a:xfrm>
                    <a:off x="3325011" y="2975373"/>
                    <a:ext cx="77460" cy="299914"/>
                    <a:chOff x="3325011" y="2975373"/>
                    <a:chExt cx="77460" cy="299914"/>
                  </a:xfrm>
                  <a:grpFill/>
                </p:grpSpPr>
                <p:sp>
                  <p:nvSpPr>
                    <p:cNvPr id="797" name="Freeform: Shape 796">
                      <a:extLst>
                        <a:ext uri="{FF2B5EF4-FFF2-40B4-BE49-F238E27FC236}">
                          <a16:creationId xmlns:a16="http://schemas.microsoft.com/office/drawing/2014/main" id="{CCDEAB70-4213-0483-3EE9-8585D769B4B2}"/>
                        </a:ext>
                      </a:extLst>
                    </p:cNvPr>
                    <p:cNvSpPr/>
                    <p:nvPr/>
                  </p:nvSpPr>
                  <p:spPr>
                    <a:xfrm>
                      <a:off x="3328799" y="2979292"/>
                      <a:ext cx="69884" cy="292338"/>
                    </a:xfrm>
                    <a:custGeom>
                      <a:avLst/>
                      <a:gdLst>
                        <a:gd name="connsiteX0" fmla="*/ 0 w 69884"/>
                        <a:gd name="connsiteY0" fmla="*/ 0 h 292338"/>
                        <a:gd name="connsiteX1" fmla="*/ 69884 w 69884"/>
                        <a:gd name="connsiteY1" fmla="*/ 0 h 292338"/>
                        <a:gd name="connsiteX2" fmla="*/ 69884 w 69884"/>
                        <a:gd name="connsiteY2" fmla="*/ 292338 h 292338"/>
                        <a:gd name="connsiteX3" fmla="*/ 0 w 69884"/>
                        <a:gd name="connsiteY3" fmla="*/ 292338 h 292338"/>
                      </a:gdLst>
                      <a:ahLst/>
                      <a:cxnLst>
                        <a:cxn ang="0">
                          <a:pos x="connsiteX0" y="connsiteY0"/>
                        </a:cxn>
                        <a:cxn ang="0">
                          <a:pos x="connsiteX1" y="connsiteY1"/>
                        </a:cxn>
                        <a:cxn ang="0">
                          <a:pos x="connsiteX2" y="connsiteY2"/>
                        </a:cxn>
                        <a:cxn ang="0">
                          <a:pos x="connsiteX3" y="connsiteY3"/>
                        </a:cxn>
                      </a:cxnLst>
                      <a:rect l="l" t="t" r="r" b="b"/>
                      <a:pathLst>
                        <a:path w="69884" h="292338">
                          <a:moveTo>
                            <a:pt x="0" y="0"/>
                          </a:moveTo>
                          <a:lnTo>
                            <a:pt x="69884" y="0"/>
                          </a:lnTo>
                          <a:lnTo>
                            <a:pt x="69884" y="292338"/>
                          </a:lnTo>
                          <a:lnTo>
                            <a:pt x="0" y="292338"/>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98" name="Freeform: Shape 797">
                      <a:extLst>
                        <a:ext uri="{FF2B5EF4-FFF2-40B4-BE49-F238E27FC236}">
                          <a16:creationId xmlns:a16="http://schemas.microsoft.com/office/drawing/2014/main" id="{CAE9C6D2-0AC5-CA64-9752-1AD931A270EF}"/>
                        </a:ext>
                      </a:extLst>
                    </p:cNvPr>
                    <p:cNvSpPr/>
                    <p:nvPr/>
                  </p:nvSpPr>
                  <p:spPr>
                    <a:xfrm>
                      <a:off x="3325011" y="2975373"/>
                      <a:ext cx="77460" cy="299914"/>
                    </a:xfrm>
                    <a:custGeom>
                      <a:avLst/>
                      <a:gdLst>
                        <a:gd name="connsiteX0" fmla="*/ 73673 w 77460"/>
                        <a:gd name="connsiteY0" fmla="*/ 299914 h 299914"/>
                        <a:gd name="connsiteX1" fmla="*/ 3788 w 77460"/>
                        <a:gd name="connsiteY1" fmla="*/ 299914 h 299914"/>
                        <a:gd name="connsiteX2" fmla="*/ 0 w 77460"/>
                        <a:gd name="connsiteY2" fmla="*/ 296126 h 299914"/>
                        <a:gd name="connsiteX3" fmla="*/ 0 w 77460"/>
                        <a:gd name="connsiteY3" fmla="*/ 3788 h 299914"/>
                        <a:gd name="connsiteX4" fmla="*/ 3788 w 77460"/>
                        <a:gd name="connsiteY4" fmla="*/ 0 h 299914"/>
                        <a:gd name="connsiteX5" fmla="*/ 73673 w 77460"/>
                        <a:gd name="connsiteY5" fmla="*/ 0 h 299914"/>
                        <a:gd name="connsiteX6" fmla="*/ 77460 w 77460"/>
                        <a:gd name="connsiteY6" fmla="*/ 3788 h 299914"/>
                        <a:gd name="connsiteX7" fmla="*/ 77460 w 77460"/>
                        <a:gd name="connsiteY7" fmla="*/ 296126 h 299914"/>
                        <a:gd name="connsiteX8" fmla="*/ 73673 w 77460"/>
                        <a:gd name="connsiteY8" fmla="*/ 299914 h 299914"/>
                        <a:gd name="connsiteX9" fmla="*/ 7576 w 77460"/>
                        <a:gd name="connsiteY9" fmla="*/ 292469 h 299914"/>
                        <a:gd name="connsiteX10" fmla="*/ 70015 w 77460"/>
                        <a:gd name="connsiteY10" fmla="*/ 292469 h 299914"/>
                        <a:gd name="connsiteX11" fmla="*/ 70015 w 77460"/>
                        <a:gd name="connsiteY11" fmla="*/ 7576 h 299914"/>
                        <a:gd name="connsiteX12" fmla="*/ 7576 w 77460"/>
                        <a:gd name="connsiteY12" fmla="*/ 7576 h 299914"/>
                        <a:gd name="connsiteX13" fmla="*/ 7576 w 77460"/>
                        <a:gd name="connsiteY13" fmla="*/ 292469 h 29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60" h="299914">
                          <a:moveTo>
                            <a:pt x="73673" y="299914"/>
                          </a:moveTo>
                          <a:lnTo>
                            <a:pt x="3788" y="299914"/>
                          </a:lnTo>
                          <a:cubicBezTo>
                            <a:pt x="1698" y="299914"/>
                            <a:pt x="0" y="298216"/>
                            <a:pt x="0" y="296126"/>
                          </a:cubicBezTo>
                          <a:lnTo>
                            <a:pt x="0" y="3788"/>
                          </a:lnTo>
                          <a:cubicBezTo>
                            <a:pt x="0" y="1698"/>
                            <a:pt x="1698" y="0"/>
                            <a:pt x="3788" y="0"/>
                          </a:cubicBezTo>
                          <a:lnTo>
                            <a:pt x="73673" y="0"/>
                          </a:lnTo>
                          <a:cubicBezTo>
                            <a:pt x="75762" y="0"/>
                            <a:pt x="77460" y="1698"/>
                            <a:pt x="77460" y="3788"/>
                          </a:cubicBezTo>
                          <a:lnTo>
                            <a:pt x="77460" y="296126"/>
                          </a:lnTo>
                          <a:cubicBezTo>
                            <a:pt x="77460" y="298216"/>
                            <a:pt x="75762" y="299914"/>
                            <a:pt x="73673" y="299914"/>
                          </a:cubicBezTo>
                          <a:close/>
                          <a:moveTo>
                            <a:pt x="7576" y="292469"/>
                          </a:moveTo>
                          <a:lnTo>
                            <a:pt x="70015" y="292469"/>
                          </a:lnTo>
                          <a:lnTo>
                            <a:pt x="70015" y="7576"/>
                          </a:lnTo>
                          <a:lnTo>
                            <a:pt x="7576" y="7576"/>
                          </a:lnTo>
                          <a:lnTo>
                            <a:pt x="7576" y="292469"/>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99" name="Graphic 717">
                    <a:extLst>
                      <a:ext uri="{FF2B5EF4-FFF2-40B4-BE49-F238E27FC236}">
                        <a16:creationId xmlns:a16="http://schemas.microsoft.com/office/drawing/2014/main" id="{9BE1EE1E-B775-1412-CD45-726C373A2D97}"/>
                      </a:ext>
                    </a:extLst>
                  </p:cNvPr>
                  <p:cNvGrpSpPr/>
                  <p:nvPr/>
                </p:nvGrpSpPr>
                <p:grpSpPr>
                  <a:xfrm>
                    <a:off x="3090017" y="3145838"/>
                    <a:ext cx="77460" cy="129449"/>
                    <a:chOff x="3090017" y="3145838"/>
                    <a:chExt cx="77460" cy="129449"/>
                  </a:xfrm>
                  <a:grpFill/>
                </p:grpSpPr>
                <p:sp>
                  <p:nvSpPr>
                    <p:cNvPr id="800" name="Freeform: Shape 799">
                      <a:extLst>
                        <a:ext uri="{FF2B5EF4-FFF2-40B4-BE49-F238E27FC236}">
                          <a16:creationId xmlns:a16="http://schemas.microsoft.com/office/drawing/2014/main" id="{48FEEA2A-D2BF-BD50-1CF0-CF16BBA43D06}"/>
                        </a:ext>
                      </a:extLst>
                    </p:cNvPr>
                    <p:cNvSpPr/>
                    <p:nvPr/>
                  </p:nvSpPr>
                  <p:spPr>
                    <a:xfrm>
                      <a:off x="3093805" y="3149757"/>
                      <a:ext cx="69884" cy="121872"/>
                    </a:xfrm>
                    <a:custGeom>
                      <a:avLst/>
                      <a:gdLst>
                        <a:gd name="connsiteX0" fmla="*/ 0 w 69884"/>
                        <a:gd name="connsiteY0" fmla="*/ 0 h 121872"/>
                        <a:gd name="connsiteX1" fmla="*/ 69884 w 69884"/>
                        <a:gd name="connsiteY1" fmla="*/ 0 h 121872"/>
                        <a:gd name="connsiteX2" fmla="*/ 69884 w 69884"/>
                        <a:gd name="connsiteY2" fmla="*/ 121873 h 121872"/>
                        <a:gd name="connsiteX3" fmla="*/ 0 w 69884"/>
                        <a:gd name="connsiteY3" fmla="*/ 121873 h 121872"/>
                      </a:gdLst>
                      <a:ahLst/>
                      <a:cxnLst>
                        <a:cxn ang="0">
                          <a:pos x="connsiteX0" y="connsiteY0"/>
                        </a:cxn>
                        <a:cxn ang="0">
                          <a:pos x="connsiteX1" y="connsiteY1"/>
                        </a:cxn>
                        <a:cxn ang="0">
                          <a:pos x="connsiteX2" y="connsiteY2"/>
                        </a:cxn>
                        <a:cxn ang="0">
                          <a:pos x="connsiteX3" y="connsiteY3"/>
                        </a:cxn>
                      </a:cxnLst>
                      <a:rect l="l" t="t" r="r" b="b"/>
                      <a:pathLst>
                        <a:path w="69884" h="121872">
                          <a:moveTo>
                            <a:pt x="0" y="0"/>
                          </a:moveTo>
                          <a:lnTo>
                            <a:pt x="69884" y="0"/>
                          </a:lnTo>
                          <a:lnTo>
                            <a:pt x="69884" y="121873"/>
                          </a:lnTo>
                          <a:lnTo>
                            <a:pt x="0" y="121873"/>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01" name="Freeform: Shape 800">
                      <a:extLst>
                        <a:ext uri="{FF2B5EF4-FFF2-40B4-BE49-F238E27FC236}">
                          <a16:creationId xmlns:a16="http://schemas.microsoft.com/office/drawing/2014/main" id="{415A0DA7-B94A-CA3D-1E8C-0098ACDA2AF9}"/>
                        </a:ext>
                      </a:extLst>
                    </p:cNvPr>
                    <p:cNvSpPr/>
                    <p:nvPr/>
                  </p:nvSpPr>
                  <p:spPr>
                    <a:xfrm>
                      <a:off x="3090017" y="3145838"/>
                      <a:ext cx="77460" cy="129449"/>
                    </a:xfrm>
                    <a:custGeom>
                      <a:avLst/>
                      <a:gdLst>
                        <a:gd name="connsiteX0" fmla="*/ 73672 w 77460"/>
                        <a:gd name="connsiteY0" fmla="*/ 129449 h 129449"/>
                        <a:gd name="connsiteX1" fmla="*/ 3788 w 77460"/>
                        <a:gd name="connsiteY1" fmla="*/ 129449 h 129449"/>
                        <a:gd name="connsiteX2" fmla="*/ 0 w 77460"/>
                        <a:gd name="connsiteY2" fmla="*/ 125661 h 129449"/>
                        <a:gd name="connsiteX3" fmla="*/ 0 w 77460"/>
                        <a:gd name="connsiteY3" fmla="*/ 3788 h 129449"/>
                        <a:gd name="connsiteX4" fmla="*/ 3788 w 77460"/>
                        <a:gd name="connsiteY4" fmla="*/ 0 h 129449"/>
                        <a:gd name="connsiteX5" fmla="*/ 73672 w 77460"/>
                        <a:gd name="connsiteY5" fmla="*/ 0 h 129449"/>
                        <a:gd name="connsiteX6" fmla="*/ 77461 w 77460"/>
                        <a:gd name="connsiteY6" fmla="*/ 3788 h 129449"/>
                        <a:gd name="connsiteX7" fmla="*/ 77461 w 77460"/>
                        <a:gd name="connsiteY7" fmla="*/ 125661 h 129449"/>
                        <a:gd name="connsiteX8" fmla="*/ 73672 w 77460"/>
                        <a:gd name="connsiteY8" fmla="*/ 129449 h 129449"/>
                        <a:gd name="connsiteX9" fmla="*/ 7576 w 77460"/>
                        <a:gd name="connsiteY9" fmla="*/ 122003 h 129449"/>
                        <a:gd name="connsiteX10" fmla="*/ 70015 w 77460"/>
                        <a:gd name="connsiteY10" fmla="*/ 122003 h 129449"/>
                        <a:gd name="connsiteX11" fmla="*/ 70015 w 77460"/>
                        <a:gd name="connsiteY11" fmla="*/ 7707 h 129449"/>
                        <a:gd name="connsiteX12" fmla="*/ 7576 w 77460"/>
                        <a:gd name="connsiteY12" fmla="*/ 7707 h 129449"/>
                        <a:gd name="connsiteX13" fmla="*/ 7576 w 77460"/>
                        <a:gd name="connsiteY13" fmla="*/ 122003 h 12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60" h="129449">
                          <a:moveTo>
                            <a:pt x="73672" y="129449"/>
                          </a:moveTo>
                          <a:lnTo>
                            <a:pt x="3788" y="129449"/>
                          </a:lnTo>
                          <a:cubicBezTo>
                            <a:pt x="1698" y="129449"/>
                            <a:pt x="0" y="127751"/>
                            <a:pt x="0" y="125661"/>
                          </a:cubicBezTo>
                          <a:lnTo>
                            <a:pt x="0" y="3788"/>
                          </a:lnTo>
                          <a:cubicBezTo>
                            <a:pt x="0" y="1698"/>
                            <a:pt x="1698" y="0"/>
                            <a:pt x="3788" y="0"/>
                          </a:cubicBezTo>
                          <a:lnTo>
                            <a:pt x="73672" y="0"/>
                          </a:lnTo>
                          <a:cubicBezTo>
                            <a:pt x="75762" y="0"/>
                            <a:pt x="77461" y="1698"/>
                            <a:pt x="77461" y="3788"/>
                          </a:cubicBezTo>
                          <a:lnTo>
                            <a:pt x="77461" y="125661"/>
                          </a:lnTo>
                          <a:cubicBezTo>
                            <a:pt x="77461" y="127751"/>
                            <a:pt x="75762" y="129449"/>
                            <a:pt x="73672" y="129449"/>
                          </a:cubicBezTo>
                          <a:close/>
                          <a:moveTo>
                            <a:pt x="7576" y="122003"/>
                          </a:moveTo>
                          <a:lnTo>
                            <a:pt x="70015" y="122003"/>
                          </a:lnTo>
                          <a:lnTo>
                            <a:pt x="70015" y="7707"/>
                          </a:lnTo>
                          <a:lnTo>
                            <a:pt x="7576" y="7707"/>
                          </a:lnTo>
                          <a:lnTo>
                            <a:pt x="7576" y="122003"/>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02" name="Graphic 717">
                    <a:extLst>
                      <a:ext uri="{FF2B5EF4-FFF2-40B4-BE49-F238E27FC236}">
                        <a16:creationId xmlns:a16="http://schemas.microsoft.com/office/drawing/2014/main" id="{60FC8C15-BBA9-F072-6329-690829AA93D0}"/>
                      </a:ext>
                    </a:extLst>
                  </p:cNvPr>
                  <p:cNvGrpSpPr/>
                  <p:nvPr/>
                </p:nvGrpSpPr>
                <p:grpSpPr>
                  <a:xfrm>
                    <a:off x="3438524" y="3076607"/>
                    <a:ext cx="77460" cy="198680"/>
                    <a:chOff x="3438524" y="3076607"/>
                    <a:chExt cx="77460" cy="198680"/>
                  </a:xfrm>
                  <a:grpFill/>
                </p:grpSpPr>
                <p:sp>
                  <p:nvSpPr>
                    <p:cNvPr id="803" name="Freeform: Shape 802">
                      <a:extLst>
                        <a:ext uri="{FF2B5EF4-FFF2-40B4-BE49-F238E27FC236}">
                          <a16:creationId xmlns:a16="http://schemas.microsoft.com/office/drawing/2014/main" id="{79D9EDC7-977B-AAF9-13CC-4C7196590459}"/>
                        </a:ext>
                      </a:extLst>
                    </p:cNvPr>
                    <p:cNvSpPr/>
                    <p:nvPr/>
                  </p:nvSpPr>
                  <p:spPr>
                    <a:xfrm>
                      <a:off x="3442312" y="3080395"/>
                      <a:ext cx="69884" cy="191104"/>
                    </a:xfrm>
                    <a:custGeom>
                      <a:avLst/>
                      <a:gdLst>
                        <a:gd name="connsiteX0" fmla="*/ 0 w 69884"/>
                        <a:gd name="connsiteY0" fmla="*/ 0 h 191104"/>
                        <a:gd name="connsiteX1" fmla="*/ 69884 w 69884"/>
                        <a:gd name="connsiteY1" fmla="*/ 0 h 191104"/>
                        <a:gd name="connsiteX2" fmla="*/ 69884 w 69884"/>
                        <a:gd name="connsiteY2" fmla="*/ 191104 h 191104"/>
                        <a:gd name="connsiteX3" fmla="*/ 0 w 69884"/>
                        <a:gd name="connsiteY3" fmla="*/ 191104 h 191104"/>
                      </a:gdLst>
                      <a:ahLst/>
                      <a:cxnLst>
                        <a:cxn ang="0">
                          <a:pos x="connsiteX0" y="connsiteY0"/>
                        </a:cxn>
                        <a:cxn ang="0">
                          <a:pos x="connsiteX1" y="connsiteY1"/>
                        </a:cxn>
                        <a:cxn ang="0">
                          <a:pos x="connsiteX2" y="connsiteY2"/>
                        </a:cxn>
                        <a:cxn ang="0">
                          <a:pos x="connsiteX3" y="connsiteY3"/>
                        </a:cxn>
                      </a:cxnLst>
                      <a:rect l="l" t="t" r="r" b="b"/>
                      <a:pathLst>
                        <a:path w="69884" h="191104">
                          <a:moveTo>
                            <a:pt x="0" y="0"/>
                          </a:moveTo>
                          <a:lnTo>
                            <a:pt x="69884" y="0"/>
                          </a:lnTo>
                          <a:lnTo>
                            <a:pt x="69884" y="191104"/>
                          </a:lnTo>
                          <a:lnTo>
                            <a:pt x="0" y="191104"/>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04" name="Freeform: Shape 803">
                      <a:extLst>
                        <a:ext uri="{FF2B5EF4-FFF2-40B4-BE49-F238E27FC236}">
                          <a16:creationId xmlns:a16="http://schemas.microsoft.com/office/drawing/2014/main" id="{1C90B313-09B0-055A-EB77-88D9C4192CC0}"/>
                        </a:ext>
                      </a:extLst>
                    </p:cNvPr>
                    <p:cNvSpPr/>
                    <p:nvPr/>
                  </p:nvSpPr>
                  <p:spPr>
                    <a:xfrm>
                      <a:off x="3438524" y="3076607"/>
                      <a:ext cx="77460" cy="198680"/>
                    </a:xfrm>
                    <a:custGeom>
                      <a:avLst/>
                      <a:gdLst>
                        <a:gd name="connsiteX0" fmla="*/ 73672 w 77460"/>
                        <a:gd name="connsiteY0" fmla="*/ 198680 h 198680"/>
                        <a:gd name="connsiteX1" fmla="*/ 3788 w 77460"/>
                        <a:gd name="connsiteY1" fmla="*/ 198680 h 198680"/>
                        <a:gd name="connsiteX2" fmla="*/ 0 w 77460"/>
                        <a:gd name="connsiteY2" fmla="*/ 194892 h 198680"/>
                        <a:gd name="connsiteX3" fmla="*/ 0 w 77460"/>
                        <a:gd name="connsiteY3" fmla="*/ 3788 h 198680"/>
                        <a:gd name="connsiteX4" fmla="*/ 3788 w 77460"/>
                        <a:gd name="connsiteY4" fmla="*/ 0 h 198680"/>
                        <a:gd name="connsiteX5" fmla="*/ 73672 w 77460"/>
                        <a:gd name="connsiteY5" fmla="*/ 0 h 198680"/>
                        <a:gd name="connsiteX6" fmla="*/ 77460 w 77460"/>
                        <a:gd name="connsiteY6" fmla="*/ 3788 h 198680"/>
                        <a:gd name="connsiteX7" fmla="*/ 77460 w 77460"/>
                        <a:gd name="connsiteY7" fmla="*/ 194892 h 198680"/>
                        <a:gd name="connsiteX8" fmla="*/ 73672 w 77460"/>
                        <a:gd name="connsiteY8" fmla="*/ 198680 h 198680"/>
                        <a:gd name="connsiteX9" fmla="*/ 7576 w 77460"/>
                        <a:gd name="connsiteY9" fmla="*/ 191235 h 198680"/>
                        <a:gd name="connsiteX10" fmla="*/ 70015 w 77460"/>
                        <a:gd name="connsiteY10" fmla="*/ 191235 h 198680"/>
                        <a:gd name="connsiteX11" fmla="*/ 70015 w 77460"/>
                        <a:gd name="connsiteY11" fmla="*/ 7576 h 198680"/>
                        <a:gd name="connsiteX12" fmla="*/ 7576 w 77460"/>
                        <a:gd name="connsiteY12" fmla="*/ 7576 h 198680"/>
                        <a:gd name="connsiteX13" fmla="*/ 7576 w 77460"/>
                        <a:gd name="connsiteY13" fmla="*/ 191235 h 19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60" h="198680">
                          <a:moveTo>
                            <a:pt x="73672" y="198680"/>
                          </a:moveTo>
                          <a:lnTo>
                            <a:pt x="3788" y="198680"/>
                          </a:lnTo>
                          <a:cubicBezTo>
                            <a:pt x="1698" y="198680"/>
                            <a:pt x="0" y="196982"/>
                            <a:pt x="0" y="194892"/>
                          </a:cubicBezTo>
                          <a:lnTo>
                            <a:pt x="0" y="3788"/>
                          </a:lnTo>
                          <a:cubicBezTo>
                            <a:pt x="0" y="1698"/>
                            <a:pt x="1698" y="0"/>
                            <a:pt x="3788" y="0"/>
                          </a:cubicBezTo>
                          <a:lnTo>
                            <a:pt x="73672" y="0"/>
                          </a:lnTo>
                          <a:cubicBezTo>
                            <a:pt x="75762" y="0"/>
                            <a:pt x="77460" y="1698"/>
                            <a:pt x="77460" y="3788"/>
                          </a:cubicBezTo>
                          <a:lnTo>
                            <a:pt x="77460" y="194892"/>
                          </a:lnTo>
                          <a:cubicBezTo>
                            <a:pt x="77460" y="196982"/>
                            <a:pt x="75762" y="198680"/>
                            <a:pt x="73672" y="198680"/>
                          </a:cubicBezTo>
                          <a:close/>
                          <a:moveTo>
                            <a:pt x="7576" y="191235"/>
                          </a:moveTo>
                          <a:lnTo>
                            <a:pt x="70015" y="191235"/>
                          </a:lnTo>
                          <a:lnTo>
                            <a:pt x="70015" y="7576"/>
                          </a:lnTo>
                          <a:lnTo>
                            <a:pt x="7576" y="7576"/>
                          </a:lnTo>
                          <a:lnTo>
                            <a:pt x="7576" y="191235"/>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05" name="Graphic 717">
                    <a:extLst>
                      <a:ext uri="{FF2B5EF4-FFF2-40B4-BE49-F238E27FC236}">
                        <a16:creationId xmlns:a16="http://schemas.microsoft.com/office/drawing/2014/main" id="{29B7EF84-6C1B-A1A9-6FB8-48FDFF527E0E}"/>
                      </a:ext>
                    </a:extLst>
                  </p:cNvPr>
                  <p:cNvGrpSpPr/>
                  <p:nvPr/>
                </p:nvGrpSpPr>
                <p:grpSpPr>
                  <a:xfrm>
                    <a:off x="3211498" y="3044473"/>
                    <a:ext cx="77460" cy="230813"/>
                    <a:chOff x="3211498" y="3044473"/>
                    <a:chExt cx="77460" cy="230813"/>
                  </a:xfrm>
                  <a:grpFill/>
                </p:grpSpPr>
                <p:sp>
                  <p:nvSpPr>
                    <p:cNvPr id="806" name="Freeform: Shape 805">
                      <a:extLst>
                        <a:ext uri="{FF2B5EF4-FFF2-40B4-BE49-F238E27FC236}">
                          <a16:creationId xmlns:a16="http://schemas.microsoft.com/office/drawing/2014/main" id="{4A92AD09-F989-004F-4C87-308B955E269F}"/>
                        </a:ext>
                      </a:extLst>
                    </p:cNvPr>
                    <p:cNvSpPr/>
                    <p:nvPr/>
                  </p:nvSpPr>
                  <p:spPr>
                    <a:xfrm>
                      <a:off x="3215286" y="3048392"/>
                      <a:ext cx="69884" cy="223237"/>
                    </a:xfrm>
                    <a:custGeom>
                      <a:avLst/>
                      <a:gdLst>
                        <a:gd name="connsiteX0" fmla="*/ 0 w 69884"/>
                        <a:gd name="connsiteY0" fmla="*/ 0 h 223237"/>
                        <a:gd name="connsiteX1" fmla="*/ 69884 w 69884"/>
                        <a:gd name="connsiteY1" fmla="*/ 0 h 223237"/>
                        <a:gd name="connsiteX2" fmla="*/ 69884 w 69884"/>
                        <a:gd name="connsiteY2" fmla="*/ 223238 h 223237"/>
                        <a:gd name="connsiteX3" fmla="*/ 0 w 69884"/>
                        <a:gd name="connsiteY3" fmla="*/ 223238 h 223237"/>
                      </a:gdLst>
                      <a:ahLst/>
                      <a:cxnLst>
                        <a:cxn ang="0">
                          <a:pos x="connsiteX0" y="connsiteY0"/>
                        </a:cxn>
                        <a:cxn ang="0">
                          <a:pos x="connsiteX1" y="connsiteY1"/>
                        </a:cxn>
                        <a:cxn ang="0">
                          <a:pos x="connsiteX2" y="connsiteY2"/>
                        </a:cxn>
                        <a:cxn ang="0">
                          <a:pos x="connsiteX3" y="connsiteY3"/>
                        </a:cxn>
                      </a:cxnLst>
                      <a:rect l="l" t="t" r="r" b="b"/>
                      <a:pathLst>
                        <a:path w="69884" h="223237">
                          <a:moveTo>
                            <a:pt x="0" y="0"/>
                          </a:moveTo>
                          <a:lnTo>
                            <a:pt x="69884" y="0"/>
                          </a:lnTo>
                          <a:lnTo>
                            <a:pt x="69884" y="223238"/>
                          </a:lnTo>
                          <a:lnTo>
                            <a:pt x="0" y="223238"/>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07" name="Freeform: Shape 806">
                      <a:extLst>
                        <a:ext uri="{FF2B5EF4-FFF2-40B4-BE49-F238E27FC236}">
                          <a16:creationId xmlns:a16="http://schemas.microsoft.com/office/drawing/2014/main" id="{7AF39FC9-0662-FEFB-568E-2A286653279D}"/>
                        </a:ext>
                      </a:extLst>
                    </p:cNvPr>
                    <p:cNvSpPr/>
                    <p:nvPr/>
                  </p:nvSpPr>
                  <p:spPr>
                    <a:xfrm>
                      <a:off x="3211498" y="3044473"/>
                      <a:ext cx="77460" cy="230813"/>
                    </a:xfrm>
                    <a:custGeom>
                      <a:avLst/>
                      <a:gdLst>
                        <a:gd name="connsiteX0" fmla="*/ 73672 w 77460"/>
                        <a:gd name="connsiteY0" fmla="*/ 230814 h 230813"/>
                        <a:gd name="connsiteX1" fmla="*/ 3788 w 77460"/>
                        <a:gd name="connsiteY1" fmla="*/ 230814 h 230813"/>
                        <a:gd name="connsiteX2" fmla="*/ 0 w 77460"/>
                        <a:gd name="connsiteY2" fmla="*/ 227026 h 230813"/>
                        <a:gd name="connsiteX3" fmla="*/ 0 w 77460"/>
                        <a:gd name="connsiteY3" fmla="*/ 3788 h 230813"/>
                        <a:gd name="connsiteX4" fmla="*/ 3788 w 77460"/>
                        <a:gd name="connsiteY4" fmla="*/ 0 h 230813"/>
                        <a:gd name="connsiteX5" fmla="*/ 73672 w 77460"/>
                        <a:gd name="connsiteY5" fmla="*/ 0 h 230813"/>
                        <a:gd name="connsiteX6" fmla="*/ 77461 w 77460"/>
                        <a:gd name="connsiteY6" fmla="*/ 3788 h 230813"/>
                        <a:gd name="connsiteX7" fmla="*/ 77461 w 77460"/>
                        <a:gd name="connsiteY7" fmla="*/ 227026 h 230813"/>
                        <a:gd name="connsiteX8" fmla="*/ 73672 w 77460"/>
                        <a:gd name="connsiteY8" fmla="*/ 230814 h 230813"/>
                        <a:gd name="connsiteX9" fmla="*/ 7576 w 77460"/>
                        <a:gd name="connsiteY9" fmla="*/ 223368 h 230813"/>
                        <a:gd name="connsiteX10" fmla="*/ 70015 w 77460"/>
                        <a:gd name="connsiteY10" fmla="*/ 223368 h 230813"/>
                        <a:gd name="connsiteX11" fmla="*/ 70015 w 77460"/>
                        <a:gd name="connsiteY11" fmla="*/ 7707 h 230813"/>
                        <a:gd name="connsiteX12" fmla="*/ 7576 w 77460"/>
                        <a:gd name="connsiteY12" fmla="*/ 7707 h 230813"/>
                        <a:gd name="connsiteX13" fmla="*/ 7576 w 77460"/>
                        <a:gd name="connsiteY13" fmla="*/ 223368 h 23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60" h="230813">
                          <a:moveTo>
                            <a:pt x="73672" y="230814"/>
                          </a:moveTo>
                          <a:lnTo>
                            <a:pt x="3788" y="230814"/>
                          </a:lnTo>
                          <a:cubicBezTo>
                            <a:pt x="1698" y="230814"/>
                            <a:pt x="0" y="229116"/>
                            <a:pt x="0" y="227026"/>
                          </a:cubicBezTo>
                          <a:lnTo>
                            <a:pt x="0" y="3788"/>
                          </a:lnTo>
                          <a:cubicBezTo>
                            <a:pt x="0" y="1698"/>
                            <a:pt x="1698" y="0"/>
                            <a:pt x="3788" y="0"/>
                          </a:cubicBezTo>
                          <a:lnTo>
                            <a:pt x="73672" y="0"/>
                          </a:lnTo>
                          <a:cubicBezTo>
                            <a:pt x="75762" y="0"/>
                            <a:pt x="77461" y="1698"/>
                            <a:pt x="77461" y="3788"/>
                          </a:cubicBezTo>
                          <a:lnTo>
                            <a:pt x="77461" y="227026"/>
                          </a:lnTo>
                          <a:cubicBezTo>
                            <a:pt x="77461" y="229116"/>
                            <a:pt x="75762" y="230814"/>
                            <a:pt x="73672" y="230814"/>
                          </a:cubicBezTo>
                          <a:close/>
                          <a:moveTo>
                            <a:pt x="7576" y="223368"/>
                          </a:moveTo>
                          <a:lnTo>
                            <a:pt x="70015" y="223368"/>
                          </a:lnTo>
                          <a:lnTo>
                            <a:pt x="70015" y="7707"/>
                          </a:lnTo>
                          <a:lnTo>
                            <a:pt x="7576" y="7707"/>
                          </a:lnTo>
                          <a:lnTo>
                            <a:pt x="7576" y="223368"/>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sp>
              <p:nvSpPr>
                <p:cNvPr id="808" name="Freeform: Shape 807">
                  <a:extLst>
                    <a:ext uri="{FF2B5EF4-FFF2-40B4-BE49-F238E27FC236}">
                      <a16:creationId xmlns:a16="http://schemas.microsoft.com/office/drawing/2014/main" id="{82B5BF9C-472A-424C-B688-2240F1CAE48E}"/>
                    </a:ext>
                  </a:extLst>
                </p:cNvPr>
                <p:cNvSpPr/>
                <p:nvPr/>
              </p:nvSpPr>
              <p:spPr>
                <a:xfrm>
                  <a:off x="3730209" y="3173792"/>
                  <a:ext cx="212265" cy="7968"/>
                </a:xfrm>
                <a:custGeom>
                  <a:avLst/>
                  <a:gdLst>
                    <a:gd name="connsiteX0" fmla="*/ 5356 w 212265"/>
                    <a:gd name="connsiteY0" fmla="*/ 7968 h 7968"/>
                    <a:gd name="connsiteX1" fmla="*/ 3788 w 212265"/>
                    <a:gd name="connsiteY1" fmla="*/ 7968 h 7968"/>
                    <a:gd name="connsiteX2" fmla="*/ 0 w 212265"/>
                    <a:gd name="connsiteY2" fmla="*/ 4180 h 7968"/>
                    <a:gd name="connsiteX3" fmla="*/ 3788 w 212265"/>
                    <a:gd name="connsiteY3" fmla="*/ 392 h 7968"/>
                    <a:gd name="connsiteX4" fmla="*/ 5356 w 212265"/>
                    <a:gd name="connsiteY4" fmla="*/ 392 h 7968"/>
                    <a:gd name="connsiteX5" fmla="*/ 208477 w 212265"/>
                    <a:gd name="connsiteY5" fmla="*/ 0 h 7968"/>
                    <a:gd name="connsiteX6" fmla="*/ 208477 w 212265"/>
                    <a:gd name="connsiteY6" fmla="*/ 0 h 7968"/>
                    <a:gd name="connsiteX7" fmla="*/ 212265 w 212265"/>
                    <a:gd name="connsiteY7" fmla="*/ 3788 h 7968"/>
                    <a:gd name="connsiteX8" fmla="*/ 208477 w 212265"/>
                    <a:gd name="connsiteY8" fmla="*/ 7576 h 7968"/>
                    <a:gd name="connsiteX9" fmla="*/ 5356 w 212265"/>
                    <a:gd name="connsiteY9" fmla="*/ 7968 h 7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265" h="7968">
                      <a:moveTo>
                        <a:pt x="5356" y="7968"/>
                      </a:moveTo>
                      <a:lnTo>
                        <a:pt x="3788" y="7968"/>
                      </a:lnTo>
                      <a:cubicBezTo>
                        <a:pt x="1698" y="7968"/>
                        <a:pt x="0" y="6270"/>
                        <a:pt x="0" y="4180"/>
                      </a:cubicBezTo>
                      <a:cubicBezTo>
                        <a:pt x="0" y="2090"/>
                        <a:pt x="1698" y="392"/>
                        <a:pt x="3788" y="392"/>
                      </a:cubicBezTo>
                      <a:lnTo>
                        <a:pt x="5356" y="392"/>
                      </a:lnTo>
                      <a:cubicBezTo>
                        <a:pt x="70146" y="392"/>
                        <a:pt x="136634" y="261"/>
                        <a:pt x="208477" y="0"/>
                      </a:cubicBezTo>
                      <a:lnTo>
                        <a:pt x="208477" y="0"/>
                      </a:lnTo>
                      <a:cubicBezTo>
                        <a:pt x="210567" y="0"/>
                        <a:pt x="212265" y="1698"/>
                        <a:pt x="212265" y="3788"/>
                      </a:cubicBezTo>
                      <a:cubicBezTo>
                        <a:pt x="212265" y="5878"/>
                        <a:pt x="210567" y="7576"/>
                        <a:pt x="208477" y="7576"/>
                      </a:cubicBezTo>
                      <a:cubicBezTo>
                        <a:pt x="136634" y="7837"/>
                        <a:pt x="70276" y="7968"/>
                        <a:pt x="5356" y="796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09" name="Freeform: Shape 808">
                  <a:extLst>
                    <a:ext uri="{FF2B5EF4-FFF2-40B4-BE49-F238E27FC236}">
                      <a16:creationId xmlns:a16="http://schemas.microsoft.com/office/drawing/2014/main" id="{8F7D677C-8AFA-AD4F-8D9A-00CE3BAEA35A}"/>
                    </a:ext>
                  </a:extLst>
                </p:cNvPr>
                <p:cNvSpPr/>
                <p:nvPr/>
              </p:nvSpPr>
              <p:spPr>
                <a:xfrm>
                  <a:off x="3695717" y="3080265"/>
                  <a:ext cx="246757" cy="9796"/>
                </a:xfrm>
                <a:custGeom>
                  <a:avLst/>
                  <a:gdLst>
                    <a:gd name="connsiteX0" fmla="*/ 106075 w 246757"/>
                    <a:gd name="connsiteY0" fmla="*/ 9666 h 9796"/>
                    <a:gd name="connsiteX1" fmla="*/ 3534 w 246757"/>
                    <a:gd name="connsiteY1" fmla="*/ 7446 h 9796"/>
                    <a:gd name="connsiteX2" fmla="*/ 8 w 246757"/>
                    <a:gd name="connsiteY2" fmla="*/ 3527 h 9796"/>
                    <a:gd name="connsiteX3" fmla="*/ 3926 w 246757"/>
                    <a:gd name="connsiteY3" fmla="*/ 0 h 9796"/>
                    <a:gd name="connsiteX4" fmla="*/ 180270 w 246757"/>
                    <a:gd name="connsiteY4" fmla="*/ 1698 h 9796"/>
                    <a:gd name="connsiteX5" fmla="*/ 242970 w 246757"/>
                    <a:gd name="connsiteY5" fmla="*/ 1176 h 9796"/>
                    <a:gd name="connsiteX6" fmla="*/ 242970 w 246757"/>
                    <a:gd name="connsiteY6" fmla="*/ 1176 h 9796"/>
                    <a:gd name="connsiteX7" fmla="*/ 246758 w 246757"/>
                    <a:gd name="connsiteY7" fmla="*/ 4964 h 9796"/>
                    <a:gd name="connsiteX8" fmla="*/ 242970 w 246757"/>
                    <a:gd name="connsiteY8" fmla="*/ 8752 h 9796"/>
                    <a:gd name="connsiteX9" fmla="*/ 180400 w 246757"/>
                    <a:gd name="connsiteY9" fmla="*/ 9274 h 9796"/>
                    <a:gd name="connsiteX10" fmla="*/ 106075 w 246757"/>
                    <a:gd name="connsiteY10" fmla="*/ 9797 h 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757" h="9796">
                      <a:moveTo>
                        <a:pt x="106075" y="9666"/>
                      </a:moveTo>
                      <a:cubicBezTo>
                        <a:pt x="71851" y="9666"/>
                        <a:pt x="37497" y="9144"/>
                        <a:pt x="3534" y="7446"/>
                      </a:cubicBezTo>
                      <a:cubicBezTo>
                        <a:pt x="1444" y="7446"/>
                        <a:pt x="-123" y="5617"/>
                        <a:pt x="8" y="3527"/>
                      </a:cubicBezTo>
                      <a:cubicBezTo>
                        <a:pt x="8" y="1437"/>
                        <a:pt x="1836" y="0"/>
                        <a:pt x="3926" y="0"/>
                      </a:cubicBezTo>
                      <a:cubicBezTo>
                        <a:pt x="62315" y="3004"/>
                        <a:pt x="122272" y="2351"/>
                        <a:pt x="180270" y="1698"/>
                      </a:cubicBezTo>
                      <a:cubicBezTo>
                        <a:pt x="200778" y="1437"/>
                        <a:pt x="221939" y="1306"/>
                        <a:pt x="242970" y="1176"/>
                      </a:cubicBezTo>
                      <a:lnTo>
                        <a:pt x="242970" y="1176"/>
                      </a:lnTo>
                      <a:cubicBezTo>
                        <a:pt x="245060" y="1176"/>
                        <a:pt x="246758" y="2874"/>
                        <a:pt x="246758" y="4964"/>
                      </a:cubicBezTo>
                      <a:cubicBezTo>
                        <a:pt x="246758" y="7054"/>
                        <a:pt x="245060" y="8752"/>
                        <a:pt x="242970" y="8752"/>
                      </a:cubicBezTo>
                      <a:cubicBezTo>
                        <a:pt x="222070" y="8752"/>
                        <a:pt x="200909" y="9013"/>
                        <a:pt x="180400" y="9274"/>
                      </a:cubicBezTo>
                      <a:cubicBezTo>
                        <a:pt x="155974" y="9536"/>
                        <a:pt x="131024" y="9797"/>
                        <a:pt x="106075" y="979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810" name="Graphic 717">
                  <a:extLst>
                    <a:ext uri="{FF2B5EF4-FFF2-40B4-BE49-F238E27FC236}">
                      <a16:creationId xmlns:a16="http://schemas.microsoft.com/office/drawing/2014/main" id="{BCAFCE82-88ED-20CD-BEE6-385D0CBD39EB}"/>
                    </a:ext>
                  </a:extLst>
                </p:cNvPr>
                <p:cNvGrpSpPr/>
                <p:nvPr/>
              </p:nvGrpSpPr>
              <p:grpSpPr>
                <a:xfrm>
                  <a:off x="3299148" y="2712033"/>
                  <a:ext cx="690743" cy="101103"/>
                  <a:chOff x="3299148" y="2712033"/>
                  <a:chExt cx="690743" cy="101103"/>
                </a:xfrm>
                <a:grpFill/>
              </p:grpSpPr>
              <p:sp>
                <p:nvSpPr>
                  <p:cNvPr id="811" name="Freeform: Shape 810">
                    <a:extLst>
                      <a:ext uri="{FF2B5EF4-FFF2-40B4-BE49-F238E27FC236}">
                        <a16:creationId xmlns:a16="http://schemas.microsoft.com/office/drawing/2014/main" id="{4FD47A52-073E-24B5-96B2-648B7F750901}"/>
                      </a:ext>
                    </a:extLst>
                  </p:cNvPr>
                  <p:cNvSpPr/>
                  <p:nvPr/>
                </p:nvSpPr>
                <p:spPr>
                  <a:xfrm>
                    <a:off x="3581820" y="2712425"/>
                    <a:ext cx="408071" cy="8359"/>
                  </a:xfrm>
                  <a:custGeom>
                    <a:avLst/>
                    <a:gdLst>
                      <a:gd name="connsiteX0" fmla="*/ 404153 w 408071"/>
                      <a:gd name="connsiteY0" fmla="*/ 8360 h 8359"/>
                      <a:gd name="connsiteX1" fmla="*/ 404153 w 408071"/>
                      <a:gd name="connsiteY1" fmla="*/ 8360 h 8359"/>
                      <a:gd name="connsiteX2" fmla="*/ 109333 w 408071"/>
                      <a:gd name="connsiteY2" fmla="*/ 7707 h 8359"/>
                      <a:gd name="connsiteX3" fmla="*/ 3788 w 408071"/>
                      <a:gd name="connsiteY3" fmla="*/ 7576 h 8359"/>
                      <a:gd name="connsiteX4" fmla="*/ 0 w 408071"/>
                      <a:gd name="connsiteY4" fmla="*/ 3788 h 8359"/>
                      <a:gd name="connsiteX5" fmla="*/ 3788 w 408071"/>
                      <a:gd name="connsiteY5" fmla="*/ 0 h 8359"/>
                      <a:gd name="connsiteX6" fmla="*/ 3788 w 408071"/>
                      <a:gd name="connsiteY6" fmla="*/ 0 h 8359"/>
                      <a:gd name="connsiteX7" fmla="*/ 109333 w 408071"/>
                      <a:gd name="connsiteY7" fmla="*/ 131 h 8359"/>
                      <a:gd name="connsiteX8" fmla="*/ 404283 w 408071"/>
                      <a:gd name="connsiteY8" fmla="*/ 784 h 8359"/>
                      <a:gd name="connsiteX9" fmla="*/ 408072 w 408071"/>
                      <a:gd name="connsiteY9" fmla="*/ 4572 h 8359"/>
                      <a:gd name="connsiteX10" fmla="*/ 404283 w 408071"/>
                      <a:gd name="connsiteY10" fmla="*/ 8360 h 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071" h="8359">
                        <a:moveTo>
                          <a:pt x="404153" y="8360"/>
                        </a:moveTo>
                        <a:lnTo>
                          <a:pt x="404153" y="8360"/>
                        </a:lnTo>
                        <a:cubicBezTo>
                          <a:pt x="305793" y="7838"/>
                          <a:pt x="205865" y="7838"/>
                          <a:pt x="109333" y="7707"/>
                        </a:cubicBezTo>
                        <a:cubicBezTo>
                          <a:pt x="74195" y="7707"/>
                          <a:pt x="38926" y="7707"/>
                          <a:pt x="3788" y="7576"/>
                        </a:cubicBezTo>
                        <a:cubicBezTo>
                          <a:pt x="1698" y="7576"/>
                          <a:pt x="0" y="5878"/>
                          <a:pt x="0" y="3788"/>
                        </a:cubicBezTo>
                        <a:cubicBezTo>
                          <a:pt x="0" y="1698"/>
                          <a:pt x="1698" y="0"/>
                          <a:pt x="3788" y="0"/>
                        </a:cubicBezTo>
                        <a:lnTo>
                          <a:pt x="3788" y="0"/>
                        </a:lnTo>
                        <a:cubicBezTo>
                          <a:pt x="38926" y="0"/>
                          <a:pt x="74195" y="0"/>
                          <a:pt x="109333" y="131"/>
                        </a:cubicBezTo>
                        <a:cubicBezTo>
                          <a:pt x="205865" y="131"/>
                          <a:pt x="305793" y="392"/>
                          <a:pt x="404283" y="784"/>
                        </a:cubicBezTo>
                        <a:cubicBezTo>
                          <a:pt x="406373" y="784"/>
                          <a:pt x="408072" y="2482"/>
                          <a:pt x="408072" y="4572"/>
                        </a:cubicBezTo>
                        <a:cubicBezTo>
                          <a:pt x="408072" y="6662"/>
                          <a:pt x="406373" y="8360"/>
                          <a:pt x="404283" y="8360"/>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12" name="Freeform: Shape 811">
                    <a:extLst>
                      <a:ext uri="{FF2B5EF4-FFF2-40B4-BE49-F238E27FC236}">
                        <a16:creationId xmlns:a16="http://schemas.microsoft.com/office/drawing/2014/main" id="{74058F51-B636-45CD-76F5-68B199309F6C}"/>
                      </a:ext>
                    </a:extLst>
                  </p:cNvPr>
                  <p:cNvSpPr/>
                  <p:nvPr/>
                </p:nvSpPr>
                <p:spPr>
                  <a:xfrm>
                    <a:off x="3299271" y="2712033"/>
                    <a:ext cx="239572" cy="8359"/>
                  </a:xfrm>
                  <a:custGeom>
                    <a:avLst/>
                    <a:gdLst>
                      <a:gd name="connsiteX0" fmla="*/ 145784 w 239572"/>
                      <a:gd name="connsiteY0" fmla="*/ 8099 h 8359"/>
                      <a:gd name="connsiteX1" fmla="*/ 3665 w 239572"/>
                      <a:gd name="connsiteY1" fmla="*/ 7446 h 8359"/>
                      <a:gd name="connsiteX2" fmla="*/ 7 w 239572"/>
                      <a:gd name="connsiteY2" fmla="*/ 3657 h 8359"/>
                      <a:gd name="connsiteX3" fmla="*/ 3795 w 239572"/>
                      <a:gd name="connsiteY3" fmla="*/ 0 h 8359"/>
                      <a:gd name="connsiteX4" fmla="*/ 3795 w 239572"/>
                      <a:gd name="connsiteY4" fmla="*/ 0 h 8359"/>
                      <a:gd name="connsiteX5" fmla="*/ 235785 w 239572"/>
                      <a:gd name="connsiteY5" fmla="*/ 523 h 8359"/>
                      <a:gd name="connsiteX6" fmla="*/ 235785 w 239572"/>
                      <a:gd name="connsiteY6" fmla="*/ 523 h 8359"/>
                      <a:gd name="connsiteX7" fmla="*/ 239573 w 239572"/>
                      <a:gd name="connsiteY7" fmla="*/ 4311 h 8359"/>
                      <a:gd name="connsiteX8" fmla="*/ 235785 w 239572"/>
                      <a:gd name="connsiteY8" fmla="*/ 8099 h 8359"/>
                      <a:gd name="connsiteX9" fmla="*/ 145784 w 239572"/>
                      <a:gd name="connsiteY9" fmla="*/ 8360 h 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572" h="8359">
                        <a:moveTo>
                          <a:pt x="145784" y="8099"/>
                        </a:moveTo>
                        <a:cubicBezTo>
                          <a:pt x="93926" y="8099"/>
                          <a:pt x="47554" y="7837"/>
                          <a:pt x="3665" y="7446"/>
                        </a:cubicBezTo>
                        <a:cubicBezTo>
                          <a:pt x="1574" y="7446"/>
                          <a:pt x="-123" y="5747"/>
                          <a:pt x="7" y="3657"/>
                        </a:cubicBezTo>
                        <a:cubicBezTo>
                          <a:pt x="7" y="1567"/>
                          <a:pt x="1705" y="0"/>
                          <a:pt x="3795" y="0"/>
                        </a:cubicBezTo>
                        <a:lnTo>
                          <a:pt x="3795" y="0"/>
                        </a:lnTo>
                        <a:cubicBezTo>
                          <a:pt x="71590" y="784"/>
                          <a:pt x="145262" y="914"/>
                          <a:pt x="235785" y="523"/>
                        </a:cubicBezTo>
                        <a:lnTo>
                          <a:pt x="235785" y="523"/>
                        </a:lnTo>
                        <a:cubicBezTo>
                          <a:pt x="237875" y="523"/>
                          <a:pt x="239573" y="2221"/>
                          <a:pt x="239573" y="4311"/>
                        </a:cubicBezTo>
                        <a:cubicBezTo>
                          <a:pt x="239573" y="6401"/>
                          <a:pt x="237875" y="8099"/>
                          <a:pt x="235785" y="8099"/>
                        </a:cubicBezTo>
                        <a:cubicBezTo>
                          <a:pt x="203913" y="8229"/>
                          <a:pt x="173999" y="8360"/>
                          <a:pt x="145784" y="8360"/>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13" name="Freeform: Shape 812">
                    <a:extLst>
                      <a:ext uri="{FF2B5EF4-FFF2-40B4-BE49-F238E27FC236}">
                        <a16:creationId xmlns:a16="http://schemas.microsoft.com/office/drawing/2014/main" id="{1B4B5A7E-9E47-118C-BD5D-DAF6FDB1AB77}"/>
                      </a:ext>
                    </a:extLst>
                  </p:cNvPr>
                  <p:cNvSpPr/>
                  <p:nvPr/>
                </p:nvSpPr>
                <p:spPr>
                  <a:xfrm>
                    <a:off x="3492472" y="2804587"/>
                    <a:ext cx="248840" cy="8549"/>
                  </a:xfrm>
                  <a:custGeom>
                    <a:avLst/>
                    <a:gdLst>
                      <a:gd name="connsiteX0" fmla="*/ 245052 w 248840"/>
                      <a:gd name="connsiteY0" fmla="*/ 8550 h 8549"/>
                      <a:gd name="connsiteX1" fmla="*/ 245052 w 248840"/>
                      <a:gd name="connsiteY1" fmla="*/ 8550 h 8549"/>
                      <a:gd name="connsiteX2" fmla="*/ 3788 w 248840"/>
                      <a:gd name="connsiteY2" fmla="*/ 7636 h 8549"/>
                      <a:gd name="connsiteX3" fmla="*/ 3788 w 248840"/>
                      <a:gd name="connsiteY3" fmla="*/ 7636 h 8549"/>
                      <a:gd name="connsiteX4" fmla="*/ 0 w 248840"/>
                      <a:gd name="connsiteY4" fmla="*/ 3847 h 8549"/>
                      <a:gd name="connsiteX5" fmla="*/ 3788 w 248840"/>
                      <a:gd name="connsiteY5" fmla="*/ 59 h 8549"/>
                      <a:gd name="connsiteX6" fmla="*/ 245183 w 248840"/>
                      <a:gd name="connsiteY6" fmla="*/ 974 h 8549"/>
                      <a:gd name="connsiteX7" fmla="*/ 248840 w 248840"/>
                      <a:gd name="connsiteY7" fmla="*/ 4762 h 8549"/>
                      <a:gd name="connsiteX8" fmla="*/ 245052 w 248840"/>
                      <a:gd name="connsiteY8" fmla="*/ 8419 h 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840" h="8549">
                        <a:moveTo>
                          <a:pt x="245052" y="8550"/>
                        </a:moveTo>
                        <a:lnTo>
                          <a:pt x="245052" y="8550"/>
                        </a:lnTo>
                        <a:cubicBezTo>
                          <a:pt x="165109" y="7505"/>
                          <a:pt x="81902" y="7505"/>
                          <a:pt x="3788" y="7636"/>
                        </a:cubicBezTo>
                        <a:lnTo>
                          <a:pt x="3788" y="7636"/>
                        </a:lnTo>
                        <a:cubicBezTo>
                          <a:pt x="1698" y="7636"/>
                          <a:pt x="0" y="5937"/>
                          <a:pt x="0" y="3847"/>
                        </a:cubicBezTo>
                        <a:cubicBezTo>
                          <a:pt x="0" y="1757"/>
                          <a:pt x="1698" y="59"/>
                          <a:pt x="3788" y="59"/>
                        </a:cubicBezTo>
                        <a:cubicBezTo>
                          <a:pt x="81902" y="-71"/>
                          <a:pt x="165109" y="-71"/>
                          <a:pt x="245183" y="974"/>
                        </a:cubicBezTo>
                        <a:cubicBezTo>
                          <a:pt x="247273" y="974"/>
                          <a:pt x="248840" y="2672"/>
                          <a:pt x="248840" y="4762"/>
                        </a:cubicBezTo>
                        <a:cubicBezTo>
                          <a:pt x="248840" y="6852"/>
                          <a:pt x="247142" y="8419"/>
                          <a:pt x="245052" y="841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14" name="Freeform: Shape 813">
                    <a:extLst>
                      <a:ext uri="{FF2B5EF4-FFF2-40B4-BE49-F238E27FC236}">
                        <a16:creationId xmlns:a16="http://schemas.microsoft.com/office/drawing/2014/main" id="{CF385FC1-2A8F-0FB3-8208-3450974024A0}"/>
                      </a:ext>
                    </a:extLst>
                  </p:cNvPr>
                  <p:cNvSpPr/>
                  <p:nvPr/>
                </p:nvSpPr>
                <p:spPr>
                  <a:xfrm>
                    <a:off x="3299148" y="2804646"/>
                    <a:ext cx="149304" cy="7837"/>
                  </a:xfrm>
                  <a:custGeom>
                    <a:avLst/>
                    <a:gdLst>
                      <a:gd name="connsiteX0" fmla="*/ 3788 w 149304"/>
                      <a:gd name="connsiteY0" fmla="*/ 7837 h 7837"/>
                      <a:gd name="connsiteX1" fmla="*/ 0 w 149304"/>
                      <a:gd name="connsiteY1" fmla="*/ 4049 h 7837"/>
                      <a:gd name="connsiteX2" fmla="*/ 3788 w 149304"/>
                      <a:gd name="connsiteY2" fmla="*/ 261 h 7837"/>
                      <a:gd name="connsiteX3" fmla="*/ 145516 w 149304"/>
                      <a:gd name="connsiteY3" fmla="*/ 0 h 7837"/>
                      <a:gd name="connsiteX4" fmla="*/ 145516 w 149304"/>
                      <a:gd name="connsiteY4" fmla="*/ 0 h 7837"/>
                      <a:gd name="connsiteX5" fmla="*/ 149304 w 149304"/>
                      <a:gd name="connsiteY5" fmla="*/ 3788 h 7837"/>
                      <a:gd name="connsiteX6" fmla="*/ 145516 w 149304"/>
                      <a:gd name="connsiteY6" fmla="*/ 7576 h 7837"/>
                      <a:gd name="connsiteX7" fmla="*/ 3788 w 149304"/>
                      <a:gd name="connsiteY7" fmla="*/ 7837 h 7837"/>
                      <a:gd name="connsiteX8" fmla="*/ 3788 w 149304"/>
                      <a:gd name="connsiteY8" fmla="*/ 7837 h 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04" h="7837">
                        <a:moveTo>
                          <a:pt x="3788" y="7837"/>
                        </a:moveTo>
                        <a:cubicBezTo>
                          <a:pt x="1698" y="7837"/>
                          <a:pt x="0" y="6139"/>
                          <a:pt x="0" y="4049"/>
                        </a:cubicBezTo>
                        <a:cubicBezTo>
                          <a:pt x="0" y="1959"/>
                          <a:pt x="1698" y="261"/>
                          <a:pt x="3788" y="261"/>
                        </a:cubicBezTo>
                        <a:cubicBezTo>
                          <a:pt x="51074" y="261"/>
                          <a:pt x="98230" y="0"/>
                          <a:pt x="145516" y="0"/>
                        </a:cubicBezTo>
                        <a:lnTo>
                          <a:pt x="145516" y="0"/>
                        </a:lnTo>
                        <a:cubicBezTo>
                          <a:pt x="147606" y="0"/>
                          <a:pt x="149304" y="1698"/>
                          <a:pt x="149304" y="3788"/>
                        </a:cubicBezTo>
                        <a:cubicBezTo>
                          <a:pt x="149304" y="5878"/>
                          <a:pt x="147606" y="7576"/>
                          <a:pt x="145516" y="7576"/>
                        </a:cubicBezTo>
                        <a:cubicBezTo>
                          <a:pt x="98230" y="7576"/>
                          <a:pt x="51074" y="7576"/>
                          <a:pt x="3788" y="7837"/>
                        </a:cubicBezTo>
                        <a:lnTo>
                          <a:pt x="3788" y="783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nvGrpSpPr>
              <p:cNvPr id="852" name="Graphic 717">
                <a:extLst>
                  <a:ext uri="{FF2B5EF4-FFF2-40B4-BE49-F238E27FC236}">
                    <a16:creationId xmlns:a16="http://schemas.microsoft.com/office/drawing/2014/main" id="{EE90EB6A-88EE-33B8-06C0-DCB39CC48055}"/>
                  </a:ext>
                </a:extLst>
              </p:cNvPr>
              <p:cNvGrpSpPr/>
              <p:nvPr/>
            </p:nvGrpSpPr>
            <p:grpSpPr>
              <a:xfrm>
                <a:off x="9200794" y="1761155"/>
                <a:ext cx="442041" cy="1396135"/>
                <a:chOff x="3477320" y="3276202"/>
                <a:chExt cx="382730" cy="1218467"/>
              </a:xfrm>
              <a:noFill/>
            </p:grpSpPr>
            <p:sp>
              <p:nvSpPr>
                <p:cNvPr id="853" name="Freeform: Shape 852">
                  <a:extLst>
                    <a:ext uri="{FF2B5EF4-FFF2-40B4-BE49-F238E27FC236}">
                      <a16:creationId xmlns:a16="http://schemas.microsoft.com/office/drawing/2014/main" id="{663007CA-5A21-5E39-15B3-692FF26F4ADC}"/>
                    </a:ext>
                  </a:extLst>
                </p:cNvPr>
                <p:cNvSpPr/>
                <p:nvPr/>
              </p:nvSpPr>
              <p:spPr>
                <a:xfrm>
                  <a:off x="3477320" y="3294751"/>
                  <a:ext cx="364312" cy="1199919"/>
                </a:xfrm>
                <a:custGeom>
                  <a:avLst/>
                  <a:gdLst>
                    <a:gd name="connsiteX0" fmla="*/ 360394 w 364312"/>
                    <a:gd name="connsiteY0" fmla="*/ 1199919 h 1199919"/>
                    <a:gd name="connsiteX1" fmla="*/ 360394 w 364312"/>
                    <a:gd name="connsiteY1" fmla="*/ 1199919 h 1199919"/>
                    <a:gd name="connsiteX2" fmla="*/ 3657 w 364312"/>
                    <a:gd name="connsiteY2" fmla="*/ 1194302 h 1199919"/>
                    <a:gd name="connsiteX3" fmla="*/ 0 w 364312"/>
                    <a:gd name="connsiteY3" fmla="*/ 1190514 h 1199919"/>
                    <a:gd name="connsiteX4" fmla="*/ 3788 w 364312"/>
                    <a:gd name="connsiteY4" fmla="*/ 1186857 h 1199919"/>
                    <a:gd name="connsiteX5" fmla="*/ 3788 w 364312"/>
                    <a:gd name="connsiteY5" fmla="*/ 1186857 h 1199919"/>
                    <a:gd name="connsiteX6" fmla="*/ 356736 w 364312"/>
                    <a:gd name="connsiteY6" fmla="*/ 1192474 h 1199919"/>
                    <a:gd name="connsiteX7" fmla="*/ 356736 w 364312"/>
                    <a:gd name="connsiteY7" fmla="*/ 3788 h 1199919"/>
                    <a:gd name="connsiteX8" fmla="*/ 360524 w 364312"/>
                    <a:gd name="connsiteY8" fmla="*/ 0 h 1199919"/>
                    <a:gd name="connsiteX9" fmla="*/ 364312 w 364312"/>
                    <a:gd name="connsiteY9" fmla="*/ 3788 h 1199919"/>
                    <a:gd name="connsiteX10" fmla="*/ 364312 w 364312"/>
                    <a:gd name="connsiteY10" fmla="*/ 1196131 h 1199919"/>
                    <a:gd name="connsiteX11" fmla="*/ 363137 w 364312"/>
                    <a:gd name="connsiteY11" fmla="*/ 1198744 h 1199919"/>
                    <a:gd name="connsiteX12" fmla="*/ 360524 w 364312"/>
                    <a:gd name="connsiteY12" fmla="*/ 1199789 h 119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4312" h="1199919">
                      <a:moveTo>
                        <a:pt x="360394" y="1199919"/>
                      </a:moveTo>
                      <a:lnTo>
                        <a:pt x="360394" y="1199919"/>
                      </a:lnTo>
                      <a:lnTo>
                        <a:pt x="3657" y="1194302"/>
                      </a:lnTo>
                      <a:cubicBezTo>
                        <a:pt x="1567" y="1194302"/>
                        <a:pt x="0" y="1192604"/>
                        <a:pt x="0" y="1190514"/>
                      </a:cubicBezTo>
                      <a:cubicBezTo>
                        <a:pt x="0" y="1188424"/>
                        <a:pt x="1698" y="1186857"/>
                        <a:pt x="3788" y="1186857"/>
                      </a:cubicBezTo>
                      <a:lnTo>
                        <a:pt x="3788" y="1186857"/>
                      </a:lnTo>
                      <a:lnTo>
                        <a:pt x="356736" y="1192474"/>
                      </a:lnTo>
                      <a:lnTo>
                        <a:pt x="356736" y="3788"/>
                      </a:lnTo>
                      <a:cubicBezTo>
                        <a:pt x="356736" y="1698"/>
                        <a:pt x="358434" y="0"/>
                        <a:pt x="360524" y="0"/>
                      </a:cubicBezTo>
                      <a:cubicBezTo>
                        <a:pt x="362614" y="0"/>
                        <a:pt x="364312" y="1698"/>
                        <a:pt x="364312" y="3788"/>
                      </a:cubicBezTo>
                      <a:lnTo>
                        <a:pt x="364312" y="1196131"/>
                      </a:lnTo>
                      <a:cubicBezTo>
                        <a:pt x="364312" y="1197176"/>
                        <a:pt x="363920" y="1198090"/>
                        <a:pt x="363137" y="1198744"/>
                      </a:cubicBezTo>
                      <a:cubicBezTo>
                        <a:pt x="362484" y="1199397"/>
                        <a:pt x="361438" y="1199789"/>
                        <a:pt x="360524" y="11997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854" name="Graphic 717">
                  <a:extLst>
                    <a:ext uri="{FF2B5EF4-FFF2-40B4-BE49-F238E27FC236}">
                      <a16:creationId xmlns:a16="http://schemas.microsoft.com/office/drawing/2014/main" id="{38F52075-9CE0-DBB0-857D-6323581966B6}"/>
                    </a:ext>
                  </a:extLst>
                </p:cNvPr>
                <p:cNvGrpSpPr/>
                <p:nvPr/>
              </p:nvGrpSpPr>
              <p:grpSpPr>
                <a:xfrm>
                  <a:off x="3815377" y="3276202"/>
                  <a:ext cx="44673" cy="44673"/>
                  <a:chOff x="3815377" y="3276202"/>
                  <a:chExt cx="44673" cy="44673"/>
                </a:xfrm>
                <a:grpFill/>
              </p:grpSpPr>
              <p:sp>
                <p:nvSpPr>
                  <p:cNvPr id="855" name="Freeform: Shape 854">
                    <a:extLst>
                      <a:ext uri="{FF2B5EF4-FFF2-40B4-BE49-F238E27FC236}">
                        <a16:creationId xmlns:a16="http://schemas.microsoft.com/office/drawing/2014/main" id="{DF330EC7-EB20-33DA-D1E1-5D90EA905821}"/>
                      </a:ext>
                    </a:extLst>
                  </p:cNvPr>
                  <p:cNvSpPr/>
                  <p:nvPr/>
                </p:nvSpPr>
                <p:spPr>
                  <a:xfrm>
                    <a:off x="3819165" y="3280121"/>
                    <a:ext cx="37097" cy="37097"/>
                  </a:xfrm>
                  <a:custGeom>
                    <a:avLst/>
                    <a:gdLst>
                      <a:gd name="connsiteX0" fmla="*/ 18549 w 37097"/>
                      <a:gd name="connsiteY0" fmla="*/ 37097 h 37097"/>
                      <a:gd name="connsiteX1" fmla="*/ 37098 w 37097"/>
                      <a:gd name="connsiteY1" fmla="*/ 18549 h 37097"/>
                      <a:gd name="connsiteX2" fmla="*/ 18549 w 37097"/>
                      <a:gd name="connsiteY2" fmla="*/ 0 h 37097"/>
                      <a:gd name="connsiteX3" fmla="*/ 0 w 37097"/>
                      <a:gd name="connsiteY3" fmla="*/ 18549 h 37097"/>
                      <a:gd name="connsiteX4" fmla="*/ 18549 w 37097"/>
                      <a:gd name="connsiteY4" fmla="*/ 37097 h 3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97" h="37097">
                        <a:moveTo>
                          <a:pt x="18549" y="37097"/>
                        </a:moveTo>
                        <a:cubicBezTo>
                          <a:pt x="28868" y="37097"/>
                          <a:pt x="37098" y="28737"/>
                          <a:pt x="37098" y="18549"/>
                        </a:cubicBezTo>
                        <a:cubicBezTo>
                          <a:pt x="37098" y="8360"/>
                          <a:pt x="28738" y="0"/>
                          <a:pt x="18549" y="0"/>
                        </a:cubicBezTo>
                        <a:cubicBezTo>
                          <a:pt x="8360" y="0"/>
                          <a:pt x="0" y="8360"/>
                          <a:pt x="0" y="18549"/>
                        </a:cubicBezTo>
                        <a:cubicBezTo>
                          <a:pt x="0" y="28737"/>
                          <a:pt x="8360" y="37097"/>
                          <a:pt x="18549" y="3709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56" name="Freeform: Shape 855">
                    <a:extLst>
                      <a:ext uri="{FF2B5EF4-FFF2-40B4-BE49-F238E27FC236}">
                        <a16:creationId xmlns:a16="http://schemas.microsoft.com/office/drawing/2014/main" id="{050BBC5C-F75D-A7AC-6372-73590C88333C}"/>
                      </a:ext>
                    </a:extLst>
                  </p:cNvPr>
                  <p:cNvSpPr/>
                  <p:nvPr/>
                </p:nvSpPr>
                <p:spPr>
                  <a:xfrm>
                    <a:off x="3815377" y="3276202"/>
                    <a:ext cx="44673" cy="44673"/>
                  </a:xfrm>
                  <a:custGeom>
                    <a:avLst/>
                    <a:gdLst>
                      <a:gd name="connsiteX0" fmla="*/ 22337 w 44673"/>
                      <a:gd name="connsiteY0" fmla="*/ 44674 h 44673"/>
                      <a:gd name="connsiteX1" fmla="*/ 0 w 44673"/>
                      <a:gd name="connsiteY1" fmla="*/ 22337 h 44673"/>
                      <a:gd name="connsiteX2" fmla="*/ 22337 w 44673"/>
                      <a:gd name="connsiteY2" fmla="*/ 0 h 44673"/>
                      <a:gd name="connsiteX3" fmla="*/ 44673 w 44673"/>
                      <a:gd name="connsiteY3" fmla="*/ 22337 h 44673"/>
                      <a:gd name="connsiteX4" fmla="*/ 22337 w 44673"/>
                      <a:gd name="connsiteY4" fmla="*/ 44674 h 44673"/>
                      <a:gd name="connsiteX5" fmla="*/ 22337 w 44673"/>
                      <a:gd name="connsiteY5" fmla="*/ 7446 h 44673"/>
                      <a:gd name="connsiteX6" fmla="*/ 7445 w 44673"/>
                      <a:gd name="connsiteY6" fmla="*/ 22337 h 44673"/>
                      <a:gd name="connsiteX7" fmla="*/ 22337 w 44673"/>
                      <a:gd name="connsiteY7" fmla="*/ 37228 h 44673"/>
                      <a:gd name="connsiteX8" fmla="*/ 37228 w 44673"/>
                      <a:gd name="connsiteY8" fmla="*/ 22337 h 44673"/>
                      <a:gd name="connsiteX9" fmla="*/ 22337 w 44673"/>
                      <a:gd name="connsiteY9" fmla="*/ 7446 h 4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73" h="44673">
                        <a:moveTo>
                          <a:pt x="22337" y="44674"/>
                        </a:moveTo>
                        <a:cubicBezTo>
                          <a:pt x="10058" y="44674"/>
                          <a:pt x="0" y="34616"/>
                          <a:pt x="0" y="22337"/>
                        </a:cubicBezTo>
                        <a:cubicBezTo>
                          <a:pt x="0" y="10058"/>
                          <a:pt x="10058" y="0"/>
                          <a:pt x="22337" y="0"/>
                        </a:cubicBezTo>
                        <a:cubicBezTo>
                          <a:pt x="34615" y="0"/>
                          <a:pt x="44673" y="10058"/>
                          <a:pt x="44673" y="22337"/>
                        </a:cubicBezTo>
                        <a:cubicBezTo>
                          <a:pt x="44673" y="34616"/>
                          <a:pt x="34615" y="44674"/>
                          <a:pt x="22337" y="44674"/>
                        </a:cubicBezTo>
                        <a:close/>
                        <a:moveTo>
                          <a:pt x="22337" y="7446"/>
                        </a:moveTo>
                        <a:cubicBezTo>
                          <a:pt x="14107" y="7446"/>
                          <a:pt x="7445" y="14107"/>
                          <a:pt x="7445" y="22337"/>
                        </a:cubicBezTo>
                        <a:cubicBezTo>
                          <a:pt x="7445" y="30566"/>
                          <a:pt x="14107" y="37228"/>
                          <a:pt x="22337" y="37228"/>
                        </a:cubicBezTo>
                        <a:cubicBezTo>
                          <a:pt x="30566" y="37228"/>
                          <a:pt x="37228" y="30566"/>
                          <a:pt x="37228" y="22337"/>
                        </a:cubicBezTo>
                        <a:cubicBezTo>
                          <a:pt x="37228" y="14107"/>
                          <a:pt x="30566" y="7446"/>
                          <a:pt x="22337"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grpSp>
    </p:spTree>
    <p:extLst>
      <p:ext uri="{BB962C8B-B14F-4D97-AF65-F5344CB8AC3E}">
        <p14:creationId xmlns:p14="http://schemas.microsoft.com/office/powerpoint/2010/main" val="6286468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1/3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567378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727F30D-9242-4A88-9322-2EDE74F75B38}"/>
              </a:ext>
            </a:extLst>
          </p:cNvPr>
          <p:cNvSpPr>
            <a:spLocks noGrp="1"/>
          </p:cNvSpPr>
          <p:nvPr>
            <p:ph type="ftr" sz="quarter" idx="3"/>
          </p:nvPr>
        </p:nvSpPr>
        <p:spPr>
          <a:xfrm>
            <a:off x="436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4" name="Title 3">
            <a:extLst>
              <a:ext uri="{FF2B5EF4-FFF2-40B4-BE49-F238E27FC236}">
                <a16:creationId xmlns:a16="http://schemas.microsoft.com/office/drawing/2014/main" id="{CE1BEDEA-6CDE-421B-87A1-0632A5F947FD}"/>
              </a:ext>
            </a:extLst>
          </p:cNvPr>
          <p:cNvSpPr>
            <a:spLocks noGrp="1"/>
          </p:cNvSpPr>
          <p:nvPr>
            <p:ph type="title"/>
          </p:nvPr>
        </p:nvSpPr>
        <p:spPr>
          <a:xfrm>
            <a:off x="531813" y="560588"/>
            <a:ext cx="3135726" cy="837152"/>
          </a:xfrm>
        </p:spPr>
        <p:txBody>
          <a:bodyPr vert="horz" wrap="square" lIns="0" tIns="0" rIns="0" bIns="0" rtlCol="0" anchor="t">
            <a:spAutoFit/>
          </a:bodyPr>
          <a:lstStyle>
            <a:lvl1pPr rtl="0">
              <a:defRPr lang="en-IN" dirty="0">
                <a:solidFill>
                  <a:schemeClr val="bg1"/>
                </a:solidFill>
              </a:defRPr>
            </a:lvl1pPr>
          </a:lstStyle>
          <a:p>
            <a:pPr lvl="0">
              <a:lnSpc>
                <a:spcPct val="85000"/>
              </a:lnSpc>
            </a:pPr>
            <a:r>
              <a:rPr lang="en-US" dirty="0"/>
              <a:t>Click to edit Master title style</a:t>
            </a:r>
          </a:p>
        </p:txBody>
      </p:sp>
      <p:grpSp>
        <p:nvGrpSpPr>
          <p:cNvPr id="2" name="Graphic 717">
            <a:extLst>
              <a:ext uri="{FF2B5EF4-FFF2-40B4-BE49-F238E27FC236}">
                <a16:creationId xmlns:a16="http://schemas.microsoft.com/office/drawing/2014/main" id="{25C6EE2E-97C5-BDCD-0A8F-9F78AB87E5E3}"/>
              </a:ext>
            </a:extLst>
          </p:cNvPr>
          <p:cNvGrpSpPr/>
          <p:nvPr userDrawn="1"/>
        </p:nvGrpSpPr>
        <p:grpSpPr>
          <a:xfrm>
            <a:off x="6920856" y="3918460"/>
            <a:ext cx="1670662" cy="1074065"/>
            <a:chOff x="795855" y="5327011"/>
            <a:chExt cx="1558092" cy="973023"/>
          </a:xfrm>
          <a:noFill/>
        </p:grpSpPr>
        <p:sp>
          <p:nvSpPr>
            <p:cNvPr id="8" name="Freeform: Shape 7">
              <a:extLst>
                <a:ext uri="{FF2B5EF4-FFF2-40B4-BE49-F238E27FC236}">
                  <a16:creationId xmlns:a16="http://schemas.microsoft.com/office/drawing/2014/main" id="{9F06A452-1BAB-71FA-B8FF-9C26AA9AE7F4}"/>
                </a:ext>
              </a:extLst>
            </p:cNvPr>
            <p:cNvSpPr/>
            <p:nvPr/>
          </p:nvSpPr>
          <p:spPr>
            <a:xfrm>
              <a:off x="795869" y="5327141"/>
              <a:ext cx="1558023" cy="972893"/>
            </a:xfrm>
            <a:custGeom>
              <a:avLst/>
              <a:gdLst>
                <a:gd name="connsiteX0" fmla="*/ 1554551 w 1558023"/>
                <a:gd name="connsiteY0" fmla="*/ 971718 h 972893"/>
                <a:gd name="connsiteX1" fmla="*/ 1556510 w 1558023"/>
                <a:gd name="connsiteY1" fmla="*/ 0 h 972893"/>
                <a:gd name="connsiteX2" fmla="*/ 2206 w 1558023"/>
                <a:gd name="connsiteY2" fmla="*/ 1829 h 972893"/>
                <a:gd name="connsiteX3" fmla="*/ 2206 w 1558023"/>
                <a:gd name="connsiteY3" fmla="*/ 972893 h 972893"/>
                <a:gd name="connsiteX4" fmla="*/ 1554681 w 1558023"/>
                <a:gd name="connsiteY4" fmla="*/ 971718 h 972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8023" h="972893">
                  <a:moveTo>
                    <a:pt x="1554551" y="971718"/>
                  </a:moveTo>
                  <a:cubicBezTo>
                    <a:pt x="1554551" y="623341"/>
                    <a:pt x="1560821" y="327085"/>
                    <a:pt x="1556510" y="0"/>
                  </a:cubicBezTo>
                  <a:cubicBezTo>
                    <a:pt x="1041195" y="0"/>
                    <a:pt x="521309" y="7054"/>
                    <a:pt x="2206" y="1829"/>
                  </a:cubicBezTo>
                  <a:cubicBezTo>
                    <a:pt x="-2758" y="335183"/>
                    <a:pt x="2206" y="648813"/>
                    <a:pt x="2206" y="972893"/>
                  </a:cubicBezTo>
                  <a:cubicBezTo>
                    <a:pt x="521048" y="972893"/>
                    <a:pt x="1038322" y="971718"/>
                    <a:pt x="1554681" y="97171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2F24B5FC-20D7-024F-67C0-EA8CD1DDFAC7}"/>
                </a:ext>
              </a:extLst>
            </p:cNvPr>
            <p:cNvSpPr/>
            <p:nvPr/>
          </p:nvSpPr>
          <p:spPr>
            <a:xfrm>
              <a:off x="795855" y="5327011"/>
              <a:ext cx="1558092" cy="100189"/>
            </a:xfrm>
            <a:custGeom>
              <a:avLst/>
              <a:gdLst>
                <a:gd name="connsiteX0" fmla="*/ 0 w 1558092"/>
                <a:gd name="connsiteY0" fmla="*/ 0 h 100189"/>
                <a:gd name="connsiteX1" fmla="*/ 1558092 w 1558092"/>
                <a:gd name="connsiteY1" fmla="*/ 0 h 100189"/>
                <a:gd name="connsiteX2" fmla="*/ 1558092 w 1558092"/>
                <a:gd name="connsiteY2" fmla="*/ 100190 h 100189"/>
                <a:gd name="connsiteX3" fmla="*/ 0 w 1558092"/>
                <a:gd name="connsiteY3" fmla="*/ 100190 h 100189"/>
              </a:gdLst>
              <a:ahLst/>
              <a:cxnLst>
                <a:cxn ang="0">
                  <a:pos x="connsiteX0" y="connsiteY0"/>
                </a:cxn>
                <a:cxn ang="0">
                  <a:pos x="connsiteX1" y="connsiteY1"/>
                </a:cxn>
                <a:cxn ang="0">
                  <a:pos x="connsiteX2" y="connsiteY2"/>
                </a:cxn>
                <a:cxn ang="0">
                  <a:pos x="connsiteX3" y="connsiteY3"/>
                </a:cxn>
              </a:cxnLst>
              <a:rect l="l" t="t" r="r" b="b"/>
              <a:pathLst>
                <a:path w="1558092" h="100189">
                  <a:moveTo>
                    <a:pt x="0" y="0"/>
                  </a:moveTo>
                  <a:lnTo>
                    <a:pt x="1558092" y="0"/>
                  </a:lnTo>
                  <a:lnTo>
                    <a:pt x="1558092" y="100190"/>
                  </a:lnTo>
                  <a:lnTo>
                    <a:pt x="0" y="100190"/>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12" name="Graphic 717">
              <a:extLst>
                <a:ext uri="{FF2B5EF4-FFF2-40B4-BE49-F238E27FC236}">
                  <a16:creationId xmlns:a16="http://schemas.microsoft.com/office/drawing/2014/main" id="{8C1B75BC-B05D-3812-715D-B79713F72777}"/>
                </a:ext>
              </a:extLst>
            </p:cNvPr>
            <p:cNvGrpSpPr/>
            <p:nvPr/>
          </p:nvGrpSpPr>
          <p:grpSpPr>
            <a:xfrm>
              <a:off x="1962595" y="5349870"/>
              <a:ext cx="338710" cy="54339"/>
              <a:chOff x="1962595" y="5349870"/>
              <a:chExt cx="338710" cy="54339"/>
            </a:xfrm>
            <a:grpFill/>
          </p:grpSpPr>
          <p:grpSp>
            <p:nvGrpSpPr>
              <p:cNvPr id="25" name="Graphic 717">
                <a:extLst>
                  <a:ext uri="{FF2B5EF4-FFF2-40B4-BE49-F238E27FC236}">
                    <a16:creationId xmlns:a16="http://schemas.microsoft.com/office/drawing/2014/main" id="{A8D1D643-C05D-88B2-3EFC-914001918CCF}"/>
                  </a:ext>
                </a:extLst>
              </p:cNvPr>
              <p:cNvGrpSpPr/>
              <p:nvPr/>
            </p:nvGrpSpPr>
            <p:grpSpPr>
              <a:xfrm>
                <a:off x="2246965" y="5349870"/>
                <a:ext cx="54339" cy="54339"/>
                <a:chOff x="2246965" y="5349870"/>
                <a:chExt cx="54339" cy="54339"/>
              </a:xfrm>
              <a:grpFill/>
            </p:grpSpPr>
            <p:sp>
              <p:nvSpPr>
                <p:cNvPr id="32" name="Freeform: Shape 31">
                  <a:extLst>
                    <a:ext uri="{FF2B5EF4-FFF2-40B4-BE49-F238E27FC236}">
                      <a16:creationId xmlns:a16="http://schemas.microsoft.com/office/drawing/2014/main" id="{BEFBF19F-AA57-8956-A5A6-A7C72F3BEB36}"/>
                    </a:ext>
                  </a:extLst>
                </p:cNvPr>
                <p:cNvSpPr/>
                <p:nvPr/>
              </p:nvSpPr>
              <p:spPr>
                <a:xfrm>
                  <a:off x="2251668" y="5354703"/>
                  <a:ext cx="44934" cy="44934"/>
                </a:xfrm>
                <a:custGeom>
                  <a:avLst/>
                  <a:gdLst>
                    <a:gd name="connsiteX0" fmla="*/ 0 w 44934"/>
                    <a:gd name="connsiteY0" fmla="*/ 22467 h 44934"/>
                    <a:gd name="connsiteX1" fmla="*/ 22467 w 44934"/>
                    <a:gd name="connsiteY1" fmla="*/ 0 h 44934"/>
                    <a:gd name="connsiteX2" fmla="*/ 44935 w 44934"/>
                    <a:gd name="connsiteY2" fmla="*/ 22467 h 44934"/>
                    <a:gd name="connsiteX3" fmla="*/ 22467 w 44934"/>
                    <a:gd name="connsiteY3" fmla="*/ 44935 h 44934"/>
                    <a:gd name="connsiteX4" fmla="*/ 0 w 44934"/>
                    <a:gd name="connsiteY4" fmla="*/ 22467 h 44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34" h="44934">
                      <a:moveTo>
                        <a:pt x="0" y="22467"/>
                      </a:moveTo>
                      <a:cubicBezTo>
                        <a:pt x="0" y="10058"/>
                        <a:pt x="10058" y="0"/>
                        <a:pt x="22467" y="0"/>
                      </a:cubicBezTo>
                      <a:cubicBezTo>
                        <a:pt x="34877" y="0"/>
                        <a:pt x="44935" y="10058"/>
                        <a:pt x="44935" y="22467"/>
                      </a:cubicBezTo>
                      <a:cubicBezTo>
                        <a:pt x="44935" y="34877"/>
                        <a:pt x="34877" y="44935"/>
                        <a:pt x="22467" y="44935"/>
                      </a:cubicBezTo>
                      <a:cubicBezTo>
                        <a:pt x="10058" y="44935"/>
                        <a:pt x="0" y="34877"/>
                        <a:pt x="0" y="2246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8144C9B9-7061-A205-F3E6-57271589EC11}"/>
                    </a:ext>
                  </a:extLst>
                </p:cNvPr>
                <p:cNvSpPr/>
                <p:nvPr/>
              </p:nvSpPr>
              <p:spPr>
                <a:xfrm>
                  <a:off x="2246965" y="5349870"/>
                  <a:ext cx="54339" cy="54339"/>
                </a:xfrm>
                <a:custGeom>
                  <a:avLst/>
                  <a:gdLst>
                    <a:gd name="connsiteX0" fmla="*/ 27170 w 54339"/>
                    <a:gd name="connsiteY0" fmla="*/ 54340 h 54339"/>
                    <a:gd name="connsiteX1" fmla="*/ 0 w 54339"/>
                    <a:gd name="connsiteY1" fmla="*/ 27170 h 54339"/>
                    <a:gd name="connsiteX2" fmla="*/ 27170 w 54339"/>
                    <a:gd name="connsiteY2" fmla="*/ 0 h 54339"/>
                    <a:gd name="connsiteX3" fmla="*/ 54340 w 54339"/>
                    <a:gd name="connsiteY3" fmla="*/ 27170 h 54339"/>
                    <a:gd name="connsiteX4" fmla="*/ 27170 w 54339"/>
                    <a:gd name="connsiteY4" fmla="*/ 54340 h 54339"/>
                    <a:gd name="connsiteX5" fmla="*/ 27170 w 54339"/>
                    <a:gd name="connsiteY5" fmla="*/ 9274 h 54339"/>
                    <a:gd name="connsiteX6" fmla="*/ 9274 w 54339"/>
                    <a:gd name="connsiteY6" fmla="*/ 27170 h 54339"/>
                    <a:gd name="connsiteX7" fmla="*/ 27170 w 54339"/>
                    <a:gd name="connsiteY7" fmla="*/ 45065 h 54339"/>
                    <a:gd name="connsiteX8" fmla="*/ 45066 w 54339"/>
                    <a:gd name="connsiteY8" fmla="*/ 27170 h 54339"/>
                    <a:gd name="connsiteX9" fmla="*/ 27170 w 54339"/>
                    <a:gd name="connsiteY9" fmla="*/ 9274 h 5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39" h="54339">
                      <a:moveTo>
                        <a:pt x="27170" y="54340"/>
                      </a:moveTo>
                      <a:cubicBezTo>
                        <a:pt x="12279" y="54340"/>
                        <a:pt x="0" y="42192"/>
                        <a:pt x="0" y="27170"/>
                      </a:cubicBezTo>
                      <a:cubicBezTo>
                        <a:pt x="0" y="12148"/>
                        <a:pt x="12148" y="0"/>
                        <a:pt x="27170" y="0"/>
                      </a:cubicBezTo>
                      <a:cubicBezTo>
                        <a:pt x="42192" y="0"/>
                        <a:pt x="54340" y="12148"/>
                        <a:pt x="54340" y="27170"/>
                      </a:cubicBezTo>
                      <a:cubicBezTo>
                        <a:pt x="54340" y="42192"/>
                        <a:pt x="42192" y="54340"/>
                        <a:pt x="27170" y="54340"/>
                      </a:cubicBezTo>
                      <a:close/>
                      <a:moveTo>
                        <a:pt x="27170" y="9274"/>
                      </a:moveTo>
                      <a:cubicBezTo>
                        <a:pt x="17242" y="9274"/>
                        <a:pt x="9274" y="17242"/>
                        <a:pt x="9274" y="27170"/>
                      </a:cubicBezTo>
                      <a:cubicBezTo>
                        <a:pt x="9274" y="37097"/>
                        <a:pt x="17242" y="45065"/>
                        <a:pt x="27170" y="45065"/>
                      </a:cubicBezTo>
                      <a:cubicBezTo>
                        <a:pt x="37097" y="45065"/>
                        <a:pt x="45066" y="37097"/>
                        <a:pt x="45066" y="27170"/>
                      </a:cubicBezTo>
                      <a:cubicBezTo>
                        <a:pt x="45066" y="17242"/>
                        <a:pt x="37097" y="9274"/>
                        <a:pt x="27170" y="927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26" name="Graphic 717">
                <a:extLst>
                  <a:ext uri="{FF2B5EF4-FFF2-40B4-BE49-F238E27FC236}">
                    <a16:creationId xmlns:a16="http://schemas.microsoft.com/office/drawing/2014/main" id="{286F9388-D03B-A029-4AFE-1608FC6B4219}"/>
                  </a:ext>
                </a:extLst>
              </p:cNvPr>
              <p:cNvGrpSpPr/>
              <p:nvPr/>
            </p:nvGrpSpPr>
            <p:grpSpPr>
              <a:xfrm>
                <a:off x="2104845" y="5349870"/>
                <a:ext cx="54339" cy="54339"/>
                <a:chOff x="2104845" y="5349870"/>
                <a:chExt cx="54339" cy="54339"/>
              </a:xfrm>
              <a:grpFill/>
            </p:grpSpPr>
            <p:sp>
              <p:nvSpPr>
                <p:cNvPr id="30" name="Freeform: Shape 29">
                  <a:extLst>
                    <a:ext uri="{FF2B5EF4-FFF2-40B4-BE49-F238E27FC236}">
                      <a16:creationId xmlns:a16="http://schemas.microsoft.com/office/drawing/2014/main" id="{D20979FB-F858-9833-653A-92972AFFA600}"/>
                    </a:ext>
                  </a:extLst>
                </p:cNvPr>
                <p:cNvSpPr/>
                <p:nvPr/>
              </p:nvSpPr>
              <p:spPr>
                <a:xfrm>
                  <a:off x="2109548" y="5354703"/>
                  <a:ext cx="44934" cy="44934"/>
                </a:xfrm>
                <a:custGeom>
                  <a:avLst/>
                  <a:gdLst>
                    <a:gd name="connsiteX0" fmla="*/ 0 w 44934"/>
                    <a:gd name="connsiteY0" fmla="*/ 22467 h 44934"/>
                    <a:gd name="connsiteX1" fmla="*/ 22467 w 44934"/>
                    <a:gd name="connsiteY1" fmla="*/ 0 h 44934"/>
                    <a:gd name="connsiteX2" fmla="*/ 44935 w 44934"/>
                    <a:gd name="connsiteY2" fmla="*/ 22467 h 44934"/>
                    <a:gd name="connsiteX3" fmla="*/ 22467 w 44934"/>
                    <a:gd name="connsiteY3" fmla="*/ 44935 h 44934"/>
                    <a:gd name="connsiteX4" fmla="*/ 0 w 44934"/>
                    <a:gd name="connsiteY4" fmla="*/ 22467 h 44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34" h="44934">
                      <a:moveTo>
                        <a:pt x="0" y="22467"/>
                      </a:moveTo>
                      <a:cubicBezTo>
                        <a:pt x="0" y="10058"/>
                        <a:pt x="10058" y="0"/>
                        <a:pt x="22467" y="0"/>
                      </a:cubicBezTo>
                      <a:cubicBezTo>
                        <a:pt x="34877" y="0"/>
                        <a:pt x="44935" y="10058"/>
                        <a:pt x="44935" y="22467"/>
                      </a:cubicBezTo>
                      <a:cubicBezTo>
                        <a:pt x="44935" y="34877"/>
                        <a:pt x="34877" y="44935"/>
                        <a:pt x="22467" y="44935"/>
                      </a:cubicBezTo>
                      <a:cubicBezTo>
                        <a:pt x="10058" y="44935"/>
                        <a:pt x="0" y="34877"/>
                        <a:pt x="0" y="2246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3C5BE7CB-159A-C78B-71E6-6A814AD9B1D6}"/>
                    </a:ext>
                  </a:extLst>
                </p:cNvPr>
                <p:cNvSpPr/>
                <p:nvPr/>
              </p:nvSpPr>
              <p:spPr>
                <a:xfrm>
                  <a:off x="2104845" y="5349870"/>
                  <a:ext cx="54339" cy="54339"/>
                </a:xfrm>
                <a:custGeom>
                  <a:avLst/>
                  <a:gdLst>
                    <a:gd name="connsiteX0" fmla="*/ 27170 w 54339"/>
                    <a:gd name="connsiteY0" fmla="*/ 54340 h 54339"/>
                    <a:gd name="connsiteX1" fmla="*/ 0 w 54339"/>
                    <a:gd name="connsiteY1" fmla="*/ 27170 h 54339"/>
                    <a:gd name="connsiteX2" fmla="*/ 27170 w 54339"/>
                    <a:gd name="connsiteY2" fmla="*/ 0 h 54339"/>
                    <a:gd name="connsiteX3" fmla="*/ 54340 w 54339"/>
                    <a:gd name="connsiteY3" fmla="*/ 27170 h 54339"/>
                    <a:gd name="connsiteX4" fmla="*/ 27170 w 54339"/>
                    <a:gd name="connsiteY4" fmla="*/ 54340 h 54339"/>
                    <a:gd name="connsiteX5" fmla="*/ 27170 w 54339"/>
                    <a:gd name="connsiteY5" fmla="*/ 9274 h 54339"/>
                    <a:gd name="connsiteX6" fmla="*/ 9274 w 54339"/>
                    <a:gd name="connsiteY6" fmla="*/ 27170 h 54339"/>
                    <a:gd name="connsiteX7" fmla="*/ 27170 w 54339"/>
                    <a:gd name="connsiteY7" fmla="*/ 45065 h 54339"/>
                    <a:gd name="connsiteX8" fmla="*/ 45066 w 54339"/>
                    <a:gd name="connsiteY8" fmla="*/ 27170 h 54339"/>
                    <a:gd name="connsiteX9" fmla="*/ 27170 w 54339"/>
                    <a:gd name="connsiteY9" fmla="*/ 9274 h 5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39" h="54339">
                      <a:moveTo>
                        <a:pt x="27170" y="54340"/>
                      </a:moveTo>
                      <a:cubicBezTo>
                        <a:pt x="12279" y="54340"/>
                        <a:pt x="0" y="42192"/>
                        <a:pt x="0" y="27170"/>
                      </a:cubicBezTo>
                      <a:cubicBezTo>
                        <a:pt x="0" y="12148"/>
                        <a:pt x="12148" y="0"/>
                        <a:pt x="27170" y="0"/>
                      </a:cubicBezTo>
                      <a:cubicBezTo>
                        <a:pt x="42192" y="0"/>
                        <a:pt x="54340" y="12148"/>
                        <a:pt x="54340" y="27170"/>
                      </a:cubicBezTo>
                      <a:cubicBezTo>
                        <a:pt x="54340" y="42192"/>
                        <a:pt x="42192" y="54340"/>
                        <a:pt x="27170" y="54340"/>
                      </a:cubicBezTo>
                      <a:close/>
                      <a:moveTo>
                        <a:pt x="27170" y="9274"/>
                      </a:moveTo>
                      <a:cubicBezTo>
                        <a:pt x="17243" y="9274"/>
                        <a:pt x="9274" y="17242"/>
                        <a:pt x="9274" y="27170"/>
                      </a:cubicBezTo>
                      <a:cubicBezTo>
                        <a:pt x="9274" y="37097"/>
                        <a:pt x="17243" y="45065"/>
                        <a:pt x="27170" y="45065"/>
                      </a:cubicBezTo>
                      <a:cubicBezTo>
                        <a:pt x="37097" y="45065"/>
                        <a:pt x="45066" y="37097"/>
                        <a:pt x="45066" y="27170"/>
                      </a:cubicBezTo>
                      <a:cubicBezTo>
                        <a:pt x="45066" y="17242"/>
                        <a:pt x="37097" y="9274"/>
                        <a:pt x="27170" y="927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27" name="Graphic 717">
                <a:extLst>
                  <a:ext uri="{FF2B5EF4-FFF2-40B4-BE49-F238E27FC236}">
                    <a16:creationId xmlns:a16="http://schemas.microsoft.com/office/drawing/2014/main" id="{60F11054-BFD9-3585-4ACA-B0A1CC1C6E54}"/>
                  </a:ext>
                </a:extLst>
              </p:cNvPr>
              <p:cNvGrpSpPr/>
              <p:nvPr/>
            </p:nvGrpSpPr>
            <p:grpSpPr>
              <a:xfrm>
                <a:off x="1962595" y="5349870"/>
                <a:ext cx="54339" cy="54339"/>
                <a:chOff x="1962595" y="5349870"/>
                <a:chExt cx="54339" cy="54339"/>
              </a:xfrm>
              <a:grpFill/>
            </p:grpSpPr>
            <p:sp>
              <p:nvSpPr>
                <p:cNvPr id="28" name="Freeform: Shape 27">
                  <a:extLst>
                    <a:ext uri="{FF2B5EF4-FFF2-40B4-BE49-F238E27FC236}">
                      <a16:creationId xmlns:a16="http://schemas.microsoft.com/office/drawing/2014/main" id="{1AADBD77-BB95-8967-68D2-AA6966E20A25}"/>
                    </a:ext>
                  </a:extLst>
                </p:cNvPr>
                <p:cNvSpPr/>
                <p:nvPr/>
              </p:nvSpPr>
              <p:spPr>
                <a:xfrm>
                  <a:off x="1967297" y="5354703"/>
                  <a:ext cx="44934" cy="44934"/>
                </a:xfrm>
                <a:custGeom>
                  <a:avLst/>
                  <a:gdLst>
                    <a:gd name="connsiteX0" fmla="*/ 0 w 44934"/>
                    <a:gd name="connsiteY0" fmla="*/ 22467 h 44934"/>
                    <a:gd name="connsiteX1" fmla="*/ 22467 w 44934"/>
                    <a:gd name="connsiteY1" fmla="*/ 0 h 44934"/>
                    <a:gd name="connsiteX2" fmla="*/ 44935 w 44934"/>
                    <a:gd name="connsiteY2" fmla="*/ 22467 h 44934"/>
                    <a:gd name="connsiteX3" fmla="*/ 22467 w 44934"/>
                    <a:gd name="connsiteY3" fmla="*/ 44935 h 44934"/>
                    <a:gd name="connsiteX4" fmla="*/ 0 w 44934"/>
                    <a:gd name="connsiteY4" fmla="*/ 22467 h 44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34" h="44934">
                      <a:moveTo>
                        <a:pt x="0" y="22467"/>
                      </a:moveTo>
                      <a:cubicBezTo>
                        <a:pt x="0" y="10058"/>
                        <a:pt x="10058" y="0"/>
                        <a:pt x="22467" y="0"/>
                      </a:cubicBezTo>
                      <a:cubicBezTo>
                        <a:pt x="34877" y="0"/>
                        <a:pt x="44935" y="10058"/>
                        <a:pt x="44935" y="22467"/>
                      </a:cubicBezTo>
                      <a:cubicBezTo>
                        <a:pt x="44935" y="34877"/>
                        <a:pt x="34877" y="44935"/>
                        <a:pt x="22467" y="44935"/>
                      </a:cubicBezTo>
                      <a:cubicBezTo>
                        <a:pt x="10058" y="44935"/>
                        <a:pt x="0" y="34877"/>
                        <a:pt x="0" y="2246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C1D9C758-9A68-D1CB-E6AA-92726BD5216D}"/>
                    </a:ext>
                  </a:extLst>
                </p:cNvPr>
                <p:cNvSpPr/>
                <p:nvPr/>
              </p:nvSpPr>
              <p:spPr>
                <a:xfrm>
                  <a:off x="1962595" y="5349870"/>
                  <a:ext cx="54339" cy="54339"/>
                </a:xfrm>
                <a:custGeom>
                  <a:avLst/>
                  <a:gdLst>
                    <a:gd name="connsiteX0" fmla="*/ 27170 w 54339"/>
                    <a:gd name="connsiteY0" fmla="*/ 54340 h 54339"/>
                    <a:gd name="connsiteX1" fmla="*/ 0 w 54339"/>
                    <a:gd name="connsiteY1" fmla="*/ 27170 h 54339"/>
                    <a:gd name="connsiteX2" fmla="*/ 27170 w 54339"/>
                    <a:gd name="connsiteY2" fmla="*/ 0 h 54339"/>
                    <a:gd name="connsiteX3" fmla="*/ 54340 w 54339"/>
                    <a:gd name="connsiteY3" fmla="*/ 27170 h 54339"/>
                    <a:gd name="connsiteX4" fmla="*/ 27170 w 54339"/>
                    <a:gd name="connsiteY4" fmla="*/ 54340 h 54339"/>
                    <a:gd name="connsiteX5" fmla="*/ 27170 w 54339"/>
                    <a:gd name="connsiteY5" fmla="*/ 9274 h 54339"/>
                    <a:gd name="connsiteX6" fmla="*/ 9274 w 54339"/>
                    <a:gd name="connsiteY6" fmla="*/ 27170 h 54339"/>
                    <a:gd name="connsiteX7" fmla="*/ 27170 w 54339"/>
                    <a:gd name="connsiteY7" fmla="*/ 45065 h 54339"/>
                    <a:gd name="connsiteX8" fmla="*/ 45066 w 54339"/>
                    <a:gd name="connsiteY8" fmla="*/ 27170 h 54339"/>
                    <a:gd name="connsiteX9" fmla="*/ 27170 w 54339"/>
                    <a:gd name="connsiteY9" fmla="*/ 9274 h 5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39" h="54339">
                      <a:moveTo>
                        <a:pt x="27170" y="54340"/>
                      </a:moveTo>
                      <a:cubicBezTo>
                        <a:pt x="12279" y="54340"/>
                        <a:pt x="0" y="42192"/>
                        <a:pt x="0" y="27170"/>
                      </a:cubicBezTo>
                      <a:cubicBezTo>
                        <a:pt x="0" y="12148"/>
                        <a:pt x="12148" y="0"/>
                        <a:pt x="27170" y="0"/>
                      </a:cubicBezTo>
                      <a:cubicBezTo>
                        <a:pt x="42192" y="0"/>
                        <a:pt x="54340" y="12148"/>
                        <a:pt x="54340" y="27170"/>
                      </a:cubicBezTo>
                      <a:cubicBezTo>
                        <a:pt x="54340" y="42192"/>
                        <a:pt x="42192" y="54340"/>
                        <a:pt x="27170" y="54340"/>
                      </a:cubicBezTo>
                      <a:close/>
                      <a:moveTo>
                        <a:pt x="27170" y="9274"/>
                      </a:moveTo>
                      <a:cubicBezTo>
                        <a:pt x="17243" y="9274"/>
                        <a:pt x="9274" y="17242"/>
                        <a:pt x="9274" y="27170"/>
                      </a:cubicBezTo>
                      <a:cubicBezTo>
                        <a:pt x="9274" y="37097"/>
                        <a:pt x="17243" y="45065"/>
                        <a:pt x="27170" y="45065"/>
                      </a:cubicBezTo>
                      <a:cubicBezTo>
                        <a:pt x="37097" y="45065"/>
                        <a:pt x="45066" y="37097"/>
                        <a:pt x="45066" y="27170"/>
                      </a:cubicBezTo>
                      <a:cubicBezTo>
                        <a:pt x="45066" y="17242"/>
                        <a:pt x="37097" y="9274"/>
                        <a:pt x="27170" y="927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sp>
          <p:nvSpPr>
            <p:cNvPr id="13" name="Freeform: Shape 12">
              <a:extLst>
                <a:ext uri="{FF2B5EF4-FFF2-40B4-BE49-F238E27FC236}">
                  <a16:creationId xmlns:a16="http://schemas.microsoft.com/office/drawing/2014/main" id="{D2495B09-ABCB-CB8C-AB38-24C49BE8897D}"/>
                </a:ext>
              </a:extLst>
            </p:cNvPr>
            <p:cNvSpPr/>
            <p:nvPr/>
          </p:nvSpPr>
          <p:spPr>
            <a:xfrm>
              <a:off x="933272" y="5587027"/>
              <a:ext cx="227678" cy="10376"/>
            </a:xfrm>
            <a:custGeom>
              <a:avLst/>
              <a:gdLst>
                <a:gd name="connsiteX0" fmla="*/ 222976 w 227678"/>
                <a:gd name="connsiteY0" fmla="*/ 10246 h 10376"/>
                <a:gd name="connsiteX1" fmla="*/ 222976 w 227678"/>
                <a:gd name="connsiteY1" fmla="*/ 10246 h 10376"/>
                <a:gd name="connsiteX2" fmla="*/ 4572 w 227678"/>
                <a:gd name="connsiteY2" fmla="*/ 9201 h 10376"/>
                <a:gd name="connsiteX3" fmla="*/ 4572 w 227678"/>
                <a:gd name="connsiteY3" fmla="*/ 9201 h 10376"/>
                <a:gd name="connsiteX4" fmla="*/ 0 w 227678"/>
                <a:gd name="connsiteY4" fmla="*/ 4629 h 10376"/>
                <a:gd name="connsiteX5" fmla="*/ 4572 w 227678"/>
                <a:gd name="connsiteY5" fmla="*/ 57 h 10376"/>
                <a:gd name="connsiteX6" fmla="*/ 223107 w 227678"/>
                <a:gd name="connsiteY6" fmla="*/ 1102 h 10376"/>
                <a:gd name="connsiteX7" fmla="*/ 227679 w 227678"/>
                <a:gd name="connsiteY7" fmla="*/ 5805 h 10376"/>
                <a:gd name="connsiteX8" fmla="*/ 223107 w 227678"/>
                <a:gd name="connsiteY8" fmla="*/ 10376 h 1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678" h="10376">
                  <a:moveTo>
                    <a:pt x="222976" y="10246"/>
                  </a:moveTo>
                  <a:lnTo>
                    <a:pt x="222976" y="10246"/>
                  </a:lnTo>
                  <a:cubicBezTo>
                    <a:pt x="150610" y="8940"/>
                    <a:pt x="75240" y="8940"/>
                    <a:pt x="4572" y="9201"/>
                  </a:cubicBezTo>
                  <a:lnTo>
                    <a:pt x="4572" y="9201"/>
                  </a:lnTo>
                  <a:cubicBezTo>
                    <a:pt x="2090" y="9201"/>
                    <a:pt x="0" y="7111"/>
                    <a:pt x="0" y="4629"/>
                  </a:cubicBezTo>
                  <a:cubicBezTo>
                    <a:pt x="0" y="2147"/>
                    <a:pt x="2090" y="57"/>
                    <a:pt x="4572" y="57"/>
                  </a:cubicBezTo>
                  <a:cubicBezTo>
                    <a:pt x="75240" y="-73"/>
                    <a:pt x="150610" y="-73"/>
                    <a:pt x="223107" y="1102"/>
                  </a:cubicBezTo>
                  <a:cubicBezTo>
                    <a:pt x="225589" y="1102"/>
                    <a:pt x="227679" y="3192"/>
                    <a:pt x="227679" y="5805"/>
                  </a:cubicBezTo>
                  <a:cubicBezTo>
                    <a:pt x="227679" y="8286"/>
                    <a:pt x="225589" y="10376"/>
                    <a:pt x="223107" y="1037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4D3432E4-77A1-1863-EE9D-D1D7C6E4251C}"/>
                </a:ext>
              </a:extLst>
            </p:cNvPr>
            <p:cNvSpPr/>
            <p:nvPr/>
          </p:nvSpPr>
          <p:spPr>
            <a:xfrm>
              <a:off x="933272" y="5690090"/>
              <a:ext cx="373978" cy="10376"/>
            </a:xfrm>
            <a:custGeom>
              <a:avLst/>
              <a:gdLst>
                <a:gd name="connsiteX0" fmla="*/ 369276 w 373978"/>
                <a:gd name="connsiteY0" fmla="*/ 10246 h 10376"/>
                <a:gd name="connsiteX1" fmla="*/ 369276 w 373978"/>
                <a:gd name="connsiteY1" fmla="*/ 10246 h 10376"/>
                <a:gd name="connsiteX2" fmla="*/ 4572 w 373978"/>
                <a:gd name="connsiteY2" fmla="*/ 9201 h 10376"/>
                <a:gd name="connsiteX3" fmla="*/ 4572 w 373978"/>
                <a:gd name="connsiteY3" fmla="*/ 9201 h 10376"/>
                <a:gd name="connsiteX4" fmla="*/ 0 w 373978"/>
                <a:gd name="connsiteY4" fmla="*/ 4629 h 10376"/>
                <a:gd name="connsiteX5" fmla="*/ 4572 w 373978"/>
                <a:gd name="connsiteY5" fmla="*/ 57 h 10376"/>
                <a:gd name="connsiteX6" fmla="*/ 369407 w 373978"/>
                <a:gd name="connsiteY6" fmla="*/ 1102 h 10376"/>
                <a:gd name="connsiteX7" fmla="*/ 373979 w 373978"/>
                <a:gd name="connsiteY7" fmla="*/ 5805 h 10376"/>
                <a:gd name="connsiteX8" fmla="*/ 369407 w 373978"/>
                <a:gd name="connsiteY8" fmla="*/ 10377 h 1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978" h="10376">
                  <a:moveTo>
                    <a:pt x="369276" y="10246"/>
                  </a:moveTo>
                  <a:lnTo>
                    <a:pt x="369276" y="10246"/>
                  </a:lnTo>
                  <a:cubicBezTo>
                    <a:pt x="248579" y="8940"/>
                    <a:pt x="122657" y="8940"/>
                    <a:pt x="4572" y="9201"/>
                  </a:cubicBezTo>
                  <a:lnTo>
                    <a:pt x="4572" y="9201"/>
                  </a:lnTo>
                  <a:cubicBezTo>
                    <a:pt x="2090" y="9201"/>
                    <a:pt x="0" y="7111"/>
                    <a:pt x="0" y="4629"/>
                  </a:cubicBezTo>
                  <a:cubicBezTo>
                    <a:pt x="0" y="2147"/>
                    <a:pt x="2090" y="57"/>
                    <a:pt x="4572" y="57"/>
                  </a:cubicBezTo>
                  <a:cubicBezTo>
                    <a:pt x="122657" y="-74"/>
                    <a:pt x="248579" y="-74"/>
                    <a:pt x="369407" y="1102"/>
                  </a:cubicBezTo>
                  <a:cubicBezTo>
                    <a:pt x="371889" y="1102"/>
                    <a:pt x="373979" y="3192"/>
                    <a:pt x="373979" y="5805"/>
                  </a:cubicBezTo>
                  <a:cubicBezTo>
                    <a:pt x="373979" y="8287"/>
                    <a:pt x="371889" y="10377"/>
                    <a:pt x="369407" y="1037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15" name="Graphic 717">
              <a:extLst>
                <a:ext uri="{FF2B5EF4-FFF2-40B4-BE49-F238E27FC236}">
                  <a16:creationId xmlns:a16="http://schemas.microsoft.com/office/drawing/2014/main" id="{C6281C4C-F4B4-E490-CCF9-2225E59B7B4E}"/>
                </a:ext>
              </a:extLst>
            </p:cNvPr>
            <p:cNvGrpSpPr/>
            <p:nvPr/>
          </p:nvGrpSpPr>
          <p:grpSpPr>
            <a:xfrm>
              <a:off x="1144362" y="5571863"/>
              <a:ext cx="985171" cy="572858"/>
              <a:chOff x="1144362" y="5571863"/>
              <a:chExt cx="985171" cy="572858"/>
            </a:xfrm>
            <a:grpFill/>
          </p:grpSpPr>
          <p:grpSp>
            <p:nvGrpSpPr>
              <p:cNvPr id="16" name="Graphic 717">
                <a:extLst>
                  <a:ext uri="{FF2B5EF4-FFF2-40B4-BE49-F238E27FC236}">
                    <a16:creationId xmlns:a16="http://schemas.microsoft.com/office/drawing/2014/main" id="{8AE89606-238F-1241-B617-7C5B40833F3E}"/>
                  </a:ext>
                </a:extLst>
              </p:cNvPr>
              <p:cNvGrpSpPr/>
              <p:nvPr/>
            </p:nvGrpSpPr>
            <p:grpSpPr>
              <a:xfrm>
                <a:off x="1144362" y="5571863"/>
                <a:ext cx="985171" cy="572858"/>
                <a:chOff x="1144362" y="5571863"/>
                <a:chExt cx="985171" cy="572858"/>
              </a:xfrm>
              <a:grpFill/>
            </p:grpSpPr>
            <p:sp>
              <p:nvSpPr>
                <p:cNvPr id="23" name="Freeform: Shape 22">
                  <a:extLst>
                    <a:ext uri="{FF2B5EF4-FFF2-40B4-BE49-F238E27FC236}">
                      <a16:creationId xmlns:a16="http://schemas.microsoft.com/office/drawing/2014/main" id="{443C88F6-6EA8-C992-124F-ABF26ABE5621}"/>
                    </a:ext>
                  </a:extLst>
                </p:cNvPr>
                <p:cNvSpPr/>
                <p:nvPr/>
              </p:nvSpPr>
              <p:spPr>
                <a:xfrm>
                  <a:off x="1148933" y="5576243"/>
                  <a:ext cx="976028" cy="563645"/>
                </a:xfrm>
                <a:custGeom>
                  <a:avLst/>
                  <a:gdLst>
                    <a:gd name="connsiteX0" fmla="*/ 0 w 976028"/>
                    <a:gd name="connsiteY0" fmla="*/ 563646 h 563645"/>
                    <a:gd name="connsiteX1" fmla="*/ 0 w 976028"/>
                    <a:gd name="connsiteY1" fmla="*/ 448565 h 563645"/>
                    <a:gd name="connsiteX2" fmla="*/ 65835 w 976028"/>
                    <a:gd name="connsiteY2" fmla="*/ 468812 h 563645"/>
                    <a:gd name="connsiteX3" fmla="*/ 248318 w 976028"/>
                    <a:gd name="connsiteY3" fmla="*/ 287244 h 563645"/>
                    <a:gd name="connsiteX4" fmla="*/ 452092 w 976028"/>
                    <a:gd name="connsiteY4" fmla="*/ 338710 h 563645"/>
                    <a:gd name="connsiteX5" fmla="*/ 639800 w 976028"/>
                    <a:gd name="connsiteY5" fmla="*/ 149827 h 563645"/>
                    <a:gd name="connsiteX6" fmla="*/ 805432 w 976028"/>
                    <a:gd name="connsiteY6" fmla="*/ 241003 h 563645"/>
                    <a:gd name="connsiteX7" fmla="*/ 976028 w 976028"/>
                    <a:gd name="connsiteY7" fmla="*/ 0 h 563645"/>
                    <a:gd name="connsiteX8" fmla="*/ 976028 w 976028"/>
                    <a:gd name="connsiteY8" fmla="*/ 552412 h 563645"/>
                    <a:gd name="connsiteX9" fmla="*/ 0 w 976028"/>
                    <a:gd name="connsiteY9" fmla="*/ 563646 h 56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6028" h="563645">
                      <a:moveTo>
                        <a:pt x="0" y="563646"/>
                      </a:moveTo>
                      <a:cubicBezTo>
                        <a:pt x="0" y="524850"/>
                        <a:pt x="261" y="483573"/>
                        <a:pt x="0" y="448565"/>
                      </a:cubicBezTo>
                      <a:cubicBezTo>
                        <a:pt x="15544" y="459277"/>
                        <a:pt x="38926" y="471425"/>
                        <a:pt x="65835" y="468812"/>
                      </a:cubicBezTo>
                      <a:cubicBezTo>
                        <a:pt x="150480" y="460322"/>
                        <a:pt x="157533" y="314675"/>
                        <a:pt x="248318" y="287244"/>
                      </a:cubicBezTo>
                      <a:cubicBezTo>
                        <a:pt x="327084" y="263470"/>
                        <a:pt x="369015" y="359087"/>
                        <a:pt x="452092" y="338710"/>
                      </a:cubicBezTo>
                      <a:cubicBezTo>
                        <a:pt x="552673" y="314152"/>
                        <a:pt x="555808" y="158186"/>
                        <a:pt x="639800" y="149827"/>
                      </a:cubicBezTo>
                      <a:cubicBezTo>
                        <a:pt x="708117" y="143165"/>
                        <a:pt x="738422" y="243093"/>
                        <a:pt x="805432" y="241003"/>
                      </a:cubicBezTo>
                      <a:cubicBezTo>
                        <a:pt x="849061" y="239697"/>
                        <a:pt x="908626" y="194892"/>
                        <a:pt x="976028" y="0"/>
                      </a:cubicBezTo>
                      <a:lnTo>
                        <a:pt x="976028" y="552412"/>
                      </a:lnTo>
                      <a:cubicBezTo>
                        <a:pt x="630787" y="556200"/>
                        <a:pt x="345241" y="559858"/>
                        <a:pt x="0" y="5636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C37632C1-EA5C-CE99-1F51-4EC43A004D45}"/>
                    </a:ext>
                  </a:extLst>
                </p:cNvPr>
                <p:cNvSpPr/>
                <p:nvPr/>
              </p:nvSpPr>
              <p:spPr>
                <a:xfrm>
                  <a:off x="1144362" y="5571863"/>
                  <a:ext cx="985171" cy="572858"/>
                </a:xfrm>
                <a:custGeom>
                  <a:avLst/>
                  <a:gdLst>
                    <a:gd name="connsiteX0" fmla="*/ 4572 w 985171"/>
                    <a:gd name="connsiteY0" fmla="*/ 572598 h 572858"/>
                    <a:gd name="connsiteX1" fmla="*/ 1306 w 985171"/>
                    <a:gd name="connsiteY1" fmla="*/ 571291 h 572858"/>
                    <a:gd name="connsiteX2" fmla="*/ 0 w 985171"/>
                    <a:gd name="connsiteY2" fmla="*/ 568026 h 572858"/>
                    <a:gd name="connsiteX3" fmla="*/ 0 w 985171"/>
                    <a:gd name="connsiteY3" fmla="*/ 528577 h 572858"/>
                    <a:gd name="connsiteX4" fmla="*/ 0 w 985171"/>
                    <a:gd name="connsiteY4" fmla="*/ 452945 h 572858"/>
                    <a:gd name="connsiteX5" fmla="*/ 2482 w 985171"/>
                    <a:gd name="connsiteY5" fmla="*/ 448896 h 572858"/>
                    <a:gd name="connsiteX6" fmla="*/ 7184 w 985171"/>
                    <a:gd name="connsiteY6" fmla="*/ 449157 h 572858"/>
                    <a:gd name="connsiteX7" fmla="*/ 69884 w 985171"/>
                    <a:gd name="connsiteY7" fmla="*/ 468620 h 572858"/>
                    <a:gd name="connsiteX8" fmla="*/ 156489 w 985171"/>
                    <a:gd name="connsiteY8" fmla="*/ 385282 h 572858"/>
                    <a:gd name="connsiteX9" fmla="*/ 251583 w 985171"/>
                    <a:gd name="connsiteY9" fmla="*/ 287182 h 572858"/>
                    <a:gd name="connsiteX10" fmla="*/ 355822 w 985171"/>
                    <a:gd name="connsiteY10" fmla="*/ 312263 h 572858"/>
                    <a:gd name="connsiteX11" fmla="*/ 455489 w 985171"/>
                    <a:gd name="connsiteY11" fmla="*/ 338649 h 572858"/>
                    <a:gd name="connsiteX12" fmla="*/ 554241 w 985171"/>
                    <a:gd name="connsiteY12" fmla="*/ 237414 h 572858"/>
                    <a:gd name="connsiteX13" fmla="*/ 643850 w 985171"/>
                    <a:gd name="connsiteY13" fmla="*/ 149765 h 572858"/>
                    <a:gd name="connsiteX14" fmla="*/ 732413 w 985171"/>
                    <a:gd name="connsiteY14" fmla="*/ 196398 h 572858"/>
                    <a:gd name="connsiteX15" fmla="*/ 809874 w 985171"/>
                    <a:gd name="connsiteY15" fmla="*/ 240941 h 572858"/>
                    <a:gd name="connsiteX16" fmla="*/ 976290 w 985171"/>
                    <a:gd name="connsiteY16" fmla="*/ 3074 h 572858"/>
                    <a:gd name="connsiteX17" fmla="*/ 981384 w 985171"/>
                    <a:gd name="connsiteY17" fmla="*/ 69 h 572858"/>
                    <a:gd name="connsiteX18" fmla="*/ 985172 w 985171"/>
                    <a:gd name="connsiteY18" fmla="*/ 4641 h 572858"/>
                    <a:gd name="connsiteX19" fmla="*/ 985172 w 985171"/>
                    <a:gd name="connsiteY19" fmla="*/ 557053 h 572858"/>
                    <a:gd name="connsiteX20" fmla="*/ 980600 w 985171"/>
                    <a:gd name="connsiteY20" fmla="*/ 561625 h 572858"/>
                    <a:gd name="connsiteX21" fmla="*/ 492586 w 985171"/>
                    <a:gd name="connsiteY21" fmla="*/ 567242 h 572858"/>
                    <a:gd name="connsiteX22" fmla="*/ 4572 w 985171"/>
                    <a:gd name="connsiteY22" fmla="*/ 572859 h 572858"/>
                    <a:gd name="connsiteX23" fmla="*/ 4572 w 985171"/>
                    <a:gd name="connsiteY23" fmla="*/ 572859 h 572858"/>
                    <a:gd name="connsiteX24" fmla="*/ 9274 w 985171"/>
                    <a:gd name="connsiteY24" fmla="*/ 461436 h 572858"/>
                    <a:gd name="connsiteX25" fmla="*/ 9274 w 985171"/>
                    <a:gd name="connsiteY25" fmla="*/ 528577 h 572858"/>
                    <a:gd name="connsiteX26" fmla="*/ 9274 w 985171"/>
                    <a:gd name="connsiteY26" fmla="*/ 563323 h 572858"/>
                    <a:gd name="connsiteX27" fmla="*/ 492586 w 985171"/>
                    <a:gd name="connsiteY27" fmla="*/ 557706 h 572858"/>
                    <a:gd name="connsiteX28" fmla="*/ 976028 w 985171"/>
                    <a:gd name="connsiteY28" fmla="*/ 552089 h 572858"/>
                    <a:gd name="connsiteX29" fmla="*/ 976028 w 985171"/>
                    <a:gd name="connsiteY29" fmla="*/ 30897 h 572858"/>
                    <a:gd name="connsiteX30" fmla="*/ 810135 w 985171"/>
                    <a:gd name="connsiteY30" fmla="*/ 249824 h 572858"/>
                    <a:gd name="connsiteX31" fmla="*/ 726012 w 985171"/>
                    <a:gd name="connsiteY31" fmla="*/ 202668 h 572858"/>
                    <a:gd name="connsiteX32" fmla="*/ 644764 w 985171"/>
                    <a:gd name="connsiteY32" fmla="*/ 158648 h 572858"/>
                    <a:gd name="connsiteX33" fmla="*/ 562340 w 985171"/>
                    <a:gd name="connsiteY33" fmla="*/ 241594 h 572858"/>
                    <a:gd name="connsiteX34" fmla="*/ 457709 w 985171"/>
                    <a:gd name="connsiteY34" fmla="*/ 347401 h 572858"/>
                    <a:gd name="connsiteX35" fmla="*/ 351119 w 985171"/>
                    <a:gd name="connsiteY35" fmla="*/ 319969 h 572858"/>
                    <a:gd name="connsiteX36" fmla="*/ 254196 w 985171"/>
                    <a:gd name="connsiteY36" fmla="*/ 295804 h 572858"/>
                    <a:gd name="connsiteX37" fmla="*/ 164457 w 985171"/>
                    <a:gd name="connsiteY37" fmla="*/ 389592 h 572858"/>
                    <a:gd name="connsiteX38" fmla="*/ 70799 w 985171"/>
                    <a:gd name="connsiteY38" fmla="*/ 477503 h 572858"/>
                    <a:gd name="connsiteX39" fmla="*/ 9274 w 985171"/>
                    <a:gd name="connsiteY39" fmla="*/ 461175 h 57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85171" h="572858">
                      <a:moveTo>
                        <a:pt x="4572" y="572598"/>
                      </a:moveTo>
                      <a:cubicBezTo>
                        <a:pt x="3396" y="572598"/>
                        <a:pt x="2221" y="572075"/>
                        <a:pt x="1306" y="571291"/>
                      </a:cubicBezTo>
                      <a:cubicBezTo>
                        <a:pt x="392" y="570377"/>
                        <a:pt x="0" y="569201"/>
                        <a:pt x="0" y="568026"/>
                      </a:cubicBezTo>
                      <a:cubicBezTo>
                        <a:pt x="0" y="555094"/>
                        <a:pt x="0" y="541770"/>
                        <a:pt x="0" y="528577"/>
                      </a:cubicBezTo>
                      <a:cubicBezTo>
                        <a:pt x="0" y="502844"/>
                        <a:pt x="0" y="476327"/>
                        <a:pt x="0" y="452945"/>
                      </a:cubicBezTo>
                      <a:cubicBezTo>
                        <a:pt x="0" y="451247"/>
                        <a:pt x="914" y="449680"/>
                        <a:pt x="2482" y="448896"/>
                      </a:cubicBezTo>
                      <a:cubicBezTo>
                        <a:pt x="4049" y="448112"/>
                        <a:pt x="5878" y="448243"/>
                        <a:pt x="7184" y="449157"/>
                      </a:cubicBezTo>
                      <a:cubicBezTo>
                        <a:pt x="28868" y="464048"/>
                        <a:pt x="49899" y="470580"/>
                        <a:pt x="69884" y="468620"/>
                      </a:cubicBezTo>
                      <a:cubicBezTo>
                        <a:pt x="110509" y="464571"/>
                        <a:pt x="132845" y="426037"/>
                        <a:pt x="156489" y="385282"/>
                      </a:cubicBezTo>
                      <a:cubicBezTo>
                        <a:pt x="180393" y="344004"/>
                        <a:pt x="205081" y="301290"/>
                        <a:pt x="251583" y="287182"/>
                      </a:cubicBezTo>
                      <a:cubicBezTo>
                        <a:pt x="293122" y="274643"/>
                        <a:pt x="324994" y="293844"/>
                        <a:pt x="355822" y="312263"/>
                      </a:cubicBezTo>
                      <a:cubicBezTo>
                        <a:pt x="386780" y="330811"/>
                        <a:pt x="416040" y="348315"/>
                        <a:pt x="455489" y="338649"/>
                      </a:cubicBezTo>
                      <a:cubicBezTo>
                        <a:pt x="504995" y="326501"/>
                        <a:pt x="530075" y="281174"/>
                        <a:pt x="554241" y="237414"/>
                      </a:cubicBezTo>
                      <a:cubicBezTo>
                        <a:pt x="578015" y="194570"/>
                        <a:pt x="600352" y="153945"/>
                        <a:pt x="643850" y="149765"/>
                      </a:cubicBezTo>
                      <a:cubicBezTo>
                        <a:pt x="680816" y="146108"/>
                        <a:pt x="707072" y="171710"/>
                        <a:pt x="732413" y="196398"/>
                      </a:cubicBezTo>
                      <a:cubicBezTo>
                        <a:pt x="756448" y="219780"/>
                        <a:pt x="779046" y="241725"/>
                        <a:pt x="809874" y="240941"/>
                      </a:cubicBezTo>
                      <a:cubicBezTo>
                        <a:pt x="866304" y="239243"/>
                        <a:pt x="922211" y="159170"/>
                        <a:pt x="976290" y="3074"/>
                      </a:cubicBezTo>
                      <a:cubicBezTo>
                        <a:pt x="977073" y="983"/>
                        <a:pt x="979163" y="-323"/>
                        <a:pt x="981384" y="69"/>
                      </a:cubicBezTo>
                      <a:cubicBezTo>
                        <a:pt x="983604" y="461"/>
                        <a:pt x="985172" y="2421"/>
                        <a:pt x="985172" y="4641"/>
                      </a:cubicBezTo>
                      <a:lnTo>
                        <a:pt x="985172" y="557053"/>
                      </a:lnTo>
                      <a:cubicBezTo>
                        <a:pt x="985172" y="559535"/>
                        <a:pt x="983082" y="561625"/>
                        <a:pt x="980600" y="561625"/>
                      </a:cubicBezTo>
                      <a:cubicBezTo>
                        <a:pt x="808045" y="563454"/>
                        <a:pt x="647638" y="565413"/>
                        <a:pt x="492586" y="567242"/>
                      </a:cubicBezTo>
                      <a:cubicBezTo>
                        <a:pt x="337534" y="569071"/>
                        <a:pt x="177127" y="571030"/>
                        <a:pt x="4572" y="572859"/>
                      </a:cubicBezTo>
                      <a:lnTo>
                        <a:pt x="4572" y="572859"/>
                      </a:lnTo>
                      <a:close/>
                      <a:moveTo>
                        <a:pt x="9274" y="461436"/>
                      </a:moveTo>
                      <a:cubicBezTo>
                        <a:pt x="9274" y="482597"/>
                        <a:pt x="9274" y="505979"/>
                        <a:pt x="9274" y="528577"/>
                      </a:cubicBezTo>
                      <a:cubicBezTo>
                        <a:pt x="9274" y="540203"/>
                        <a:pt x="9274" y="551828"/>
                        <a:pt x="9274" y="563323"/>
                      </a:cubicBezTo>
                      <a:cubicBezTo>
                        <a:pt x="180132" y="561494"/>
                        <a:pt x="338971" y="559535"/>
                        <a:pt x="492586" y="557706"/>
                      </a:cubicBezTo>
                      <a:cubicBezTo>
                        <a:pt x="646331" y="555878"/>
                        <a:pt x="805171" y="554049"/>
                        <a:pt x="976028" y="552089"/>
                      </a:cubicBezTo>
                      <a:lnTo>
                        <a:pt x="976028" y="30897"/>
                      </a:lnTo>
                      <a:cubicBezTo>
                        <a:pt x="922733" y="176282"/>
                        <a:pt x="868393" y="247995"/>
                        <a:pt x="810135" y="249824"/>
                      </a:cubicBezTo>
                      <a:cubicBezTo>
                        <a:pt x="775519" y="250869"/>
                        <a:pt x="750309" y="226442"/>
                        <a:pt x="726012" y="202668"/>
                      </a:cubicBezTo>
                      <a:cubicBezTo>
                        <a:pt x="701063" y="178372"/>
                        <a:pt x="677551" y="155382"/>
                        <a:pt x="644764" y="158648"/>
                      </a:cubicBezTo>
                      <a:cubicBezTo>
                        <a:pt x="606099" y="162436"/>
                        <a:pt x="584938" y="200970"/>
                        <a:pt x="562340" y="241594"/>
                      </a:cubicBezTo>
                      <a:cubicBezTo>
                        <a:pt x="538305" y="285092"/>
                        <a:pt x="511135" y="334338"/>
                        <a:pt x="457709" y="347401"/>
                      </a:cubicBezTo>
                      <a:cubicBezTo>
                        <a:pt x="414472" y="357981"/>
                        <a:pt x="382208" y="338649"/>
                        <a:pt x="351119" y="319969"/>
                      </a:cubicBezTo>
                      <a:cubicBezTo>
                        <a:pt x="320553" y="301682"/>
                        <a:pt x="291816" y="284439"/>
                        <a:pt x="254196" y="295804"/>
                      </a:cubicBezTo>
                      <a:cubicBezTo>
                        <a:pt x="211220" y="308735"/>
                        <a:pt x="187447" y="349883"/>
                        <a:pt x="164457" y="389592"/>
                      </a:cubicBezTo>
                      <a:cubicBezTo>
                        <a:pt x="139638" y="432437"/>
                        <a:pt x="116256" y="472931"/>
                        <a:pt x="70799" y="477503"/>
                      </a:cubicBezTo>
                      <a:cubicBezTo>
                        <a:pt x="50944" y="479462"/>
                        <a:pt x="30174" y="473976"/>
                        <a:pt x="9274" y="46117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7" name="Graphic 717">
                <a:extLst>
                  <a:ext uri="{FF2B5EF4-FFF2-40B4-BE49-F238E27FC236}">
                    <a16:creationId xmlns:a16="http://schemas.microsoft.com/office/drawing/2014/main" id="{CBBC2422-CD4B-BED3-02ED-1067C1676F2F}"/>
                  </a:ext>
                </a:extLst>
              </p:cNvPr>
              <p:cNvGrpSpPr/>
              <p:nvPr/>
            </p:nvGrpSpPr>
            <p:grpSpPr>
              <a:xfrm>
                <a:off x="1401431" y="5765996"/>
                <a:ext cx="330088" cy="375591"/>
                <a:chOff x="1401431" y="5765996"/>
                <a:chExt cx="330088" cy="375591"/>
              </a:xfrm>
              <a:grpFill/>
            </p:grpSpPr>
            <p:sp>
              <p:nvSpPr>
                <p:cNvPr id="21" name="Freeform: Shape 20">
                  <a:extLst>
                    <a:ext uri="{FF2B5EF4-FFF2-40B4-BE49-F238E27FC236}">
                      <a16:creationId xmlns:a16="http://schemas.microsoft.com/office/drawing/2014/main" id="{7C9F7A1E-914B-B851-23DD-F78D9D3619C6}"/>
                    </a:ext>
                  </a:extLst>
                </p:cNvPr>
                <p:cNvSpPr/>
                <p:nvPr/>
              </p:nvSpPr>
              <p:spPr>
                <a:xfrm>
                  <a:off x="1406003" y="5770482"/>
                  <a:ext cx="320945" cy="366402"/>
                </a:xfrm>
                <a:custGeom>
                  <a:avLst/>
                  <a:gdLst>
                    <a:gd name="connsiteX0" fmla="*/ 320945 w 320945"/>
                    <a:gd name="connsiteY0" fmla="*/ 131 h 366402"/>
                    <a:gd name="connsiteX1" fmla="*/ 195153 w 320945"/>
                    <a:gd name="connsiteY1" fmla="*/ 144341 h 366402"/>
                    <a:gd name="connsiteX2" fmla="*/ 0 w 320945"/>
                    <a:gd name="connsiteY2" fmla="*/ 90654 h 366402"/>
                    <a:gd name="connsiteX3" fmla="*/ 0 w 320945"/>
                    <a:gd name="connsiteY3" fmla="*/ 366403 h 366402"/>
                    <a:gd name="connsiteX4" fmla="*/ 320945 w 320945"/>
                    <a:gd name="connsiteY4" fmla="*/ 362615 h 366402"/>
                    <a:gd name="connsiteX5" fmla="*/ 320945 w 320945"/>
                    <a:gd name="connsiteY5" fmla="*/ 0 h 36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945" h="366402">
                      <a:moveTo>
                        <a:pt x="320945" y="131"/>
                      </a:moveTo>
                      <a:cubicBezTo>
                        <a:pt x="286721" y="50552"/>
                        <a:pt x="263340" y="127751"/>
                        <a:pt x="195153" y="144341"/>
                      </a:cubicBezTo>
                      <a:cubicBezTo>
                        <a:pt x="115211" y="163934"/>
                        <a:pt x="73411" y="76024"/>
                        <a:pt x="0" y="90654"/>
                      </a:cubicBezTo>
                      <a:lnTo>
                        <a:pt x="0" y="366403"/>
                      </a:lnTo>
                      <a:cubicBezTo>
                        <a:pt x="108810" y="365096"/>
                        <a:pt x="214225" y="363921"/>
                        <a:pt x="320945" y="362615"/>
                      </a:cubicBezTo>
                      <a:lnTo>
                        <a:pt x="320945" y="0"/>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74413EA4-79D2-A8CB-BE6B-A9DCEF237470}"/>
                    </a:ext>
                  </a:extLst>
                </p:cNvPr>
                <p:cNvSpPr/>
                <p:nvPr/>
              </p:nvSpPr>
              <p:spPr>
                <a:xfrm>
                  <a:off x="1401431" y="5765996"/>
                  <a:ext cx="330088" cy="375591"/>
                </a:xfrm>
                <a:custGeom>
                  <a:avLst/>
                  <a:gdLst>
                    <a:gd name="connsiteX0" fmla="*/ 4572 w 330088"/>
                    <a:gd name="connsiteY0" fmla="*/ 375591 h 375591"/>
                    <a:gd name="connsiteX1" fmla="*/ 1306 w 330088"/>
                    <a:gd name="connsiteY1" fmla="*/ 374285 h 375591"/>
                    <a:gd name="connsiteX2" fmla="*/ 0 w 330088"/>
                    <a:gd name="connsiteY2" fmla="*/ 371019 h 375591"/>
                    <a:gd name="connsiteX3" fmla="*/ 0 w 330088"/>
                    <a:gd name="connsiteY3" fmla="*/ 95271 h 375591"/>
                    <a:gd name="connsiteX4" fmla="*/ 3657 w 330088"/>
                    <a:gd name="connsiteY4" fmla="*/ 90699 h 375591"/>
                    <a:gd name="connsiteX5" fmla="*/ 98883 w 330088"/>
                    <a:gd name="connsiteY5" fmla="*/ 117999 h 375591"/>
                    <a:gd name="connsiteX6" fmla="*/ 198550 w 330088"/>
                    <a:gd name="connsiteY6" fmla="*/ 144385 h 375591"/>
                    <a:gd name="connsiteX7" fmla="*/ 297302 w 330088"/>
                    <a:gd name="connsiteY7" fmla="*/ 43151 h 375591"/>
                    <a:gd name="connsiteX8" fmla="*/ 321598 w 330088"/>
                    <a:gd name="connsiteY8" fmla="*/ 2004 h 375591"/>
                    <a:gd name="connsiteX9" fmla="*/ 326823 w 330088"/>
                    <a:gd name="connsiteY9" fmla="*/ 176 h 375591"/>
                    <a:gd name="connsiteX10" fmla="*/ 330089 w 330088"/>
                    <a:gd name="connsiteY10" fmla="*/ 4617 h 375591"/>
                    <a:gd name="connsiteX11" fmla="*/ 330089 w 330088"/>
                    <a:gd name="connsiteY11" fmla="*/ 367231 h 375591"/>
                    <a:gd name="connsiteX12" fmla="*/ 325517 w 330088"/>
                    <a:gd name="connsiteY12" fmla="*/ 371803 h 375591"/>
                    <a:gd name="connsiteX13" fmla="*/ 230422 w 330088"/>
                    <a:gd name="connsiteY13" fmla="*/ 372979 h 375591"/>
                    <a:gd name="connsiteX14" fmla="*/ 4572 w 330088"/>
                    <a:gd name="connsiteY14" fmla="*/ 375591 h 375591"/>
                    <a:gd name="connsiteX15" fmla="*/ 4572 w 330088"/>
                    <a:gd name="connsiteY15" fmla="*/ 375591 h 375591"/>
                    <a:gd name="connsiteX16" fmla="*/ 9144 w 330088"/>
                    <a:gd name="connsiteY16" fmla="*/ 99058 h 375591"/>
                    <a:gd name="connsiteX17" fmla="*/ 9144 w 330088"/>
                    <a:gd name="connsiteY17" fmla="*/ 366317 h 375591"/>
                    <a:gd name="connsiteX18" fmla="*/ 230422 w 330088"/>
                    <a:gd name="connsiteY18" fmla="*/ 363704 h 375591"/>
                    <a:gd name="connsiteX19" fmla="*/ 320945 w 330088"/>
                    <a:gd name="connsiteY19" fmla="*/ 362659 h 375591"/>
                    <a:gd name="connsiteX20" fmla="*/ 320945 w 330088"/>
                    <a:gd name="connsiteY20" fmla="*/ 20422 h 375591"/>
                    <a:gd name="connsiteX21" fmla="*/ 305531 w 330088"/>
                    <a:gd name="connsiteY21" fmla="*/ 47593 h 375591"/>
                    <a:gd name="connsiteX22" fmla="*/ 200901 w 330088"/>
                    <a:gd name="connsiteY22" fmla="*/ 153398 h 375591"/>
                    <a:gd name="connsiteX23" fmla="*/ 94311 w 330088"/>
                    <a:gd name="connsiteY23" fmla="*/ 126098 h 375591"/>
                    <a:gd name="connsiteX24" fmla="*/ 9274 w 330088"/>
                    <a:gd name="connsiteY24" fmla="*/ 99189 h 3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0088" h="375591">
                      <a:moveTo>
                        <a:pt x="4572" y="375591"/>
                      </a:moveTo>
                      <a:cubicBezTo>
                        <a:pt x="3396" y="375591"/>
                        <a:pt x="2221" y="375069"/>
                        <a:pt x="1306" y="374285"/>
                      </a:cubicBezTo>
                      <a:cubicBezTo>
                        <a:pt x="392" y="373370"/>
                        <a:pt x="0" y="372195"/>
                        <a:pt x="0" y="371019"/>
                      </a:cubicBezTo>
                      <a:lnTo>
                        <a:pt x="0" y="95271"/>
                      </a:lnTo>
                      <a:cubicBezTo>
                        <a:pt x="0" y="93050"/>
                        <a:pt x="1568" y="91221"/>
                        <a:pt x="3657" y="90699"/>
                      </a:cubicBezTo>
                      <a:cubicBezTo>
                        <a:pt x="40755" y="83253"/>
                        <a:pt x="70276" y="101018"/>
                        <a:pt x="98883" y="117999"/>
                      </a:cubicBezTo>
                      <a:cubicBezTo>
                        <a:pt x="129841" y="136548"/>
                        <a:pt x="159101" y="154052"/>
                        <a:pt x="198550" y="144385"/>
                      </a:cubicBezTo>
                      <a:cubicBezTo>
                        <a:pt x="248056" y="132237"/>
                        <a:pt x="273136" y="86910"/>
                        <a:pt x="297302" y="43151"/>
                      </a:cubicBezTo>
                      <a:cubicBezTo>
                        <a:pt x="305401" y="28521"/>
                        <a:pt x="313108" y="14675"/>
                        <a:pt x="321598" y="2004"/>
                      </a:cubicBezTo>
                      <a:cubicBezTo>
                        <a:pt x="322774" y="306"/>
                        <a:pt x="324864" y="-347"/>
                        <a:pt x="326823" y="176"/>
                      </a:cubicBezTo>
                      <a:cubicBezTo>
                        <a:pt x="328783" y="829"/>
                        <a:pt x="330089" y="2527"/>
                        <a:pt x="330089" y="4617"/>
                      </a:cubicBezTo>
                      <a:lnTo>
                        <a:pt x="330089" y="367231"/>
                      </a:lnTo>
                      <a:cubicBezTo>
                        <a:pt x="330089" y="369713"/>
                        <a:pt x="327999" y="371803"/>
                        <a:pt x="325517" y="371803"/>
                      </a:cubicBezTo>
                      <a:lnTo>
                        <a:pt x="230422" y="372979"/>
                      </a:lnTo>
                      <a:cubicBezTo>
                        <a:pt x="155705" y="373893"/>
                        <a:pt x="80987" y="374807"/>
                        <a:pt x="4572" y="375591"/>
                      </a:cubicBezTo>
                      <a:lnTo>
                        <a:pt x="4572" y="375591"/>
                      </a:lnTo>
                      <a:close/>
                      <a:moveTo>
                        <a:pt x="9144" y="99058"/>
                      </a:moveTo>
                      <a:lnTo>
                        <a:pt x="9144" y="366317"/>
                      </a:lnTo>
                      <a:cubicBezTo>
                        <a:pt x="83861" y="365402"/>
                        <a:pt x="157142" y="364619"/>
                        <a:pt x="230422" y="363704"/>
                      </a:cubicBezTo>
                      <a:lnTo>
                        <a:pt x="320945" y="362659"/>
                      </a:lnTo>
                      <a:lnTo>
                        <a:pt x="320945" y="20422"/>
                      </a:lnTo>
                      <a:cubicBezTo>
                        <a:pt x="315720" y="29044"/>
                        <a:pt x="310756" y="38188"/>
                        <a:pt x="305531" y="47593"/>
                      </a:cubicBezTo>
                      <a:cubicBezTo>
                        <a:pt x="281496" y="91090"/>
                        <a:pt x="254196" y="140336"/>
                        <a:pt x="200901" y="153398"/>
                      </a:cubicBezTo>
                      <a:cubicBezTo>
                        <a:pt x="157664" y="163979"/>
                        <a:pt x="125400" y="144647"/>
                        <a:pt x="94311" y="126098"/>
                      </a:cubicBezTo>
                      <a:cubicBezTo>
                        <a:pt x="67011" y="109770"/>
                        <a:pt x="41277" y="94356"/>
                        <a:pt x="9274" y="991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8" name="Graphic 717">
                <a:extLst>
                  <a:ext uri="{FF2B5EF4-FFF2-40B4-BE49-F238E27FC236}">
                    <a16:creationId xmlns:a16="http://schemas.microsoft.com/office/drawing/2014/main" id="{F568022E-EE0F-17AE-62CB-925B0256B9BE}"/>
                  </a:ext>
                </a:extLst>
              </p:cNvPr>
              <p:cNvGrpSpPr/>
              <p:nvPr/>
            </p:nvGrpSpPr>
            <p:grpSpPr>
              <a:xfrm>
                <a:off x="1912827" y="5571863"/>
                <a:ext cx="216706" cy="563976"/>
                <a:chOff x="1912827" y="5571863"/>
                <a:chExt cx="216706" cy="563976"/>
              </a:xfrm>
              <a:grpFill/>
            </p:grpSpPr>
            <p:sp>
              <p:nvSpPr>
                <p:cNvPr id="19" name="Freeform: Shape 18">
                  <a:extLst>
                    <a:ext uri="{FF2B5EF4-FFF2-40B4-BE49-F238E27FC236}">
                      <a16:creationId xmlns:a16="http://schemas.microsoft.com/office/drawing/2014/main" id="{4AB7AEBB-F93B-62A3-4508-A83EB852266B}"/>
                    </a:ext>
                  </a:extLst>
                </p:cNvPr>
                <p:cNvSpPr/>
                <p:nvPr/>
              </p:nvSpPr>
              <p:spPr>
                <a:xfrm>
                  <a:off x="1917399" y="5576243"/>
                  <a:ext cx="207693" cy="554763"/>
                </a:xfrm>
                <a:custGeom>
                  <a:avLst/>
                  <a:gdLst>
                    <a:gd name="connsiteX0" fmla="*/ 37097 w 207693"/>
                    <a:gd name="connsiteY0" fmla="*/ 241003 h 554763"/>
                    <a:gd name="connsiteX1" fmla="*/ 0 w 207693"/>
                    <a:gd name="connsiteY1" fmla="*/ 231336 h 554763"/>
                    <a:gd name="connsiteX2" fmla="*/ 0 w 207693"/>
                    <a:gd name="connsiteY2" fmla="*/ 554763 h 554763"/>
                    <a:gd name="connsiteX3" fmla="*/ 207693 w 207693"/>
                    <a:gd name="connsiteY3" fmla="*/ 552412 h 554763"/>
                    <a:gd name="connsiteX4" fmla="*/ 207693 w 207693"/>
                    <a:gd name="connsiteY4" fmla="*/ 0 h 554763"/>
                    <a:gd name="connsiteX5" fmla="*/ 37097 w 207693"/>
                    <a:gd name="connsiteY5" fmla="*/ 241003 h 5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693" h="554763">
                      <a:moveTo>
                        <a:pt x="37097" y="241003"/>
                      </a:moveTo>
                      <a:cubicBezTo>
                        <a:pt x="23382" y="241395"/>
                        <a:pt x="11234" y="237606"/>
                        <a:pt x="0" y="231336"/>
                      </a:cubicBezTo>
                      <a:lnTo>
                        <a:pt x="0" y="554763"/>
                      </a:lnTo>
                      <a:cubicBezTo>
                        <a:pt x="67402" y="553980"/>
                        <a:pt x="136242" y="553196"/>
                        <a:pt x="207693" y="552412"/>
                      </a:cubicBezTo>
                      <a:lnTo>
                        <a:pt x="207693" y="0"/>
                      </a:lnTo>
                      <a:cubicBezTo>
                        <a:pt x="140291" y="194892"/>
                        <a:pt x="80726" y="239566"/>
                        <a:pt x="37097" y="24100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1332277D-21EA-5844-D60D-B72B88C0497E}"/>
                    </a:ext>
                  </a:extLst>
                </p:cNvPr>
                <p:cNvSpPr/>
                <p:nvPr/>
              </p:nvSpPr>
              <p:spPr>
                <a:xfrm>
                  <a:off x="1912827" y="5571863"/>
                  <a:ext cx="216706" cy="563976"/>
                </a:xfrm>
                <a:custGeom>
                  <a:avLst/>
                  <a:gdLst>
                    <a:gd name="connsiteX0" fmla="*/ 4572 w 216706"/>
                    <a:gd name="connsiteY0" fmla="*/ 563715 h 563976"/>
                    <a:gd name="connsiteX1" fmla="*/ 1306 w 216706"/>
                    <a:gd name="connsiteY1" fmla="*/ 562409 h 563976"/>
                    <a:gd name="connsiteX2" fmla="*/ 0 w 216706"/>
                    <a:gd name="connsiteY2" fmla="*/ 559143 h 563976"/>
                    <a:gd name="connsiteX3" fmla="*/ 0 w 216706"/>
                    <a:gd name="connsiteY3" fmla="*/ 235716 h 563976"/>
                    <a:gd name="connsiteX4" fmla="*/ 2221 w 216706"/>
                    <a:gd name="connsiteY4" fmla="*/ 231798 h 563976"/>
                    <a:gd name="connsiteX5" fmla="*/ 6793 w 216706"/>
                    <a:gd name="connsiteY5" fmla="*/ 231798 h 563976"/>
                    <a:gd name="connsiteX6" fmla="*/ 41408 w 216706"/>
                    <a:gd name="connsiteY6" fmla="*/ 240941 h 563976"/>
                    <a:gd name="connsiteX7" fmla="*/ 41408 w 216706"/>
                    <a:gd name="connsiteY7" fmla="*/ 240941 h 563976"/>
                    <a:gd name="connsiteX8" fmla="*/ 207824 w 216706"/>
                    <a:gd name="connsiteY8" fmla="*/ 3074 h 563976"/>
                    <a:gd name="connsiteX9" fmla="*/ 212918 w 216706"/>
                    <a:gd name="connsiteY9" fmla="*/ 69 h 563976"/>
                    <a:gd name="connsiteX10" fmla="*/ 216706 w 216706"/>
                    <a:gd name="connsiteY10" fmla="*/ 4641 h 563976"/>
                    <a:gd name="connsiteX11" fmla="*/ 216706 w 216706"/>
                    <a:gd name="connsiteY11" fmla="*/ 557053 h 563976"/>
                    <a:gd name="connsiteX12" fmla="*/ 212135 w 216706"/>
                    <a:gd name="connsiteY12" fmla="*/ 561625 h 563976"/>
                    <a:gd name="connsiteX13" fmla="*/ 4441 w 216706"/>
                    <a:gd name="connsiteY13" fmla="*/ 563976 h 563976"/>
                    <a:gd name="connsiteX14" fmla="*/ 4441 w 216706"/>
                    <a:gd name="connsiteY14" fmla="*/ 563976 h 563976"/>
                    <a:gd name="connsiteX15" fmla="*/ 9144 w 216706"/>
                    <a:gd name="connsiteY15" fmla="*/ 243162 h 563976"/>
                    <a:gd name="connsiteX16" fmla="*/ 9144 w 216706"/>
                    <a:gd name="connsiteY16" fmla="*/ 554441 h 563976"/>
                    <a:gd name="connsiteX17" fmla="*/ 207563 w 216706"/>
                    <a:gd name="connsiteY17" fmla="*/ 552220 h 563976"/>
                    <a:gd name="connsiteX18" fmla="*/ 207563 w 216706"/>
                    <a:gd name="connsiteY18" fmla="*/ 31027 h 563976"/>
                    <a:gd name="connsiteX19" fmla="*/ 41669 w 216706"/>
                    <a:gd name="connsiteY19" fmla="*/ 249954 h 563976"/>
                    <a:gd name="connsiteX20" fmla="*/ 41669 w 216706"/>
                    <a:gd name="connsiteY20" fmla="*/ 249954 h 563976"/>
                    <a:gd name="connsiteX21" fmla="*/ 9013 w 216706"/>
                    <a:gd name="connsiteY21" fmla="*/ 243162 h 563976"/>
                    <a:gd name="connsiteX22" fmla="*/ 41539 w 216706"/>
                    <a:gd name="connsiteY22" fmla="*/ 245383 h 563976"/>
                    <a:gd name="connsiteX23" fmla="*/ 41539 w 216706"/>
                    <a:gd name="connsiteY23" fmla="*/ 245383 h 563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6706" h="563976">
                      <a:moveTo>
                        <a:pt x="4572" y="563715"/>
                      </a:moveTo>
                      <a:cubicBezTo>
                        <a:pt x="3396" y="563715"/>
                        <a:pt x="2221" y="563193"/>
                        <a:pt x="1306" y="562409"/>
                      </a:cubicBezTo>
                      <a:cubicBezTo>
                        <a:pt x="392" y="561494"/>
                        <a:pt x="0" y="560319"/>
                        <a:pt x="0" y="559143"/>
                      </a:cubicBezTo>
                      <a:lnTo>
                        <a:pt x="0" y="235716"/>
                      </a:lnTo>
                      <a:cubicBezTo>
                        <a:pt x="0" y="234018"/>
                        <a:pt x="914" y="232581"/>
                        <a:pt x="2221" y="231798"/>
                      </a:cubicBezTo>
                      <a:cubicBezTo>
                        <a:pt x="3657" y="231014"/>
                        <a:pt x="5356" y="231014"/>
                        <a:pt x="6793" y="231798"/>
                      </a:cubicBezTo>
                      <a:cubicBezTo>
                        <a:pt x="18418" y="238329"/>
                        <a:pt x="29782" y="241203"/>
                        <a:pt x="41408" y="240941"/>
                      </a:cubicBezTo>
                      <a:lnTo>
                        <a:pt x="41408" y="240941"/>
                      </a:lnTo>
                      <a:cubicBezTo>
                        <a:pt x="97838" y="239243"/>
                        <a:pt x="153745" y="159170"/>
                        <a:pt x="207824" y="3074"/>
                      </a:cubicBezTo>
                      <a:cubicBezTo>
                        <a:pt x="208608" y="983"/>
                        <a:pt x="210698" y="-323"/>
                        <a:pt x="212918" y="69"/>
                      </a:cubicBezTo>
                      <a:cubicBezTo>
                        <a:pt x="215139" y="461"/>
                        <a:pt x="216706" y="2421"/>
                        <a:pt x="216706" y="4641"/>
                      </a:cubicBezTo>
                      <a:lnTo>
                        <a:pt x="216706" y="557053"/>
                      </a:lnTo>
                      <a:cubicBezTo>
                        <a:pt x="216706" y="559535"/>
                        <a:pt x="214617" y="561625"/>
                        <a:pt x="212135" y="561625"/>
                      </a:cubicBezTo>
                      <a:cubicBezTo>
                        <a:pt x="140683" y="562409"/>
                        <a:pt x="71844" y="563193"/>
                        <a:pt x="4441" y="563976"/>
                      </a:cubicBezTo>
                      <a:lnTo>
                        <a:pt x="4441" y="563976"/>
                      </a:lnTo>
                      <a:close/>
                      <a:moveTo>
                        <a:pt x="9144" y="243162"/>
                      </a:moveTo>
                      <a:lnTo>
                        <a:pt x="9144" y="554441"/>
                      </a:lnTo>
                      <a:cubicBezTo>
                        <a:pt x="73672" y="553657"/>
                        <a:pt x="139507" y="553004"/>
                        <a:pt x="207563" y="552220"/>
                      </a:cubicBezTo>
                      <a:lnTo>
                        <a:pt x="207563" y="31027"/>
                      </a:lnTo>
                      <a:cubicBezTo>
                        <a:pt x="154268" y="176413"/>
                        <a:pt x="99928" y="248126"/>
                        <a:pt x="41669" y="249954"/>
                      </a:cubicBezTo>
                      <a:lnTo>
                        <a:pt x="41669" y="249954"/>
                      </a:lnTo>
                      <a:cubicBezTo>
                        <a:pt x="30566" y="250346"/>
                        <a:pt x="19855" y="248126"/>
                        <a:pt x="9013" y="243162"/>
                      </a:cubicBezTo>
                      <a:close/>
                      <a:moveTo>
                        <a:pt x="41539" y="245383"/>
                      </a:moveTo>
                      <a:lnTo>
                        <a:pt x="41539" y="245383"/>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grpSp>
        <p:nvGrpSpPr>
          <p:cNvPr id="34" name="Graphic 717">
            <a:extLst>
              <a:ext uri="{FF2B5EF4-FFF2-40B4-BE49-F238E27FC236}">
                <a16:creationId xmlns:a16="http://schemas.microsoft.com/office/drawing/2014/main" id="{63BECAFF-B11A-C6F1-5DFE-09FD51E6F966}"/>
              </a:ext>
            </a:extLst>
          </p:cNvPr>
          <p:cNvGrpSpPr/>
          <p:nvPr userDrawn="1"/>
        </p:nvGrpSpPr>
        <p:grpSpPr>
          <a:xfrm>
            <a:off x="6098578" y="959392"/>
            <a:ext cx="1335974" cy="653134"/>
            <a:chOff x="29920" y="2747433"/>
            <a:chExt cx="1047442" cy="497419"/>
          </a:xfrm>
          <a:noFill/>
        </p:grpSpPr>
        <p:grpSp>
          <p:nvGrpSpPr>
            <p:cNvPr id="35" name="Graphic 717">
              <a:extLst>
                <a:ext uri="{FF2B5EF4-FFF2-40B4-BE49-F238E27FC236}">
                  <a16:creationId xmlns:a16="http://schemas.microsoft.com/office/drawing/2014/main" id="{E3D02313-320D-6469-FB86-78931544F9C9}"/>
                </a:ext>
              </a:extLst>
            </p:cNvPr>
            <p:cNvGrpSpPr/>
            <p:nvPr/>
          </p:nvGrpSpPr>
          <p:grpSpPr>
            <a:xfrm>
              <a:off x="29920" y="2747433"/>
              <a:ext cx="1047442" cy="497419"/>
              <a:chOff x="29920" y="2747433"/>
              <a:chExt cx="1047442" cy="497419"/>
            </a:xfrm>
            <a:grpFill/>
          </p:grpSpPr>
          <p:sp>
            <p:nvSpPr>
              <p:cNvPr id="50" name="Freeform: Shape 49">
                <a:extLst>
                  <a:ext uri="{FF2B5EF4-FFF2-40B4-BE49-F238E27FC236}">
                    <a16:creationId xmlns:a16="http://schemas.microsoft.com/office/drawing/2014/main" id="{7D5764B8-B9C3-0E02-901D-C08EE048F5BC}"/>
                  </a:ext>
                </a:extLst>
              </p:cNvPr>
              <p:cNvSpPr/>
              <p:nvPr/>
            </p:nvSpPr>
            <p:spPr>
              <a:xfrm>
                <a:off x="32861" y="2750307"/>
                <a:ext cx="1041579" cy="491802"/>
              </a:xfrm>
              <a:custGeom>
                <a:avLst/>
                <a:gdLst>
                  <a:gd name="connsiteX0" fmla="*/ 1039265 w 1041579"/>
                  <a:gd name="connsiteY0" fmla="*/ 491149 h 491802"/>
                  <a:gd name="connsiteX1" fmla="*/ 1040571 w 1041579"/>
                  <a:gd name="connsiteY1" fmla="*/ 0 h 491802"/>
                  <a:gd name="connsiteX2" fmla="*/ 1451 w 1041579"/>
                  <a:gd name="connsiteY2" fmla="*/ 914 h 491802"/>
                  <a:gd name="connsiteX3" fmla="*/ 1451 w 1041579"/>
                  <a:gd name="connsiteY3" fmla="*/ 491802 h 491802"/>
                  <a:gd name="connsiteX4" fmla="*/ 1039396 w 1041579"/>
                  <a:gd name="connsiteY4" fmla="*/ 491280 h 491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579" h="491802">
                    <a:moveTo>
                      <a:pt x="1039265" y="491149"/>
                    </a:moveTo>
                    <a:cubicBezTo>
                      <a:pt x="1039265" y="315067"/>
                      <a:pt x="1043445" y="165371"/>
                      <a:pt x="1040571" y="0"/>
                    </a:cubicBezTo>
                    <a:cubicBezTo>
                      <a:pt x="696114" y="0"/>
                      <a:pt x="348521" y="3527"/>
                      <a:pt x="1451" y="914"/>
                    </a:cubicBezTo>
                    <a:cubicBezTo>
                      <a:pt x="-1814" y="169420"/>
                      <a:pt x="1451" y="327868"/>
                      <a:pt x="1451" y="491802"/>
                    </a:cubicBezTo>
                    <a:cubicBezTo>
                      <a:pt x="348391" y="491802"/>
                      <a:pt x="694155" y="491280"/>
                      <a:pt x="1039396" y="491280"/>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E7C92329-3A27-6A76-FBAA-3AE73A3CC6CE}"/>
                  </a:ext>
                </a:extLst>
              </p:cNvPr>
              <p:cNvSpPr/>
              <p:nvPr/>
            </p:nvSpPr>
            <p:spPr>
              <a:xfrm>
                <a:off x="29920" y="2747433"/>
                <a:ext cx="1047442" cy="497419"/>
              </a:xfrm>
              <a:custGeom>
                <a:avLst/>
                <a:gdLst>
                  <a:gd name="connsiteX0" fmla="*/ 4393 w 1047442"/>
                  <a:gd name="connsiteY0" fmla="*/ 497419 h 497419"/>
                  <a:gd name="connsiteX1" fmla="*/ 1519 w 1047442"/>
                  <a:gd name="connsiteY1" fmla="*/ 494545 h 497419"/>
                  <a:gd name="connsiteX2" fmla="*/ 735 w 1047442"/>
                  <a:gd name="connsiteY2" fmla="*/ 331918 h 497419"/>
                  <a:gd name="connsiteX3" fmla="*/ 1519 w 1047442"/>
                  <a:gd name="connsiteY3" fmla="*/ 3657 h 497419"/>
                  <a:gd name="connsiteX4" fmla="*/ 4393 w 1047442"/>
                  <a:gd name="connsiteY4" fmla="*/ 914 h 497419"/>
                  <a:gd name="connsiteX5" fmla="*/ 4393 w 1047442"/>
                  <a:gd name="connsiteY5" fmla="*/ 914 h 497419"/>
                  <a:gd name="connsiteX6" fmla="*/ 665746 w 1047442"/>
                  <a:gd name="connsiteY6" fmla="*/ 914 h 497419"/>
                  <a:gd name="connsiteX7" fmla="*/ 1043513 w 1047442"/>
                  <a:gd name="connsiteY7" fmla="*/ 0 h 497419"/>
                  <a:gd name="connsiteX8" fmla="*/ 1046386 w 1047442"/>
                  <a:gd name="connsiteY8" fmla="*/ 2743 h 497419"/>
                  <a:gd name="connsiteX9" fmla="*/ 1046386 w 1047442"/>
                  <a:gd name="connsiteY9" fmla="*/ 302266 h 497419"/>
                  <a:gd name="connsiteX10" fmla="*/ 1045211 w 1047442"/>
                  <a:gd name="connsiteY10" fmla="*/ 494023 h 497419"/>
                  <a:gd name="connsiteX11" fmla="*/ 1042337 w 1047442"/>
                  <a:gd name="connsiteY11" fmla="*/ 496897 h 497419"/>
                  <a:gd name="connsiteX12" fmla="*/ 524671 w 1047442"/>
                  <a:gd name="connsiteY12" fmla="*/ 497158 h 497419"/>
                  <a:gd name="connsiteX13" fmla="*/ 4393 w 1047442"/>
                  <a:gd name="connsiteY13" fmla="*/ 497419 h 497419"/>
                  <a:gd name="connsiteX14" fmla="*/ 7136 w 1047442"/>
                  <a:gd name="connsiteY14" fmla="*/ 6662 h 497419"/>
                  <a:gd name="connsiteX15" fmla="*/ 6483 w 1047442"/>
                  <a:gd name="connsiteY15" fmla="*/ 331918 h 497419"/>
                  <a:gd name="connsiteX16" fmla="*/ 7267 w 1047442"/>
                  <a:gd name="connsiteY16" fmla="*/ 491802 h 497419"/>
                  <a:gd name="connsiteX17" fmla="*/ 524671 w 1047442"/>
                  <a:gd name="connsiteY17" fmla="*/ 491541 h 497419"/>
                  <a:gd name="connsiteX18" fmla="*/ 1039463 w 1047442"/>
                  <a:gd name="connsiteY18" fmla="*/ 491280 h 497419"/>
                  <a:gd name="connsiteX19" fmla="*/ 1040639 w 1047442"/>
                  <a:gd name="connsiteY19" fmla="*/ 302396 h 497419"/>
                  <a:gd name="connsiteX20" fmla="*/ 1040770 w 1047442"/>
                  <a:gd name="connsiteY20" fmla="*/ 5878 h 497419"/>
                  <a:gd name="connsiteX21" fmla="*/ 665746 w 1047442"/>
                  <a:gd name="connsiteY21" fmla="*/ 6792 h 497419"/>
                  <a:gd name="connsiteX22" fmla="*/ 7136 w 1047442"/>
                  <a:gd name="connsiteY22" fmla="*/ 6792 h 497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47442" h="497419">
                    <a:moveTo>
                      <a:pt x="4393" y="497419"/>
                    </a:moveTo>
                    <a:cubicBezTo>
                      <a:pt x="2825" y="497419"/>
                      <a:pt x="1519" y="496113"/>
                      <a:pt x="1519" y="494545"/>
                    </a:cubicBezTo>
                    <a:cubicBezTo>
                      <a:pt x="1519" y="439944"/>
                      <a:pt x="1127" y="384951"/>
                      <a:pt x="735" y="331918"/>
                    </a:cubicBezTo>
                    <a:cubicBezTo>
                      <a:pt x="-48" y="225850"/>
                      <a:pt x="-702" y="115995"/>
                      <a:pt x="1519" y="3657"/>
                    </a:cubicBezTo>
                    <a:cubicBezTo>
                      <a:pt x="1519" y="2090"/>
                      <a:pt x="2825" y="914"/>
                      <a:pt x="4393" y="914"/>
                    </a:cubicBezTo>
                    <a:lnTo>
                      <a:pt x="4393" y="914"/>
                    </a:lnTo>
                    <a:cubicBezTo>
                      <a:pt x="224887" y="2613"/>
                      <a:pt x="449039" y="1698"/>
                      <a:pt x="665746" y="914"/>
                    </a:cubicBezTo>
                    <a:cubicBezTo>
                      <a:pt x="789709" y="392"/>
                      <a:pt x="917982" y="0"/>
                      <a:pt x="1043513" y="0"/>
                    </a:cubicBezTo>
                    <a:cubicBezTo>
                      <a:pt x="1045080" y="0"/>
                      <a:pt x="1046256" y="1176"/>
                      <a:pt x="1046386" y="2743"/>
                    </a:cubicBezTo>
                    <a:cubicBezTo>
                      <a:pt x="1048215" y="105284"/>
                      <a:pt x="1047301" y="200901"/>
                      <a:pt x="1046386" y="302266"/>
                    </a:cubicBezTo>
                    <a:cubicBezTo>
                      <a:pt x="1045864" y="363659"/>
                      <a:pt x="1045211" y="427012"/>
                      <a:pt x="1045211" y="494023"/>
                    </a:cubicBezTo>
                    <a:cubicBezTo>
                      <a:pt x="1045211" y="495590"/>
                      <a:pt x="1043905" y="496897"/>
                      <a:pt x="1042337" y="496897"/>
                    </a:cubicBezTo>
                    <a:cubicBezTo>
                      <a:pt x="869912" y="496897"/>
                      <a:pt x="694483" y="497027"/>
                      <a:pt x="524671" y="497158"/>
                    </a:cubicBezTo>
                    <a:cubicBezTo>
                      <a:pt x="354337" y="497289"/>
                      <a:pt x="178124" y="497419"/>
                      <a:pt x="4393" y="497419"/>
                    </a:cubicBezTo>
                    <a:close/>
                    <a:moveTo>
                      <a:pt x="7136" y="6662"/>
                    </a:moveTo>
                    <a:cubicBezTo>
                      <a:pt x="5046" y="117954"/>
                      <a:pt x="5699" y="226765"/>
                      <a:pt x="6483" y="331918"/>
                    </a:cubicBezTo>
                    <a:cubicBezTo>
                      <a:pt x="6875" y="384167"/>
                      <a:pt x="7267" y="438115"/>
                      <a:pt x="7267" y="491802"/>
                    </a:cubicBezTo>
                    <a:cubicBezTo>
                      <a:pt x="180083" y="491802"/>
                      <a:pt x="355251" y="491672"/>
                      <a:pt x="524671" y="491541"/>
                    </a:cubicBezTo>
                    <a:cubicBezTo>
                      <a:pt x="693438" y="491410"/>
                      <a:pt x="868084" y="491280"/>
                      <a:pt x="1039463" y="491280"/>
                    </a:cubicBezTo>
                    <a:cubicBezTo>
                      <a:pt x="1039463" y="425314"/>
                      <a:pt x="1040117" y="362876"/>
                      <a:pt x="1040639" y="302396"/>
                    </a:cubicBezTo>
                    <a:cubicBezTo>
                      <a:pt x="1041553" y="202076"/>
                      <a:pt x="1042468" y="107243"/>
                      <a:pt x="1040770" y="5878"/>
                    </a:cubicBezTo>
                    <a:cubicBezTo>
                      <a:pt x="916023" y="5878"/>
                      <a:pt x="788795" y="6401"/>
                      <a:pt x="665746" y="6792"/>
                    </a:cubicBezTo>
                    <a:cubicBezTo>
                      <a:pt x="449954" y="7576"/>
                      <a:pt x="226847" y="8491"/>
                      <a:pt x="7136" y="679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36" name="Graphic 717">
              <a:extLst>
                <a:ext uri="{FF2B5EF4-FFF2-40B4-BE49-F238E27FC236}">
                  <a16:creationId xmlns:a16="http://schemas.microsoft.com/office/drawing/2014/main" id="{664D07D2-3487-0948-E9DE-62593A433552}"/>
                </a:ext>
              </a:extLst>
            </p:cNvPr>
            <p:cNvGrpSpPr/>
            <p:nvPr/>
          </p:nvGrpSpPr>
          <p:grpSpPr>
            <a:xfrm>
              <a:off x="628133" y="2898566"/>
              <a:ext cx="302265" cy="152439"/>
              <a:chOff x="628133" y="2898566"/>
              <a:chExt cx="302265" cy="152439"/>
            </a:xfrm>
            <a:grpFill/>
          </p:grpSpPr>
          <p:sp>
            <p:nvSpPr>
              <p:cNvPr id="47" name="Freeform: Shape 46">
                <a:extLst>
                  <a:ext uri="{FF2B5EF4-FFF2-40B4-BE49-F238E27FC236}">
                    <a16:creationId xmlns:a16="http://schemas.microsoft.com/office/drawing/2014/main" id="{96C2667A-F315-AE8A-73F6-8F15732D9805}"/>
                  </a:ext>
                </a:extLst>
              </p:cNvPr>
              <p:cNvSpPr/>
              <p:nvPr/>
            </p:nvSpPr>
            <p:spPr>
              <a:xfrm>
                <a:off x="628133" y="2898566"/>
                <a:ext cx="211612" cy="6923"/>
              </a:xfrm>
              <a:custGeom>
                <a:avLst/>
                <a:gdLst>
                  <a:gd name="connsiteX0" fmla="*/ 208738 w 211612"/>
                  <a:gd name="connsiteY0" fmla="*/ 6923 h 6923"/>
                  <a:gd name="connsiteX1" fmla="*/ 208738 w 211612"/>
                  <a:gd name="connsiteY1" fmla="*/ 6923 h 6923"/>
                  <a:gd name="connsiteX2" fmla="*/ 2874 w 211612"/>
                  <a:gd name="connsiteY2" fmla="*/ 5747 h 6923"/>
                  <a:gd name="connsiteX3" fmla="*/ 0 w 211612"/>
                  <a:gd name="connsiteY3" fmla="*/ 2874 h 6923"/>
                  <a:gd name="connsiteX4" fmla="*/ 2874 w 211612"/>
                  <a:gd name="connsiteY4" fmla="*/ 0 h 6923"/>
                  <a:gd name="connsiteX5" fmla="*/ 2874 w 211612"/>
                  <a:gd name="connsiteY5" fmla="*/ 0 h 6923"/>
                  <a:gd name="connsiteX6" fmla="*/ 208738 w 211612"/>
                  <a:gd name="connsiteY6" fmla="*/ 1176 h 6923"/>
                  <a:gd name="connsiteX7" fmla="*/ 211612 w 211612"/>
                  <a:gd name="connsiteY7" fmla="*/ 4049 h 6923"/>
                  <a:gd name="connsiteX8" fmla="*/ 208738 w 211612"/>
                  <a:gd name="connsiteY8" fmla="*/ 6923 h 6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612" h="6923">
                    <a:moveTo>
                      <a:pt x="208738" y="6923"/>
                    </a:moveTo>
                    <a:lnTo>
                      <a:pt x="208738" y="6923"/>
                    </a:lnTo>
                    <a:lnTo>
                      <a:pt x="2874" y="5747"/>
                    </a:lnTo>
                    <a:cubicBezTo>
                      <a:pt x="1306" y="5747"/>
                      <a:pt x="0" y="4441"/>
                      <a:pt x="0" y="2874"/>
                    </a:cubicBezTo>
                    <a:cubicBezTo>
                      <a:pt x="0" y="1306"/>
                      <a:pt x="1306" y="0"/>
                      <a:pt x="2874" y="0"/>
                    </a:cubicBezTo>
                    <a:lnTo>
                      <a:pt x="2874" y="0"/>
                    </a:lnTo>
                    <a:lnTo>
                      <a:pt x="208738" y="1176"/>
                    </a:lnTo>
                    <a:cubicBezTo>
                      <a:pt x="210306" y="1176"/>
                      <a:pt x="211612" y="2482"/>
                      <a:pt x="211612" y="4049"/>
                    </a:cubicBezTo>
                    <a:cubicBezTo>
                      <a:pt x="211612" y="5617"/>
                      <a:pt x="210306" y="6923"/>
                      <a:pt x="208738" y="692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0376C4D4-3060-E008-9A20-8958B9DC772A}"/>
                  </a:ext>
                </a:extLst>
              </p:cNvPr>
              <p:cNvSpPr/>
              <p:nvPr/>
            </p:nvSpPr>
            <p:spPr>
              <a:xfrm>
                <a:off x="628133" y="2971324"/>
                <a:ext cx="302265" cy="6923"/>
              </a:xfrm>
              <a:custGeom>
                <a:avLst/>
                <a:gdLst>
                  <a:gd name="connsiteX0" fmla="*/ 299392 w 302265"/>
                  <a:gd name="connsiteY0" fmla="*/ 6923 h 6923"/>
                  <a:gd name="connsiteX1" fmla="*/ 299392 w 302265"/>
                  <a:gd name="connsiteY1" fmla="*/ 6923 h 6923"/>
                  <a:gd name="connsiteX2" fmla="*/ 2874 w 302265"/>
                  <a:gd name="connsiteY2" fmla="*/ 5747 h 6923"/>
                  <a:gd name="connsiteX3" fmla="*/ 0 w 302265"/>
                  <a:gd name="connsiteY3" fmla="*/ 2874 h 6923"/>
                  <a:gd name="connsiteX4" fmla="*/ 2874 w 302265"/>
                  <a:gd name="connsiteY4" fmla="*/ 0 h 6923"/>
                  <a:gd name="connsiteX5" fmla="*/ 2874 w 302265"/>
                  <a:gd name="connsiteY5" fmla="*/ 0 h 6923"/>
                  <a:gd name="connsiteX6" fmla="*/ 299392 w 302265"/>
                  <a:gd name="connsiteY6" fmla="*/ 1176 h 6923"/>
                  <a:gd name="connsiteX7" fmla="*/ 302266 w 302265"/>
                  <a:gd name="connsiteY7" fmla="*/ 4049 h 6923"/>
                  <a:gd name="connsiteX8" fmla="*/ 299392 w 302265"/>
                  <a:gd name="connsiteY8" fmla="*/ 6923 h 6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265" h="6923">
                    <a:moveTo>
                      <a:pt x="299392" y="6923"/>
                    </a:moveTo>
                    <a:lnTo>
                      <a:pt x="299392" y="6923"/>
                    </a:lnTo>
                    <a:lnTo>
                      <a:pt x="2874" y="5747"/>
                    </a:lnTo>
                    <a:cubicBezTo>
                      <a:pt x="1306" y="5747"/>
                      <a:pt x="0" y="4441"/>
                      <a:pt x="0" y="2874"/>
                    </a:cubicBezTo>
                    <a:cubicBezTo>
                      <a:pt x="0" y="1306"/>
                      <a:pt x="1306" y="0"/>
                      <a:pt x="2874" y="0"/>
                    </a:cubicBezTo>
                    <a:lnTo>
                      <a:pt x="2874" y="0"/>
                    </a:lnTo>
                    <a:lnTo>
                      <a:pt x="299392" y="1176"/>
                    </a:lnTo>
                    <a:cubicBezTo>
                      <a:pt x="300959" y="1176"/>
                      <a:pt x="302266" y="2482"/>
                      <a:pt x="302266" y="4049"/>
                    </a:cubicBezTo>
                    <a:cubicBezTo>
                      <a:pt x="302266" y="5617"/>
                      <a:pt x="300959" y="6923"/>
                      <a:pt x="299392" y="692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D5E602C6-AF18-47E7-0FED-F6C56B0CC910}"/>
                  </a:ext>
                </a:extLst>
              </p:cNvPr>
              <p:cNvSpPr/>
              <p:nvPr/>
            </p:nvSpPr>
            <p:spPr>
              <a:xfrm>
                <a:off x="628133" y="3044082"/>
                <a:ext cx="231858" cy="6923"/>
              </a:xfrm>
              <a:custGeom>
                <a:avLst/>
                <a:gdLst>
                  <a:gd name="connsiteX0" fmla="*/ 228985 w 231858"/>
                  <a:gd name="connsiteY0" fmla="*/ 6923 h 6923"/>
                  <a:gd name="connsiteX1" fmla="*/ 228985 w 231858"/>
                  <a:gd name="connsiteY1" fmla="*/ 6923 h 6923"/>
                  <a:gd name="connsiteX2" fmla="*/ 2874 w 231858"/>
                  <a:gd name="connsiteY2" fmla="*/ 5747 h 6923"/>
                  <a:gd name="connsiteX3" fmla="*/ 0 w 231858"/>
                  <a:gd name="connsiteY3" fmla="*/ 2874 h 6923"/>
                  <a:gd name="connsiteX4" fmla="*/ 2874 w 231858"/>
                  <a:gd name="connsiteY4" fmla="*/ 0 h 6923"/>
                  <a:gd name="connsiteX5" fmla="*/ 2874 w 231858"/>
                  <a:gd name="connsiteY5" fmla="*/ 0 h 6923"/>
                  <a:gd name="connsiteX6" fmla="*/ 228985 w 231858"/>
                  <a:gd name="connsiteY6" fmla="*/ 1176 h 6923"/>
                  <a:gd name="connsiteX7" fmla="*/ 231859 w 231858"/>
                  <a:gd name="connsiteY7" fmla="*/ 4049 h 6923"/>
                  <a:gd name="connsiteX8" fmla="*/ 228985 w 231858"/>
                  <a:gd name="connsiteY8" fmla="*/ 6923 h 6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858" h="6923">
                    <a:moveTo>
                      <a:pt x="228985" y="6923"/>
                    </a:moveTo>
                    <a:lnTo>
                      <a:pt x="228985" y="6923"/>
                    </a:lnTo>
                    <a:lnTo>
                      <a:pt x="2874" y="5747"/>
                    </a:lnTo>
                    <a:cubicBezTo>
                      <a:pt x="1306" y="5747"/>
                      <a:pt x="0" y="4441"/>
                      <a:pt x="0" y="2874"/>
                    </a:cubicBezTo>
                    <a:cubicBezTo>
                      <a:pt x="0" y="1306"/>
                      <a:pt x="1306" y="0"/>
                      <a:pt x="2874" y="0"/>
                    </a:cubicBezTo>
                    <a:lnTo>
                      <a:pt x="2874" y="0"/>
                    </a:lnTo>
                    <a:lnTo>
                      <a:pt x="228985" y="1176"/>
                    </a:lnTo>
                    <a:cubicBezTo>
                      <a:pt x="230553" y="1176"/>
                      <a:pt x="231859" y="2482"/>
                      <a:pt x="231859" y="4049"/>
                    </a:cubicBezTo>
                    <a:cubicBezTo>
                      <a:pt x="231859" y="5617"/>
                      <a:pt x="230553" y="6923"/>
                      <a:pt x="228985" y="692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37" name="Graphic 717">
              <a:extLst>
                <a:ext uri="{FF2B5EF4-FFF2-40B4-BE49-F238E27FC236}">
                  <a16:creationId xmlns:a16="http://schemas.microsoft.com/office/drawing/2014/main" id="{71F69F26-34F6-15CD-C0B4-0A0E069F3635}"/>
                </a:ext>
              </a:extLst>
            </p:cNvPr>
            <p:cNvGrpSpPr/>
            <p:nvPr/>
          </p:nvGrpSpPr>
          <p:grpSpPr>
            <a:xfrm>
              <a:off x="148870" y="2820321"/>
              <a:ext cx="350147" cy="351641"/>
              <a:chOff x="148870" y="2820321"/>
              <a:chExt cx="350147" cy="351641"/>
            </a:xfrm>
            <a:grpFill/>
          </p:grpSpPr>
          <p:grpSp>
            <p:nvGrpSpPr>
              <p:cNvPr id="38" name="Graphic 717">
                <a:extLst>
                  <a:ext uri="{FF2B5EF4-FFF2-40B4-BE49-F238E27FC236}">
                    <a16:creationId xmlns:a16="http://schemas.microsoft.com/office/drawing/2014/main" id="{314BE0E0-D14E-1288-E3C2-A3FE0FBE3EC0}"/>
                  </a:ext>
                </a:extLst>
              </p:cNvPr>
              <p:cNvGrpSpPr/>
              <p:nvPr/>
            </p:nvGrpSpPr>
            <p:grpSpPr>
              <a:xfrm>
                <a:off x="171419" y="2820321"/>
                <a:ext cx="299712" cy="125661"/>
                <a:chOff x="171419" y="2820321"/>
                <a:chExt cx="299712" cy="125661"/>
              </a:xfrm>
              <a:grpFill/>
            </p:grpSpPr>
            <p:sp>
              <p:nvSpPr>
                <p:cNvPr id="45" name="Freeform: Shape 44">
                  <a:extLst>
                    <a:ext uri="{FF2B5EF4-FFF2-40B4-BE49-F238E27FC236}">
                      <a16:creationId xmlns:a16="http://schemas.microsoft.com/office/drawing/2014/main" id="{863894BB-F839-BECE-D952-71A0BDED8D9D}"/>
                    </a:ext>
                  </a:extLst>
                </p:cNvPr>
                <p:cNvSpPr/>
                <p:nvPr/>
              </p:nvSpPr>
              <p:spPr>
                <a:xfrm>
                  <a:off x="174342" y="2822934"/>
                  <a:ext cx="294297" cy="120044"/>
                </a:xfrm>
                <a:custGeom>
                  <a:avLst/>
                  <a:gdLst>
                    <a:gd name="connsiteX0" fmla="*/ 14107 w 294297"/>
                    <a:gd name="connsiteY0" fmla="*/ 93005 h 120044"/>
                    <a:gd name="connsiteX1" fmla="*/ 0 w 294297"/>
                    <a:gd name="connsiteY1" fmla="*/ 84122 h 120044"/>
                    <a:gd name="connsiteX2" fmla="*/ 139638 w 294297"/>
                    <a:gd name="connsiteY2" fmla="*/ 0 h 120044"/>
                    <a:gd name="connsiteX3" fmla="*/ 249755 w 294297"/>
                    <a:gd name="connsiteY3" fmla="*/ 27562 h 120044"/>
                    <a:gd name="connsiteX4" fmla="*/ 294298 w 294297"/>
                    <a:gd name="connsiteY4" fmla="*/ 75762 h 120044"/>
                    <a:gd name="connsiteX5" fmla="*/ 277839 w 294297"/>
                    <a:gd name="connsiteY5" fmla="*/ 86343 h 120044"/>
                    <a:gd name="connsiteX6" fmla="*/ 237737 w 294297"/>
                    <a:gd name="connsiteY6" fmla="*/ 112337 h 120044"/>
                    <a:gd name="connsiteX7" fmla="*/ 139507 w 294297"/>
                    <a:gd name="connsiteY7" fmla="*/ 61002 h 120044"/>
                    <a:gd name="connsiteX8" fmla="*/ 52772 w 294297"/>
                    <a:gd name="connsiteY8" fmla="*/ 120044 h 120044"/>
                    <a:gd name="connsiteX9" fmla="*/ 14238 w 294297"/>
                    <a:gd name="connsiteY9" fmla="*/ 92874 h 12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297" h="120044">
                      <a:moveTo>
                        <a:pt x="14107" y="93005"/>
                      </a:moveTo>
                      <a:cubicBezTo>
                        <a:pt x="9405" y="90000"/>
                        <a:pt x="4702" y="86996"/>
                        <a:pt x="0" y="84122"/>
                      </a:cubicBezTo>
                      <a:cubicBezTo>
                        <a:pt x="34224" y="21814"/>
                        <a:pt x="99275" y="2874"/>
                        <a:pt x="139638" y="0"/>
                      </a:cubicBezTo>
                      <a:cubicBezTo>
                        <a:pt x="177911" y="1176"/>
                        <a:pt x="204297" y="1176"/>
                        <a:pt x="249755" y="27562"/>
                      </a:cubicBezTo>
                      <a:cubicBezTo>
                        <a:pt x="261250" y="34224"/>
                        <a:pt x="279145" y="50682"/>
                        <a:pt x="294298" y="75762"/>
                      </a:cubicBezTo>
                      <a:cubicBezTo>
                        <a:pt x="288811" y="79289"/>
                        <a:pt x="283325" y="82816"/>
                        <a:pt x="277839" y="86343"/>
                      </a:cubicBezTo>
                      <a:cubicBezTo>
                        <a:pt x="264515" y="94964"/>
                        <a:pt x="251061" y="103585"/>
                        <a:pt x="237737" y="112337"/>
                      </a:cubicBezTo>
                      <a:cubicBezTo>
                        <a:pt x="219319" y="78375"/>
                        <a:pt x="182744" y="61002"/>
                        <a:pt x="139507" y="61002"/>
                      </a:cubicBezTo>
                      <a:cubicBezTo>
                        <a:pt x="96270" y="61002"/>
                        <a:pt x="68056" y="89478"/>
                        <a:pt x="52772" y="120044"/>
                      </a:cubicBezTo>
                      <a:cubicBezTo>
                        <a:pt x="40232" y="110509"/>
                        <a:pt x="27431" y="101365"/>
                        <a:pt x="14238" y="9287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7ACAC76E-377C-75CA-7BFA-43CCE3B31B36}"/>
                    </a:ext>
                  </a:extLst>
                </p:cNvPr>
                <p:cNvSpPr/>
                <p:nvPr/>
              </p:nvSpPr>
              <p:spPr>
                <a:xfrm>
                  <a:off x="171419" y="2820321"/>
                  <a:ext cx="299712" cy="125661"/>
                </a:xfrm>
                <a:custGeom>
                  <a:avLst/>
                  <a:gdLst>
                    <a:gd name="connsiteX0" fmla="*/ 55565 w 299712"/>
                    <a:gd name="connsiteY0" fmla="*/ 125661 h 125661"/>
                    <a:gd name="connsiteX1" fmla="*/ 53866 w 299712"/>
                    <a:gd name="connsiteY1" fmla="*/ 125139 h 125661"/>
                    <a:gd name="connsiteX2" fmla="*/ 15463 w 299712"/>
                    <a:gd name="connsiteY2" fmla="*/ 98099 h 125661"/>
                    <a:gd name="connsiteX3" fmla="*/ 1355 w 299712"/>
                    <a:gd name="connsiteY3" fmla="*/ 89347 h 125661"/>
                    <a:gd name="connsiteX4" fmla="*/ 310 w 299712"/>
                    <a:gd name="connsiteY4" fmla="*/ 85559 h 125661"/>
                    <a:gd name="connsiteX5" fmla="*/ 142169 w 299712"/>
                    <a:gd name="connsiteY5" fmla="*/ 0 h 125661"/>
                    <a:gd name="connsiteX6" fmla="*/ 142430 w 299712"/>
                    <a:gd name="connsiteY6" fmla="*/ 0 h 125661"/>
                    <a:gd name="connsiteX7" fmla="*/ 146087 w 299712"/>
                    <a:gd name="connsiteY7" fmla="*/ 0 h 125661"/>
                    <a:gd name="connsiteX8" fmla="*/ 253853 w 299712"/>
                    <a:gd name="connsiteY8" fmla="*/ 27954 h 125661"/>
                    <a:gd name="connsiteX9" fmla="*/ 299310 w 299712"/>
                    <a:gd name="connsiteY9" fmla="*/ 77069 h 125661"/>
                    <a:gd name="connsiteX10" fmla="*/ 298396 w 299712"/>
                    <a:gd name="connsiteY10" fmla="*/ 80857 h 125661"/>
                    <a:gd name="connsiteX11" fmla="*/ 281937 w 299712"/>
                    <a:gd name="connsiteY11" fmla="*/ 91437 h 125661"/>
                    <a:gd name="connsiteX12" fmla="*/ 274361 w 299712"/>
                    <a:gd name="connsiteY12" fmla="*/ 96270 h 125661"/>
                    <a:gd name="connsiteX13" fmla="*/ 241835 w 299712"/>
                    <a:gd name="connsiteY13" fmla="*/ 117432 h 125661"/>
                    <a:gd name="connsiteX14" fmla="*/ 239615 w 299712"/>
                    <a:gd name="connsiteY14" fmla="*/ 117824 h 125661"/>
                    <a:gd name="connsiteX15" fmla="*/ 237786 w 299712"/>
                    <a:gd name="connsiteY15" fmla="*/ 116387 h 125661"/>
                    <a:gd name="connsiteX16" fmla="*/ 142038 w 299712"/>
                    <a:gd name="connsiteY16" fmla="*/ 66619 h 125661"/>
                    <a:gd name="connsiteX17" fmla="*/ 57785 w 299712"/>
                    <a:gd name="connsiteY17" fmla="*/ 124094 h 125661"/>
                    <a:gd name="connsiteX18" fmla="*/ 55956 w 299712"/>
                    <a:gd name="connsiteY18" fmla="*/ 125530 h 125661"/>
                    <a:gd name="connsiteX19" fmla="*/ 55303 w 299712"/>
                    <a:gd name="connsiteY19" fmla="*/ 125530 h 125661"/>
                    <a:gd name="connsiteX20" fmla="*/ 6711 w 299712"/>
                    <a:gd name="connsiteY20" fmla="*/ 85820 h 125661"/>
                    <a:gd name="connsiteX21" fmla="*/ 18598 w 299712"/>
                    <a:gd name="connsiteY21" fmla="*/ 93266 h 125661"/>
                    <a:gd name="connsiteX22" fmla="*/ 18598 w 299712"/>
                    <a:gd name="connsiteY22" fmla="*/ 93266 h 125661"/>
                    <a:gd name="connsiteX23" fmla="*/ 54650 w 299712"/>
                    <a:gd name="connsiteY23" fmla="*/ 118607 h 125661"/>
                    <a:gd name="connsiteX24" fmla="*/ 142299 w 299712"/>
                    <a:gd name="connsiteY24" fmla="*/ 61002 h 125661"/>
                    <a:gd name="connsiteX25" fmla="*/ 241574 w 299712"/>
                    <a:gd name="connsiteY25" fmla="*/ 111162 h 125661"/>
                    <a:gd name="connsiteX26" fmla="*/ 271618 w 299712"/>
                    <a:gd name="connsiteY26" fmla="*/ 91699 h 125661"/>
                    <a:gd name="connsiteX27" fmla="*/ 279194 w 299712"/>
                    <a:gd name="connsiteY27" fmla="*/ 86865 h 125661"/>
                    <a:gd name="connsiteX28" fmla="*/ 293302 w 299712"/>
                    <a:gd name="connsiteY28" fmla="*/ 77722 h 125661"/>
                    <a:gd name="connsiteX29" fmla="*/ 251240 w 299712"/>
                    <a:gd name="connsiteY29" fmla="*/ 32918 h 125661"/>
                    <a:gd name="connsiteX30" fmla="*/ 146087 w 299712"/>
                    <a:gd name="connsiteY30" fmla="*/ 5748 h 125661"/>
                    <a:gd name="connsiteX31" fmla="*/ 142561 w 299712"/>
                    <a:gd name="connsiteY31" fmla="*/ 5748 h 125661"/>
                    <a:gd name="connsiteX32" fmla="*/ 6711 w 299712"/>
                    <a:gd name="connsiteY32" fmla="*/ 85951 h 12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9712" h="125661">
                      <a:moveTo>
                        <a:pt x="55565" y="125661"/>
                      </a:moveTo>
                      <a:cubicBezTo>
                        <a:pt x="55565" y="125661"/>
                        <a:pt x="54389" y="125400"/>
                        <a:pt x="53866" y="125139"/>
                      </a:cubicBezTo>
                      <a:cubicBezTo>
                        <a:pt x="40020" y="114689"/>
                        <a:pt x="27480" y="105806"/>
                        <a:pt x="15463" y="98099"/>
                      </a:cubicBezTo>
                      <a:cubicBezTo>
                        <a:pt x="11152" y="95356"/>
                        <a:pt x="6580" y="92482"/>
                        <a:pt x="1355" y="89347"/>
                      </a:cubicBezTo>
                      <a:cubicBezTo>
                        <a:pt x="49" y="88564"/>
                        <a:pt x="-343" y="86865"/>
                        <a:pt x="310" y="85559"/>
                      </a:cubicBezTo>
                      <a:cubicBezTo>
                        <a:pt x="40281" y="12801"/>
                        <a:pt x="119048" y="1698"/>
                        <a:pt x="142169" y="0"/>
                      </a:cubicBezTo>
                      <a:cubicBezTo>
                        <a:pt x="142169" y="0"/>
                        <a:pt x="142430" y="0"/>
                        <a:pt x="142430" y="0"/>
                      </a:cubicBezTo>
                      <a:lnTo>
                        <a:pt x="146087" y="0"/>
                      </a:lnTo>
                      <a:cubicBezTo>
                        <a:pt x="182793" y="1306"/>
                        <a:pt x="209179" y="2090"/>
                        <a:pt x="253853" y="27954"/>
                      </a:cubicBezTo>
                      <a:cubicBezTo>
                        <a:pt x="265609" y="34746"/>
                        <a:pt x="283766" y="51336"/>
                        <a:pt x="299310" y="77069"/>
                      </a:cubicBezTo>
                      <a:cubicBezTo>
                        <a:pt x="300094" y="78375"/>
                        <a:pt x="299702" y="80073"/>
                        <a:pt x="298396" y="80857"/>
                      </a:cubicBezTo>
                      <a:cubicBezTo>
                        <a:pt x="292910" y="84384"/>
                        <a:pt x="287424" y="87911"/>
                        <a:pt x="281937" y="91437"/>
                      </a:cubicBezTo>
                      <a:lnTo>
                        <a:pt x="274361" y="96270"/>
                      </a:lnTo>
                      <a:cubicBezTo>
                        <a:pt x="263519" y="103324"/>
                        <a:pt x="252677" y="110247"/>
                        <a:pt x="241835" y="117432"/>
                      </a:cubicBezTo>
                      <a:cubicBezTo>
                        <a:pt x="241182" y="117824"/>
                        <a:pt x="240399" y="117954"/>
                        <a:pt x="239615" y="117824"/>
                      </a:cubicBezTo>
                      <a:cubicBezTo>
                        <a:pt x="238831" y="117693"/>
                        <a:pt x="238178" y="117170"/>
                        <a:pt x="237786" y="116387"/>
                      </a:cubicBezTo>
                      <a:cubicBezTo>
                        <a:pt x="220544" y="84776"/>
                        <a:pt x="185667" y="66619"/>
                        <a:pt x="142038" y="66619"/>
                      </a:cubicBezTo>
                      <a:cubicBezTo>
                        <a:pt x="93707" y="66619"/>
                        <a:pt x="68496" y="102671"/>
                        <a:pt x="57785" y="124094"/>
                      </a:cubicBezTo>
                      <a:cubicBezTo>
                        <a:pt x="57393" y="124877"/>
                        <a:pt x="56740" y="125400"/>
                        <a:pt x="55956" y="125530"/>
                      </a:cubicBezTo>
                      <a:cubicBezTo>
                        <a:pt x="55695" y="125530"/>
                        <a:pt x="55565" y="125530"/>
                        <a:pt x="55303" y="125530"/>
                      </a:cubicBezTo>
                      <a:close/>
                      <a:moveTo>
                        <a:pt x="6711" y="85820"/>
                      </a:moveTo>
                      <a:cubicBezTo>
                        <a:pt x="11021" y="88433"/>
                        <a:pt x="14940" y="90915"/>
                        <a:pt x="18598" y="93266"/>
                      </a:cubicBezTo>
                      <a:lnTo>
                        <a:pt x="18598" y="93266"/>
                      </a:lnTo>
                      <a:cubicBezTo>
                        <a:pt x="29962" y="100581"/>
                        <a:pt x="41718" y="108810"/>
                        <a:pt x="54650" y="118607"/>
                      </a:cubicBezTo>
                      <a:cubicBezTo>
                        <a:pt x="66798" y="95748"/>
                        <a:pt x="93184" y="61002"/>
                        <a:pt x="142299" y="61002"/>
                      </a:cubicBezTo>
                      <a:cubicBezTo>
                        <a:pt x="186842" y="61002"/>
                        <a:pt x="222895" y="79159"/>
                        <a:pt x="241574" y="111162"/>
                      </a:cubicBezTo>
                      <a:cubicBezTo>
                        <a:pt x="251502" y="104630"/>
                        <a:pt x="261560" y="98230"/>
                        <a:pt x="271618" y="91699"/>
                      </a:cubicBezTo>
                      <a:lnTo>
                        <a:pt x="279194" y="86865"/>
                      </a:lnTo>
                      <a:cubicBezTo>
                        <a:pt x="283897" y="83861"/>
                        <a:pt x="288599" y="80726"/>
                        <a:pt x="293302" y="77722"/>
                      </a:cubicBezTo>
                      <a:cubicBezTo>
                        <a:pt x="278541" y="54079"/>
                        <a:pt x="261560" y="38926"/>
                        <a:pt x="251240" y="32918"/>
                      </a:cubicBezTo>
                      <a:cubicBezTo>
                        <a:pt x="207873" y="7707"/>
                        <a:pt x="182009" y="6923"/>
                        <a:pt x="146087" y="5748"/>
                      </a:cubicBezTo>
                      <a:lnTo>
                        <a:pt x="142561" y="5748"/>
                      </a:lnTo>
                      <a:cubicBezTo>
                        <a:pt x="120224" y="7315"/>
                        <a:pt x="45506" y="17896"/>
                        <a:pt x="6711" y="8595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39" name="Graphic 717">
                <a:extLst>
                  <a:ext uri="{FF2B5EF4-FFF2-40B4-BE49-F238E27FC236}">
                    <a16:creationId xmlns:a16="http://schemas.microsoft.com/office/drawing/2014/main" id="{04084022-A6C6-BA03-34FB-2C18AC6D7A76}"/>
                  </a:ext>
                </a:extLst>
              </p:cNvPr>
              <p:cNvGrpSpPr/>
              <p:nvPr/>
            </p:nvGrpSpPr>
            <p:grpSpPr>
              <a:xfrm>
                <a:off x="336792" y="2943279"/>
                <a:ext cx="162225" cy="225810"/>
                <a:chOff x="336792" y="2943279"/>
                <a:chExt cx="162225" cy="225810"/>
              </a:xfrm>
              <a:grpFill/>
            </p:grpSpPr>
            <p:sp>
              <p:nvSpPr>
                <p:cNvPr id="43" name="Freeform: Shape 42">
                  <a:extLst>
                    <a:ext uri="{FF2B5EF4-FFF2-40B4-BE49-F238E27FC236}">
                      <a16:creationId xmlns:a16="http://schemas.microsoft.com/office/drawing/2014/main" id="{C85B3CC8-E7AB-427E-364D-1F937B86A00B}"/>
                    </a:ext>
                  </a:extLst>
                </p:cNvPr>
                <p:cNvSpPr/>
                <p:nvPr/>
              </p:nvSpPr>
              <p:spPr>
                <a:xfrm>
                  <a:off x="339452" y="2945852"/>
                  <a:ext cx="156426" cy="220233"/>
                </a:xfrm>
                <a:custGeom>
                  <a:avLst/>
                  <a:gdLst>
                    <a:gd name="connsiteX0" fmla="*/ 8360 w 156426"/>
                    <a:gd name="connsiteY0" fmla="*/ 200901 h 220233"/>
                    <a:gd name="connsiteX1" fmla="*/ 0 w 156426"/>
                    <a:gd name="connsiteY1" fmla="*/ 157403 h 220233"/>
                    <a:gd name="connsiteX2" fmla="*/ 32264 w 156426"/>
                    <a:gd name="connsiteY2" fmla="*/ 150218 h 220233"/>
                    <a:gd name="connsiteX3" fmla="*/ 57214 w 156426"/>
                    <a:gd name="connsiteY3" fmla="*/ 132584 h 220233"/>
                    <a:gd name="connsiteX4" fmla="*/ 85298 w 156426"/>
                    <a:gd name="connsiteY4" fmla="*/ 75109 h 220233"/>
                    <a:gd name="connsiteX5" fmla="*/ 85298 w 156426"/>
                    <a:gd name="connsiteY5" fmla="*/ 38142 h 220233"/>
                    <a:gd name="connsiteX6" fmla="*/ 82555 w 156426"/>
                    <a:gd name="connsiteY6" fmla="*/ 17373 h 220233"/>
                    <a:gd name="connsiteX7" fmla="*/ 149304 w 156426"/>
                    <a:gd name="connsiteY7" fmla="*/ 0 h 220233"/>
                    <a:gd name="connsiteX8" fmla="*/ 145385 w 156426"/>
                    <a:gd name="connsiteY8" fmla="*/ 121612 h 220233"/>
                    <a:gd name="connsiteX9" fmla="*/ 12932 w 156426"/>
                    <a:gd name="connsiteY9" fmla="*/ 220233 h 220233"/>
                    <a:gd name="connsiteX10" fmla="*/ 8360 w 156426"/>
                    <a:gd name="connsiteY10" fmla="*/ 200901 h 22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426" h="220233">
                      <a:moveTo>
                        <a:pt x="8360" y="200901"/>
                      </a:moveTo>
                      <a:cubicBezTo>
                        <a:pt x="5878" y="186402"/>
                        <a:pt x="3135" y="171902"/>
                        <a:pt x="0" y="157403"/>
                      </a:cubicBezTo>
                      <a:cubicBezTo>
                        <a:pt x="10842" y="156358"/>
                        <a:pt x="22076" y="154398"/>
                        <a:pt x="32264" y="150218"/>
                      </a:cubicBezTo>
                      <a:cubicBezTo>
                        <a:pt x="41669" y="146430"/>
                        <a:pt x="50029" y="139899"/>
                        <a:pt x="57214" y="132584"/>
                      </a:cubicBezTo>
                      <a:cubicBezTo>
                        <a:pt x="72105" y="117170"/>
                        <a:pt x="82294" y="96793"/>
                        <a:pt x="85298" y="75109"/>
                      </a:cubicBezTo>
                      <a:cubicBezTo>
                        <a:pt x="86996" y="62831"/>
                        <a:pt x="85951" y="50552"/>
                        <a:pt x="85298" y="38142"/>
                      </a:cubicBezTo>
                      <a:cubicBezTo>
                        <a:pt x="84906" y="30827"/>
                        <a:pt x="83992" y="23904"/>
                        <a:pt x="82555" y="17373"/>
                      </a:cubicBezTo>
                      <a:cubicBezTo>
                        <a:pt x="104892" y="12017"/>
                        <a:pt x="126837" y="4964"/>
                        <a:pt x="149304" y="0"/>
                      </a:cubicBezTo>
                      <a:cubicBezTo>
                        <a:pt x="158578" y="33309"/>
                        <a:pt x="160277" y="74195"/>
                        <a:pt x="145385" y="121612"/>
                      </a:cubicBezTo>
                      <a:cubicBezTo>
                        <a:pt x="124485" y="187838"/>
                        <a:pt x="62961" y="212265"/>
                        <a:pt x="12932" y="220233"/>
                      </a:cubicBezTo>
                      <a:cubicBezTo>
                        <a:pt x="11495" y="213702"/>
                        <a:pt x="9927" y="207302"/>
                        <a:pt x="8360" y="20090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0BBF9676-2A57-96FE-32E1-127E03682F8C}"/>
                    </a:ext>
                  </a:extLst>
                </p:cNvPr>
                <p:cNvSpPr/>
                <p:nvPr/>
              </p:nvSpPr>
              <p:spPr>
                <a:xfrm>
                  <a:off x="336792" y="2943279"/>
                  <a:ext cx="162225" cy="225810"/>
                </a:xfrm>
                <a:custGeom>
                  <a:avLst/>
                  <a:gdLst>
                    <a:gd name="connsiteX0" fmla="*/ 15591 w 162225"/>
                    <a:gd name="connsiteY0" fmla="*/ 225680 h 225810"/>
                    <a:gd name="connsiteX1" fmla="*/ 12848 w 162225"/>
                    <a:gd name="connsiteY1" fmla="*/ 223459 h 225810"/>
                    <a:gd name="connsiteX2" fmla="*/ 8276 w 162225"/>
                    <a:gd name="connsiteY2" fmla="*/ 204258 h 225810"/>
                    <a:gd name="connsiteX3" fmla="*/ 8276 w 162225"/>
                    <a:gd name="connsiteY3" fmla="*/ 203996 h 225810"/>
                    <a:gd name="connsiteX4" fmla="*/ 47 w 162225"/>
                    <a:gd name="connsiteY4" fmla="*/ 160629 h 225810"/>
                    <a:gd name="connsiteX5" fmla="*/ 570 w 162225"/>
                    <a:gd name="connsiteY5" fmla="*/ 158408 h 225810"/>
                    <a:gd name="connsiteX6" fmla="*/ 2529 w 162225"/>
                    <a:gd name="connsiteY6" fmla="*/ 157233 h 225810"/>
                    <a:gd name="connsiteX7" fmla="*/ 34010 w 162225"/>
                    <a:gd name="connsiteY7" fmla="*/ 150310 h 225810"/>
                    <a:gd name="connsiteX8" fmla="*/ 57914 w 162225"/>
                    <a:gd name="connsiteY8" fmla="*/ 133328 h 225810"/>
                    <a:gd name="connsiteX9" fmla="*/ 85214 w 162225"/>
                    <a:gd name="connsiteY9" fmla="*/ 77551 h 225810"/>
                    <a:gd name="connsiteX10" fmla="*/ 85606 w 162225"/>
                    <a:gd name="connsiteY10" fmla="*/ 46855 h 225810"/>
                    <a:gd name="connsiteX11" fmla="*/ 85345 w 162225"/>
                    <a:gd name="connsiteY11" fmla="*/ 41107 h 225810"/>
                    <a:gd name="connsiteX12" fmla="*/ 82733 w 162225"/>
                    <a:gd name="connsiteY12" fmla="*/ 20860 h 225810"/>
                    <a:gd name="connsiteX13" fmla="*/ 84823 w 162225"/>
                    <a:gd name="connsiteY13" fmla="*/ 17464 h 225810"/>
                    <a:gd name="connsiteX14" fmla="*/ 115128 w 162225"/>
                    <a:gd name="connsiteY14" fmla="*/ 9496 h 225810"/>
                    <a:gd name="connsiteX15" fmla="*/ 151572 w 162225"/>
                    <a:gd name="connsiteY15" fmla="*/ 91 h 225810"/>
                    <a:gd name="connsiteX16" fmla="*/ 154968 w 162225"/>
                    <a:gd name="connsiteY16" fmla="*/ 2050 h 225810"/>
                    <a:gd name="connsiteX17" fmla="*/ 151049 w 162225"/>
                    <a:gd name="connsiteY17" fmla="*/ 125230 h 225810"/>
                    <a:gd name="connsiteX18" fmla="*/ 16245 w 162225"/>
                    <a:gd name="connsiteY18" fmla="*/ 225811 h 225810"/>
                    <a:gd name="connsiteX19" fmla="*/ 15853 w 162225"/>
                    <a:gd name="connsiteY19" fmla="*/ 225811 h 225810"/>
                    <a:gd name="connsiteX20" fmla="*/ 13763 w 162225"/>
                    <a:gd name="connsiteY20" fmla="*/ 202951 h 225810"/>
                    <a:gd name="connsiteX21" fmla="*/ 17812 w 162225"/>
                    <a:gd name="connsiteY21" fmla="*/ 219671 h 225810"/>
                    <a:gd name="connsiteX22" fmla="*/ 145432 w 162225"/>
                    <a:gd name="connsiteY22" fmla="*/ 123531 h 225810"/>
                    <a:gd name="connsiteX23" fmla="*/ 150004 w 162225"/>
                    <a:gd name="connsiteY23" fmla="*/ 6230 h 225810"/>
                    <a:gd name="connsiteX24" fmla="*/ 116434 w 162225"/>
                    <a:gd name="connsiteY24" fmla="*/ 14982 h 225810"/>
                    <a:gd name="connsiteX25" fmla="*/ 88611 w 162225"/>
                    <a:gd name="connsiteY25" fmla="*/ 22428 h 225810"/>
                    <a:gd name="connsiteX26" fmla="*/ 90831 w 162225"/>
                    <a:gd name="connsiteY26" fmla="*/ 40977 h 225810"/>
                    <a:gd name="connsiteX27" fmla="*/ 91093 w 162225"/>
                    <a:gd name="connsiteY27" fmla="*/ 46724 h 225810"/>
                    <a:gd name="connsiteX28" fmla="*/ 90701 w 162225"/>
                    <a:gd name="connsiteY28" fmla="*/ 78466 h 225810"/>
                    <a:gd name="connsiteX29" fmla="*/ 61833 w 162225"/>
                    <a:gd name="connsiteY29" fmla="*/ 137508 h 225810"/>
                    <a:gd name="connsiteX30" fmla="*/ 35969 w 162225"/>
                    <a:gd name="connsiteY30" fmla="*/ 155796 h 225810"/>
                    <a:gd name="connsiteX31" fmla="*/ 6056 w 162225"/>
                    <a:gd name="connsiteY31" fmla="*/ 162850 h 225810"/>
                    <a:gd name="connsiteX32" fmla="*/ 13763 w 162225"/>
                    <a:gd name="connsiteY32" fmla="*/ 203213 h 225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2225" h="225810">
                      <a:moveTo>
                        <a:pt x="15591" y="225680"/>
                      </a:moveTo>
                      <a:cubicBezTo>
                        <a:pt x="14285" y="225680"/>
                        <a:pt x="13110" y="224766"/>
                        <a:pt x="12848" y="223459"/>
                      </a:cubicBezTo>
                      <a:cubicBezTo>
                        <a:pt x="11542" y="217320"/>
                        <a:pt x="9975" y="211050"/>
                        <a:pt x="8276" y="204258"/>
                      </a:cubicBezTo>
                      <a:cubicBezTo>
                        <a:pt x="8276" y="204258"/>
                        <a:pt x="8276" y="204127"/>
                        <a:pt x="8276" y="203996"/>
                      </a:cubicBezTo>
                      <a:cubicBezTo>
                        <a:pt x="5925" y="190150"/>
                        <a:pt x="3182" y="175912"/>
                        <a:pt x="47" y="160629"/>
                      </a:cubicBezTo>
                      <a:cubicBezTo>
                        <a:pt x="-84" y="159845"/>
                        <a:pt x="47" y="159061"/>
                        <a:pt x="570" y="158408"/>
                      </a:cubicBezTo>
                      <a:cubicBezTo>
                        <a:pt x="1092" y="157755"/>
                        <a:pt x="1745" y="157363"/>
                        <a:pt x="2529" y="157233"/>
                      </a:cubicBezTo>
                      <a:cubicBezTo>
                        <a:pt x="15591" y="155926"/>
                        <a:pt x="25650" y="153706"/>
                        <a:pt x="34010" y="150310"/>
                      </a:cubicBezTo>
                      <a:cubicBezTo>
                        <a:pt x="42108" y="147044"/>
                        <a:pt x="50468" y="141166"/>
                        <a:pt x="57914" y="133328"/>
                      </a:cubicBezTo>
                      <a:cubicBezTo>
                        <a:pt x="72674" y="118045"/>
                        <a:pt x="82341" y="98321"/>
                        <a:pt x="85214" y="77551"/>
                      </a:cubicBezTo>
                      <a:cubicBezTo>
                        <a:pt x="86651" y="67363"/>
                        <a:pt x="86129" y="57435"/>
                        <a:pt x="85606" y="46855"/>
                      </a:cubicBezTo>
                      <a:cubicBezTo>
                        <a:pt x="85606" y="44895"/>
                        <a:pt x="85345" y="43067"/>
                        <a:pt x="85345" y="41107"/>
                      </a:cubicBezTo>
                      <a:cubicBezTo>
                        <a:pt x="85084" y="34184"/>
                        <a:pt x="84169" y="27392"/>
                        <a:pt x="82733" y="20860"/>
                      </a:cubicBezTo>
                      <a:cubicBezTo>
                        <a:pt x="82471" y="19293"/>
                        <a:pt x="83386" y="17856"/>
                        <a:pt x="84823" y="17464"/>
                      </a:cubicBezTo>
                      <a:cubicBezTo>
                        <a:pt x="95011" y="14982"/>
                        <a:pt x="105200" y="12239"/>
                        <a:pt x="115128" y="9496"/>
                      </a:cubicBezTo>
                      <a:cubicBezTo>
                        <a:pt x="127014" y="6230"/>
                        <a:pt x="139293" y="2834"/>
                        <a:pt x="151572" y="91"/>
                      </a:cubicBezTo>
                      <a:cubicBezTo>
                        <a:pt x="153009" y="-301"/>
                        <a:pt x="154446" y="613"/>
                        <a:pt x="154968" y="2050"/>
                      </a:cubicBezTo>
                      <a:cubicBezTo>
                        <a:pt x="165810" y="40977"/>
                        <a:pt x="164504" y="82385"/>
                        <a:pt x="151049" y="125230"/>
                      </a:cubicBezTo>
                      <a:cubicBezTo>
                        <a:pt x="129235" y="194069"/>
                        <a:pt x="65751" y="217843"/>
                        <a:pt x="16245" y="225811"/>
                      </a:cubicBezTo>
                      <a:cubicBezTo>
                        <a:pt x="16114" y="225811"/>
                        <a:pt x="15983" y="225811"/>
                        <a:pt x="15853" y="225811"/>
                      </a:cubicBezTo>
                      <a:close/>
                      <a:moveTo>
                        <a:pt x="13763" y="202951"/>
                      </a:moveTo>
                      <a:cubicBezTo>
                        <a:pt x="15330" y="208829"/>
                        <a:pt x="16636" y="214316"/>
                        <a:pt x="17812" y="219671"/>
                      </a:cubicBezTo>
                      <a:cubicBezTo>
                        <a:pt x="65359" y="211572"/>
                        <a:pt x="124924" y="188321"/>
                        <a:pt x="145432" y="123531"/>
                      </a:cubicBezTo>
                      <a:cubicBezTo>
                        <a:pt x="158364" y="82776"/>
                        <a:pt x="159932" y="43328"/>
                        <a:pt x="150004" y="6230"/>
                      </a:cubicBezTo>
                      <a:cubicBezTo>
                        <a:pt x="138771" y="8843"/>
                        <a:pt x="127406" y="11978"/>
                        <a:pt x="116434" y="14982"/>
                      </a:cubicBezTo>
                      <a:cubicBezTo>
                        <a:pt x="107290" y="17464"/>
                        <a:pt x="98016" y="20077"/>
                        <a:pt x="88611" y="22428"/>
                      </a:cubicBezTo>
                      <a:cubicBezTo>
                        <a:pt x="89786" y="28437"/>
                        <a:pt x="90570" y="34707"/>
                        <a:pt x="90831" y="40977"/>
                      </a:cubicBezTo>
                      <a:cubicBezTo>
                        <a:pt x="90831" y="42936"/>
                        <a:pt x="90962" y="44765"/>
                        <a:pt x="91093" y="46724"/>
                      </a:cubicBezTo>
                      <a:cubicBezTo>
                        <a:pt x="91615" y="57043"/>
                        <a:pt x="92138" y="67755"/>
                        <a:pt x="90701" y="78466"/>
                      </a:cubicBezTo>
                      <a:cubicBezTo>
                        <a:pt x="87696" y="100411"/>
                        <a:pt x="77377" y="121441"/>
                        <a:pt x="61833" y="137508"/>
                      </a:cubicBezTo>
                      <a:cubicBezTo>
                        <a:pt x="53603" y="145999"/>
                        <a:pt x="44982" y="152138"/>
                        <a:pt x="35969" y="155796"/>
                      </a:cubicBezTo>
                      <a:cubicBezTo>
                        <a:pt x="27740" y="159192"/>
                        <a:pt x="18204" y="161413"/>
                        <a:pt x="6056" y="162850"/>
                      </a:cubicBezTo>
                      <a:cubicBezTo>
                        <a:pt x="9060" y="176957"/>
                        <a:pt x="11542" y="190281"/>
                        <a:pt x="13763" y="20321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40" name="Graphic 717">
                <a:extLst>
                  <a:ext uri="{FF2B5EF4-FFF2-40B4-BE49-F238E27FC236}">
                    <a16:creationId xmlns:a16="http://schemas.microsoft.com/office/drawing/2014/main" id="{5890263E-4D04-B1B4-F336-549F49E243D4}"/>
                  </a:ext>
                </a:extLst>
              </p:cNvPr>
              <p:cNvGrpSpPr/>
              <p:nvPr/>
            </p:nvGrpSpPr>
            <p:grpSpPr>
              <a:xfrm>
                <a:off x="148870" y="2957041"/>
                <a:ext cx="157010" cy="214922"/>
                <a:chOff x="148870" y="2957041"/>
                <a:chExt cx="157010" cy="214922"/>
              </a:xfrm>
              <a:grpFill/>
            </p:grpSpPr>
            <p:sp>
              <p:nvSpPr>
                <p:cNvPr id="41" name="Freeform: Shape 40">
                  <a:extLst>
                    <a:ext uri="{FF2B5EF4-FFF2-40B4-BE49-F238E27FC236}">
                      <a16:creationId xmlns:a16="http://schemas.microsoft.com/office/drawing/2014/main" id="{A69C5F42-8F00-AACE-8353-AFA7C5B95B21}"/>
                    </a:ext>
                  </a:extLst>
                </p:cNvPr>
                <p:cNvSpPr/>
                <p:nvPr/>
              </p:nvSpPr>
              <p:spPr>
                <a:xfrm>
                  <a:off x="151875" y="2959829"/>
                  <a:ext cx="151263" cy="209260"/>
                </a:xfrm>
                <a:custGeom>
                  <a:avLst/>
                  <a:gdLst>
                    <a:gd name="connsiteX0" fmla="*/ 3919 w 151263"/>
                    <a:gd name="connsiteY0" fmla="*/ 131 h 209260"/>
                    <a:gd name="connsiteX1" fmla="*/ 64529 w 151263"/>
                    <a:gd name="connsiteY1" fmla="*/ 12017 h 209260"/>
                    <a:gd name="connsiteX2" fmla="*/ 61263 w 151263"/>
                    <a:gd name="connsiteY2" fmla="*/ 31481 h 209260"/>
                    <a:gd name="connsiteX3" fmla="*/ 62439 w 151263"/>
                    <a:gd name="connsiteY3" fmla="*/ 50813 h 209260"/>
                    <a:gd name="connsiteX4" fmla="*/ 72497 w 151263"/>
                    <a:gd name="connsiteY4" fmla="*/ 84776 h 209260"/>
                    <a:gd name="connsiteX5" fmla="*/ 111815 w 151263"/>
                    <a:gd name="connsiteY5" fmla="*/ 133107 h 209260"/>
                    <a:gd name="connsiteX6" fmla="*/ 146300 w 151263"/>
                    <a:gd name="connsiteY6" fmla="*/ 142904 h 209260"/>
                    <a:gd name="connsiteX7" fmla="*/ 151263 w 151263"/>
                    <a:gd name="connsiteY7" fmla="*/ 143426 h 209260"/>
                    <a:gd name="connsiteX8" fmla="*/ 148912 w 151263"/>
                    <a:gd name="connsiteY8" fmla="*/ 165894 h 209260"/>
                    <a:gd name="connsiteX9" fmla="*/ 144079 w 151263"/>
                    <a:gd name="connsiteY9" fmla="*/ 209261 h 209260"/>
                    <a:gd name="connsiteX10" fmla="*/ 140422 w 151263"/>
                    <a:gd name="connsiteY10" fmla="*/ 209000 h 209260"/>
                    <a:gd name="connsiteX11" fmla="*/ 0 w 151263"/>
                    <a:gd name="connsiteY11" fmla="*/ 45719 h 209260"/>
                    <a:gd name="connsiteX12" fmla="*/ 4049 w 151263"/>
                    <a:gd name="connsiteY12" fmla="*/ 0 h 209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1263" h="209260">
                      <a:moveTo>
                        <a:pt x="3919" y="131"/>
                      </a:moveTo>
                      <a:cubicBezTo>
                        <a:pt x="24166" y="3657"/>
                        <a:pt x="44412" y="7184"/>
                        <a:pt x="64529" y="12017"/>
                      </a:cubicBezTo>
                      <a:cubicBezTo>
                        <a:pt x="62700" y="18941"/>
                        <a:pt x="61655" y="25602"/>
                        <a:pt x="61263" y="31481"/>
                      </a:cubicBezTo>
                      <a:cubicBezTo>
                        <a:pt x="60871" y="36314"/>
                        <a:pt x="61263" y="44412"/>
                        <a:pt x="62439" y="50813"/>
                      </a:cubicBezTo>
                      <a:cubicBezTo>
                        <a:pt x="64398" y="62439"/>
                        <a:pt x="68056" y="73934"/>
                        <a:pt x="72497" y="84776"/>
                      </a:cubicBezTo>
                      <a:cubicBezTo>
                        <a:pt x="80465" y="104369"/>
                        <a:pt x="92744" y="123571"/>
                        <a:pt x="111815" y="133107"/>
                      </a:cubicBezTo>
                      <a:cubicBezTo>
                        <a:pt x="122657" y="138593"/>
                        <a:pt x="134282" y="141467"/>
                        <a:pt x="146300" y="142904"/>
                      </a:cubicBezTo>
                      <a:cubicBezTo>
                        <a:pt x="147998" y="143165"/>
                        <a:pt x="149565" y="143295"/>
                        <a:pt x="151263" y="143426"/>
                      </a:cubicBezTo>
                      <a:cubicBezTo>
                        <a:pt x="150480" y="150872"/>
                        <a:pt x="149696" y="158448"/>
                        <a:pt x="148912" y="165894"/>
                      </a:cubicBezTo>
                      <a:cubicBezTo>
                        <a:pt x="147345" y="180393"/>
                        <a:pt x="145777" y="194762"/>
                        <a:pt x="144079" y="209261"/>
                      </a:cubicBezTo>
                      <a:cubicBezTo>
                        <a:pt x="142773" y="209261"/>
                        <a:pt x="141597" y="209130"/>
                        <a:pt x="140422" y="209000"/>
                      </a:cubicBezTo>
                      <a:cubicBezTo>
                        <a:pt x="44674" y="200770"/>
                        <a:pt x="0" y="99014"/>
                        <a:pt x="0" y="45719"/>
                      </a:cubicBezTo>
                      <a:cubicBezTo>
                        <a:pt x="0" y="28999"/>
                        <a:pt x="1437" y="13846"/>
                        <a:pt x="4049" y="0"/>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23F448EF-9B3C-849C-5345-44BB70731C01}"/>
                    </a:ext>
                  </a:extLst>
                </p:cNvPr>
                <p:cNvSpPr/>
                <p:nvPr/>
              </p:nvSpPr>
              <p:spPr>
                <a:xfrm>
                  <a:off x="148870" y="2957041"/>
                  <a:ext cx="157010" cy="214922"/>
                </a:xfrm>
                <a:custGeom>
                  <a:avLst/>
                  <a:gdLst>
                    <a:gd name="connsiteX0" fmla="*/ 146822 w 157010"/>
                    <a:gd name="connsiteY0" fmla="*/ 214922 h 214922"/>
                    <a:gd name="connsiteX1" fmla="*/ 146692 w 157010"/>
                    <a:gd name="connsiteY1" fmla="*/ 214922 h 214922"/>
                    <a:gd name="connsiteX2" fmla="*/ 143034 w 157010"/>
                    <a:gd name="connsiteY2" fmla="*/ 214661 h 214922"/>
                    <a:gd name="connsiteX3" fmla="*/ 34877 w 157010"/>
                    <a:gd name="connsiteY3" fmla="*/ 148695 h 214922"/>
                    <a:gd name="connsiteX4" fmla="*/ 0 w 157010"/>
                    <a:gd name="connsiteY4" fmla="*/ 48506 h 214922"/>
                    <a:gd name="connsiteX5" fmla="*/ 4180 w 157010"/>
                    <a:gd name="connsiteY5" fmla="*/ 2265 h 214922"/>
                    <a:gd name="connsiteX6" fmla="*/ 7446 w 157010"/>
                    <a:gd name="connsiteY6" fmla="*/ 44 h 214922"/>
                    <a:gd name="connsiteX7" fmla="*/ 68186 w 157010"/>
                    <a:gd name="connsiteY7" fmla="*/ 12062 h 214922"/>
                    <a:gd name="connsiteX8" fmla="*/ 69884 w 157010"/>
                    <a:gd name="connsiteY8" fmla="*/ 13368 h 214922"/>
                    <a:gd name="connsiteX9" fmla="*/ 70145 w 157010"/>
                    <a:gd name="connsiteY9" fmla="*/ 15589 h 214922"/>
                    <a:gd name="connsiteX10" fmla="*/ 67010 w 157010"/>
                    <a:gd name="connsiteY10" fmla="*/ 34529 h 214922"/>
                    <a:gd name="connsiteX11" fmla="*/ 68186 w 157010"/>
                    <a:gd name="connsiteY11" fmla="*/ 53078 h 214922"/>
                    <a:gd name="connsiteX12" fmla="*/ 77983 w 157010"/>
                    <a:gd name="connsiteY12" fmla="*/ 86518 h 214922"/>
                    <a:gd name="connsiteX13" fmla="*/ 115995 w 157010"/>
                    <a:gd name="connsiteY13" fmla="*/ 133412 h 214922"/>
                    <a:gd name="connsiteX14" fmla="*/ 149565 w 157010"/>
                    <a:gd name="connsiteY14" fmla="*/ 142948 h 214922"/>
                    <a:gd name="connsiteX15" fmla="*/ 154398 w 157010"/>
                    <a:gd name="connsiteY15" fmla="*/ 143470 h 214922"/>
                    <a:gd name="connsiteX16" fmla="*/ 156358 w 157010"/>
                    <a:gd name="connsiteY16" fmla="*/ 144515 h 214922"/>
                    <a:gd name="connsiteX17" fmla="*/ 157011 w 157010"/>
                    <a:gd name="connsiteY17" fmla="*/ 146605 h 214922"/>
                    <a:gd name="connsiteX18" fmla="*/ 156619 w 157010"/>
                    <a:gd name="connsiteY18" fmla="*/ 150524 h 214922"/>
                    <a:gd name="connsiteX19" fmla="*/ 154660 w 157010"/>
                    <a:gd name="connsiteY19" fmla="*/ 169073 h 214922"/>
                    <a:gd name="connsiteX20" fmla="*/ 149827 w 157010"/>
                    <a:gd name="connsiteY20" fmla="*/ 212440 h 214922"/>
                    <a:gd name="connsiteX21" fmla="*/ 146953 w 157010"/>
                    <a:gd name="connsiteY21" fmla="*/ 214922 h 214922"/>
                    <a:gd name="connsiteX22" fmla="*/ 9144 w 157010"/>
                    <a:gd name="connsiteY22" fmla="*/ 6053 h 214922"/>
                    <a:gd name="connsiteX23" fmla="*/ 5617 w 157010"/>
                    <a:gd name="connsiteY23" fmla="*/ 48506 h 214922"/>
                    <a:gd name="connsiteX24" fmla="*/ 39449 w 157010"/>
                    <a:gd name="connsiteY24" fmla="*/ 145430 h 214922"/>
                    <a:gd name="connsiteX25" fmla="*/ 143426 w 157010"/>
                    <a:gd name="connsiteY25" fmla="*/ 208913 h 214922"/>
                    <a:gd name="connsiteX26" fmla="*/ 144210 w 157010"/>
                    <a:gd name="connsiteY26" fmla="*/ 208913 h 214922"/>
                    <a:gd name="connsiteX27" fmla="*/ 148782 w 157010"/>
                    <a:gd name="connsiteY27" fmla="*/ 168289 h 214922"/>
                    <a:gd name="connsiteX28" fmla="*/ 150741 w 157010"/>
                    <a:gd name="connsiteY28" fmla="*/ 149740 h 214922"/>
                    <a:gd name="connsiteX29" fmla="*/ 150741 w 157010"/>
                    <a:gd name="connsiteY29" fmla="*/ 148565 h 214922"/>
                    <a:gd name="connsiteX30" fmla="*/ 148651 w 157010"/>
                    <a:gd name="connsiteY30" fmla="*/ 148303 h 214922"/>
                    <a:gd name="connsiteX31" fmla="*/ 113252 w 157010"/>
                    <a:gd name="connsiteY31" fmla="*/ 138115 h 214922"/>
                    <a:gd name="connsiteX32" fmla="*/ 72627 w 157010"/>
                    <a:gd name="connsiteY32" fmla="*/ 88347 h 214922"/>
                    <a:gd name="connsiteX33" fmla="*/ 62439 w 157010"/>
                    <a:gd name="connsiteY33" fmla="*/ 53731 h 214922"/>
                    <a:gd name="connsiteX34" fmla="*/ 61263 w 157010"/>
                    <a:gd name="connsiteY34" fmla="*/ 33745 h 214922"/>
                    <a:gd name="connsiteX35" fmla="*/ 64006 w 157010"/>
                    <a:gd name="connsiteY35" fmla="*/ 16634 h 214922"/>
                    <a:gd name="connsiteX36" fmla="*/ 9144 w 157010"/>
                    <a:gd name="connsiteY36" fmla="*/ 5922 h 214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7010" h="214922">
                      <a:moveTo>
                        <a:pt x="146822" y="214922"/>
                      </a:moveTo>
                      <a:cubicBezTo>
                        <a:pt x="146822" y="214922"/>
                        <a:pt x="146822" y="214922"/>
                        <a:pt x="146692" y="214922"/>
                      </a:cubicBezTo>
                      <a:cubicBezTo>
                        <a:pt x="145385" y="214922"/>
                        <a:pt x="144210" y="214791"/>
                        <a:pt x="143034" y="214661"/>
                      </a:cubicBezTo>
                      <a:cubicBezTo>
                        <a:pt x="88433" y="209958"/>
                        <a:pt x="54079" y="176257"/>
                        <a:pt x="34877" y="148695"/>
                      </a:cubicBezTo>
                      <a:cubicBezTo>
                        <a:pt x="13716" y="118390"/>
                        <a:pt x="0" y="79072"/>
                        <a:pt x="0" y="48506"/>
                      </a:cubicBezTo>
                      <a:cubicBezTo>
                        <a:pt x="0" y="32309"/>
                        <a:pt x="1437" y="16764"/>
                        <a:pt x="4180" y="2265"/>
                      </a:cubicBezTo>
                      <a:cubicBezTo>
                        <a:pt x="4441" y="697"/>
                        <a:pt x="5878" y="-217"/>
                        <a:pt x="7446" y="44"/>
                      </a:cubicBezTo>
                      <a:cubicBezTo>
                        <a:pt x="27039" y="3441"/>
                        <a:pt x="47939" y="7098"/>
                        <a:pt x="68186" y="12062"/>
                      </a:cubicBezTo>
                      <a:cubicBezTo>
                        <a:pt x="68970" y="12192"/>
                        <a:pt x="69492" y="12715"/>
                        <a:pt x="69884" y="13368"/>
                      </a:cubicBezTo>
                      <a:cubicBezTo>
                        <a:pt x="70276" y="14021"/>
                        <a:pt x="70407" y="14805"/>
                        <a:pt x="70145" y="15589"/>
                      </a:cubicBezTo>
                      <a:cubicBezTo>
                        <a:pt x="68447" y="22251"/>
                        <a:pt x="67402" y="28651"/>
                        <a:pt x="67010" y="34529"/>
                      </a:cubicBezTo>
                      <a:cubicBezTo>
                        <a:pt x="66619" y="39493"/>
                        <a:pt x="67141" y="47200"/>
                        <a:pt x="68186" y="53078"/>
                      </a:cubicBezTo>
                      <a:cubicBezTo>
                        <a:pt x="70015" y="63659"/>
                        <a:pt x="73411" y="74892"/>
                        <a:pt x="77983" y="86518"/>
                      </a:cubicBezTo>
                      <a:cubicBezTo>
                        <a:pt x="87388" y="109638"/>
                        <a:pt x="100059" y="125444"/>
                        <a:pt x="115995" y="133412"/>
                      </a:cubicBezTo>
                      <a:cubicBezTo>
                        <a:pt x="125661" y="138245"/>
                        <a:pt x="136242" y="141250"/>
                        <a:pt x="149565" y="142948"/>
                      </a:cubicBezTo>
                      <a:cubicBezTo>
                        <a:pt x="151133" y="143209"/>
                        <a:pt x="152831" y="143340"/>
                        <a:pt x="154398" y="143470"/>
                      </a:cubicBezTo>
                      <a:cubicBezTo>
                        <a:pt x="155182" y="143470"/>
                        <a:pt x="155835" y="143862"/>
                        <a:pt x="156358" y="144515"/>
                      </a:cubicBezTo>
                      <a:cubicBezTo>
                        <a:pt x="156880" y="145038"/>
                        <a:pt x="157011" y="145822"/>
                        <a:pt x="157011" y="146605"/>
                      </a:cubicBezTo>
                      <a:lnTo>
                        <a:pt x="156619" y="150524"/>
                      </a:lnTo>
                      <a:cubicBezTo>
                        <a:pt x="155966" y="156663"/>
                        <a:pt x="155313" y="162933"/>
                        <a:pt x="154660" y="169073"/>
                      </a:cubicBezTo>
                      <a:cubicBezTo>
                        <a:pt x="153092" y="183572"/>
                        <a:pt x="151525" y="197941"/>
                        <a:pt x="149827" y="212440"/>
                      </a:cubicBezTo>
                      <a:cubicBezTo>
                        <a:pt x="149696" y="213877"/>
                        <a:pt x="148390" y="214922"/>
                        <a:pt x="146953" y="214922"/>
                      </a:cubicBezTo>
                      <a:close/>
                      <a:moveTo>
                        <a:pt x="9144" y="6053"/>
                      </a:moveTo>
                      <a:cubicBezTo>
                        <a:pt x="6792" y="19377"/>
                        <a:pt x="5617" y="33615"/>
                        <a:pt x="5617" y="48506"/>
                      </a:cubicBezTo>
                      <a:cubicBezTo>
                        <a:pt x="5617" y="70843"/>
                        <a:pt x="14499" y="109769"/>
                        <a:pt x="39449" y="145430"/>
                      </a:cubicBezTo>
                      <a:cubicBezTo>
                        <a:pt x="57997" y="171947"/>
                        <a:pt x="91045" y="204472"/>
                        <a:pt x="143426" y="208913"/>
                      </a:cubicBezTo>
                      <a:cubicBezTo>
                        <a:pt x="143687" y="208913"/>
                        <a:pt x="143948" y="208913"/>
                        <a:pt x="144210" y="208913"/>
                      </a:cubicBezTo>
                      <a:cubicBezTo>
                        <a:pt x="145777" y="195328"/>
                        <a:pt x="147214" y="181874"/>
                        <a:pt x="148782" y="168289"/>
                      </a:cubicBezTo>
                      <a:cubicBezTo>
                        <a:pt x="149435" y="162150"/>
                        <a:pt x="150088" y="155880"/>
                        <a:pt x="150741" y="149740"/>
                      </a:cubicBezTo>
                      <a:lnTo>
                        <a:pt x="150741" y="148565"/>
                      </a:lnTo>
                      <a:cubicBezTo>
                        <a:pt x="150741" y="148565"/>
                        <a:pt x="149435" y="148434"/>
                        <a:pt x="148651" y="148303"/>
                      </a:cubicBezTo>
                      <a:cubicBezTo>
                        <a:pt x="134674" y="146605"/>
                        <a:pt x="123440" y="143340"/>
                        <a:pt x="113252" y="138115"/>
                      </a:cubicBezTo>
                      <a:cubicBezTo>
                        <a:pt x="96140" y="129493"/>
                        <a:pt x="82555" y="112773"/>
                        <a:pt x="72627" y="88347"/>
                      </a:cubicBezTo>
                      <a:cubicBezTo>
                        <a:pt x="67794" y="76329"/>
                        <a:pt x="64398" y="64704"/>
                        <a:pt x="62439" y="53731"/>
                      </a:cubicBezTo>
                      <a:cubicBezTo>
                        <a:pt x="61394" y="47461"/>
                        <a:pt x="60871" y="39101"/>
                        <a:pt x="61263" y="33745"/>
                      </a:cubicBezTo>
                      <a:cubicBezTo>
                        <a:pt x="61655" y="28390"/>
                        <a:pt x="62569" y="22642"/>
                        <a:pt x="64006" y="16634"/>
                      </a:cubicBezTo>
                      <a:cubicBezTo>
                        <a:pt x="45719" y="12323"/>
                        <a:pt x="27562" y="9057"/>
                        <a:pt x="9144" y="592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grpSp>
        <p:nvGrpSpPr>
          <p:cNvPr id="52" name="Graphic 717">
            <a:extLst>
              <a:ext uri="{FF2B5EF4-FFF2-40B4-BE49-F238E27FC236}">
                <a16:creationId xmlns:a16="http://schemas.microsoft.com/office/drawing/2014/main" id="{44F38689-84AF-0DA4-F7CF-E575DBE86016}"/>
              </a:ext>
            </a:extLst>
          </p:cNvPr>
          <p:cNvGrpSpPr/>
          <p:nvPr userDrawn="1"/>
        </p:nvGrpSpPr>
        <p:grpSpPr>
          <a:xfrm>
            <a:off x="6718914" y="2284073"/>
            <a:ext cx="2388314" cy="1335510"/>
            <a:chOff x="568524" y="3539803"/>
            <a:chExt cx="2688582" cy="1460384"/>
          </a:xfrm>
          <a:noFill/>
        </p:grpSpPr>
        <p:grpSp>
          <p:nvGrpSpPr>
            <p:cNvPr id="53" name="Graphic 717">
              <a:extLst>
                <a:ext uri="{FF2B5EF4-FFF2-40B4-BE49-F238E27FC236}">
                  <a16:creationId xmlns:a16="http://schemas.microsoft.com/office/drawing/2014/main" id="{05FC907B-AFDA-865A-F63B-7012843518BF}"/>
                </a:ext>
              </a:extLst>
            </p:cNvPr>
            <p:cNvGrpSpPr/>
            <p:nvPr/>
          </p:nvGrpSpPr>
          <p:grpSpPr>
            <a:xfrm>
              <a:off x="568524" y="3539803"/>
              <a:ext cx="2688582" cy="1460384"/>
              <a:chOff x="568524" y="3539803"/>
              <a:chExt cx="2688582" cy="1460384"/>
            </a:xfrm>
            <a:grpFill/>
          </p:grpSpPr>
          <p:sp>
            <p:nvSpPr>
              <p:cNvPr id="78" name="Freeform: Shape 77">
                <a:extLst>
                  <a:ext uri="{FF2B5EF4-FFF2-40B4-BE49-F238E27FC236}">
                    <a16:creationId xmlns:a16="http://schemas.microsoft.com/office/drawing/2014/main" id="{01B5D5DE-3137-CA8D-7510-DD153C9E629A}"/>
                  </a:ext>
                </a:extLst>
              </p:cNvPr>
              <p:cNvSpPr/>
              <p:nvPr/>
            </p:nvSpPr>
            <p:spPr>
              <a:xfrm>
                <a:off x="568524" y="3545289"/>
                <a:ext cx="2688582" cy="1454898"/>
              </a:xfrm>
              <a:custGeom>
                <a:avLst/>
                <a:gdLst>
                  <a:gd name="connsiteX0" fmla="*/ 2682684 w 2688582"/>
                  <a:gd name="connsiteY0" fmla="*/ 1453201 h 1454898"/>
                  <a:gd name="connsiteX1" fmla="*/ 2685950 w 2688582"/>
                  <a:gd name="connsiteY1" fmla="*/ 0 h 1454898"/>
                  <a:gd name="connsiteX2" fmla="*/ 3832 w 2688582"/>
                  <a:gd name="connsiteY2" fmla="*/ 2743 h 1454898"/>
                  <a:gd name="connsiteX3" fmla="*/ 3832 w 2688582"/>
                  <a:gd name="connsiteY3" fmla="*/ 1454899 h 1454898"/>
                  <a:gd name="connsiteX4" fmla="*/ 2682684 w 2688582"/>
                  <a:gd name="connsiteY4" fmla="*/ 1453201 h 1454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582" h="1454898">
                    <a:moveTo>
                      <a:pt x="2682684" y="1453201"/>
                    </a:moveTo>
                    <a:cubicBezTo>
                      <a:pt x="2682684" y="932139"/>
                      <a:pt x="2693396" y="489190"/>
                      <a:pt x="2685950" y="0"/>
                    </a:cubicBezTo>
                    <a:cubicBezTo>
                      <a:pt x="1796787" y="0"/>
                      <a:pt x="899656" y="10450"/>
                      <a:pt x="3832" y="2743"/>
                    </a:cubicBezTo>
                    <a:cubicBezTo>
                      <a:pt x="-4790" y="501338"/>
                      <a:pt x="3832" y="970150"/>
                      <a:pt x="3832" y="1454899"/>
                    </a:cubicBezTo>
                    <a:cubicBezTo>
                      <a:pt x="899264" y="1454899"/>
                      <a:pt x="1791823" y="1453201"/>
                      <a:pt x="2682684" y="145320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A4A241E2-CBF6-E645-6B30-896C7F0D5722}"/>
                  </a:ext>
                </a:extLst>
              </p:cNvPr>
              <p:cNvSpPr/>
              <p:nvPr/>
            </p:nvSpPr>
            <p:spPr>
              <a:xfrm>
                <a:off x="570788" y="3539803"/>
                <a:ext cx="2684076" cy="97445"/>
              </a:xfrm>
              <a:custGeom>
                <a:avLst/>
                <a:gdLst>
                  <a:gd name="connsiteX0" fmla="*/ 0 w 2684077"/>
                  <a:gd name="connsiteY0" fmla="*/ 0 h 97446"/>
                  <a:gd name="connsiteX1" fmla="*/ 2684078 w 2684077"/>
                  <a:gd name="connsiteY1" fmla="*/ 0 h 97446"/>
                  <a:gd name="connsiteX2" fmla="*/ 2684078 w 2684077"/>
                  <a:gd name="connsiteY2" fmla="*/ 97446 h 97446"/>
                  <a:gd name="connsiteX3" fmla="*/ 0 w 2684077"/>
                  <a:gd name="connsiteY3" fmla="*/ 97446 h 97446"/>
                </a:gdLst>
                <a:ahLst/>
                <a:cxnLst>
                  <a:cxn ang="0">
                    <a:pos x="connsiteX0" y="connsiteY0"/>
                  </a:cxn>
                  <a:cxn ang="0">
                    <a:pos x="connsiteX1" y="connsiteY1"/>
                  </a:cxn>
                  <a:cxn ang="0">
                    <a:pos x="connsiteX2" y="connsiteY2"/>
                  </a:cxn>
                  <a:cxn ang="0">
                    <a:pos x="connsiteX3" y="connsiteY3"/>
                  </a:cxn>
                </a:cxnLst>
                <a:rect l="l" t="t" r="r" b="b"/>
                <a:pathLst>
                  <a:path w="2684077" h="97446">
                    <a:moveTo>
                      <a:pt x="0" y="0"/>
                    </a:moveTo>
                    <a:lnTo>
                      <a:pt x="2684078" y="0"/>
                    </a:lnTo>
                    <a:lnTo>
                      <a:pt x="2684078" y="97446"/>
                    </a:lnTo>
                    <a:lnTo>
                      <a:pt x="0" y="97446"/>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54" name="Graphic 717">
              <a:extLst>
                <a:ext uri="{FF2B5EF4-FFF2-40B4-BE49-F238E27FC236}">
                  <a16:creationId xmlns:a16="http://schemas.microsoft.com/office/drawing/2014/main" id="{12F47686-3DA1-6149-AAD7-25C7F90D6855}"/>
                </a:ext>
              </a:extLst>
            </p:cNvPr>
            <p:cNvGrpSpPr/>
            <p:nvPr/>
          </p:nvGrpSpPr>
          <p:grpSpPr>
            <a:xfrm>
              <a:off x="2865081" y="3563315"/>
              <a:ext cx="329305" cy="52772"/>
              <a:chOff x="2865081" y="3563315"/>
              <a:chExt cx="329305" cy="52772"/>
            </a:xfrm>
            <a:grpFill/>
          </p:grpSpPr>
          <p:grpSp>
            <p:nvGrpSpPr>
              <p:cNvPr id="69" name="Graphic 717">
                <a:extLst>
                  <a:ext uri="{FF2B5EF4-FFF2-40B4-BE49-F238E27FC236}">
                    <a16:creationId xmlns:a16="http://schemas.microsoft.com/office/drawing/2014/main" id="{CF4FB8AB-13BC-2651-E193-13C048C64914}"/>
                  </a:ext>
                </a:extLst>
              </p:cNvPr>
              <p:cNvGrpSpPr/>
              <p:nvPr/>
            </p:nvGrpSpPr>
            <p:grpSpPr>
              <a:xfrm>
                <a:off x="3141614" y="3563315"/>
                <a:ext cx="52772" cy="52772"/>
                <a:chOff x="3141614" y="3563315"/>
                <a:chExt cx="52772" cy="52772"/>
              </a:xfrm>
              <a:grpFill/>
            </p:grpSpPr>
            <p:sp>
              <p:nvSpPr>
                <p:cNvPr id="76" name="Freeform: Shape 75">
                  <a:extLst>
                    <a:ext uri="{FF2B5EF4-FFF2-40B4-BE49-F238E27FC236}">
                      <a16:creationId xmlns:a16="http://schemas.microsoft.com/office/drawing/2014/main" id="{842A77BB-97BF-95A7-AA00-9B6BCA436919}"/>
                    </a:ext>
                  </a:extLst>
                </p:cNvPr>
                <p:cNvSpPr/>
                <p:nvPr/>
              </p:nvSpPr>
              <p:spPr>
                <a:xfrm>
                  <a:off x="3146186" y="3568018"/>
                  <a:ext cx="43628" cy="43628"/>
                </a:xfrm>
                <a:custGeom>
                  <a:avLst/>
                  <a:gdLst>
                    <a:gd name="connsiteX0" fmla="*/ 0 w 43628"/>
                    <a:gd name="connsiteY0" fmla="*/ 21814 h 43628"/>
                    <a:gd name="connsiteX1" fmla="*/ 21814 w 43628"/>
                    <a:gd name="connsiteY1" fmla="*/ 0 h 43628"/>
                    <a:gd name="connsiteX2" fmla="*/ 43629 w 43628"/>
                    <a:gd name="connsiteY2" fmla="*/ 21814 h 43628"/>
                    <a:gd name="connsiteX3" fmla="*/ 21814 w 43628"/>
                    <a:gd name="connsiteY3" fmla="*/ 43629 h 43628"/>
                    <a:gd name="connsiteX4" fmla="*/ 0 w 43628"/>
                    <a:gd name="connsiteY4" fmla="*/ 21814 h 43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28" h="43628">
                      <a:moveTo>
                        <a:pt x="0" y="21814"/>
                      </a:moveTo>
                      <a:cubicBezTo>
                        <a:pt x="0" y="9797"/>
                        <a:pt x="9797" y="0"/>
                        <a:pt x="21814" y="0"/>
                      </a:cubicBezTo>
                      <a:cubicBezTo>
                        <a:pt x="33832" y="0"/>
                        <a:pt x="43629" y="9797"/>
                        <a:pt x="43629" y="21814"/>
                      </a:cubicBezTo>
                      <a:cubicBezTo>
                        <a:pt x="43629" y="33832"/>
                        <a:pt x="33832" y="43629"/>
                        <a:pt x="21814" y="43629"/>
                      </a:cubicBezTo>
                      <a:cubicBezTo>
                        <a:pt x="9797" y="43629"/>
                        <a:pt x="0" y="33832"/>
                        <a:pt x="0" y="2181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65485CB1-CA9B-B4A9-2F70-CD3A04F488A0}"/>
                    </a:ext>
                  </a:extLst>
                </p:cNvPr>
                <p:cNvSpPr/>
                <p:nvPr/>
              </p:nvSpPr>
              <p:spPr>
                <a:xfrm>
                  <a:off x="3141614" y="3563315"/>
                  <a:ext cx="52772" cy="52772"/>
                </a:xfrm>
                <a:custGeom>
                  <a:avLst/>
                  <a:gdLst>
                    <a:gd name="connsiteX0" fmla="*/ 26386 w 52772"/>
                    <a:gd name="connsiteY0" fmla="*/ 52772 h 52772"/>
                    <a:gd name="connsiteX1" fmla="*/ 0 w 52772"/>
                    <a:gd name="connsiteY1" fmla="*/ 26386 h 52772"/>
                    <a:gd name="connsiteX2" fmla="*/ 26386 w 52772"/>
                    <a:gd name="connsiteY2" fmla="*/ 0 h 52772"/>
                    <a:gd name="connsiteX3" fmla="*/ 52772 w 52772"/>
                    <a:gd name="connsiteY3" fmla="*/ 26386 h 52772"/>
                    <a:gd name="connsiteX4" fmla="*/ 26386 w 52772"/>
                    <a:gd name="connsiteY4" fmla="*/ 52772 h 52772"/>
                    <a:gd name="connsiteX5" fmla="*/ 26386 w 52772"/>
                    <a:gd name="connsiteY5" fmla="*/ 9013 h 52772"/>
                    <a:gd name="connsiteX6" fmla="*/ 9013 w 52772"/>
                    <a:gd name="connsiteY6" fmla="*/ 26386 h 52772"/>
                    <a:gd name="connsiteX7" fmla="*/ 26386 w 52772"/>
                    <a:gd name="connsiteY7" fmla="*/ 43759 h 52772"/>
                    <a:gd name="connsiteX8" fmla="*/ 43759 w 52772"/>
                    <a:gd name="connsiteY8" fmla="*/ 26386 h 52772"/>
                    <a:gd name="connsiteX9" fmla="*/ 26386 w 52772"/>
                    <a:gd name="connsiteY9" fmla="*/ 9013 h 52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72" h="52772">
                      <a:moveTo>
                        <a:pt x="26386" y="52772"/>
                      </a:moveTo>
                      <a:cubicBezTo>
                        <a:pt x="11887" y="52772"/>
                        <a:pt x="0" y="40886"/>
                        <a:pt x="0" y="26386"/>
                      </a:cubicBezTo>
                      <a:cubicBezTo>
                        <a:pt x="0" y="11887"/>
                        <a:pt x="11887" y="0"/>
                        <a:pt x="26386" y="0"/>
                      </a:cubicBezTo>
                      <a:cubicBezTo>
                        <a:pt x="40885" y="0"/>
                        <a:pt x="52772" y="11887"/>
                        <a:pt x="52772" y="26386"/>
                      </a:cubicBezTo>
                      <a:cubicBezTo>
                        <a:pt x="52772" y="40886"/>
                        <a:pt x="41016" y="52772"/>
                        <a:pt x="26386" y="52772"/>
                      </a:cubicBezTo>
                      <a:close/>
                      <a:moveTo>
                        <a:pt x="26386" y="9013"/>
                      </a:moveTo>
                      <a:cubicBezTo>
                        <a:pt x="16851" y="9013"/>
                        <a:pt x="9013" y="16851"/>
                        <a:pt x="9013" y="26386"/>
                      </a:cubicBezTo>
                      <a:cubicBezTo>
                        <a:pt x="9013" y="35922"/>
                        <a:pt x="16851" y="43759"/>
                        <a:pt x="26386" y="43759"/>
                      </a:cubicBezTo>
                      <a:cubicBezTo>
                        <a:pt x="35922" y="43759"/>
                        <a:pt x="43759" y="35922"/>
                        <a:pt x="43759" y="26386"/>
                      </a:cubicBezTo>
                      <a:cubicBezTo>
                        <a:pt x="43759" y="16851"/>
                        <a:pt x="35922" y="9013"/>
                        <a:pt x="26386" y="901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0" name="Graphic 717">
                <a:extLst>
                  <a:ext uri="{FF2B5EF4-FFF2-40B4-BE49-F238E27FC236}">
                    <a16:creationId xmlns:a16="http://schemas.microsoft.com/office/drawing/2014/main" id="{49627153-B256-19E2-A433-065ABFC82760}"/>
                  </a:ext>
                </a:extLst>
              </p:cNvPr>
              <p:cNvGrpSpPr/>
              <p:nvPr/>
            </p:nvGrpSpPr>
            <p:grpSpPr>
              <a:xfrm>
                <a:off x="3003413" y="3563315"/>
                <a:ext cx="52772" cy="52772"/>
                <a:chOff x="3003413" y="3563315"/>
                <a:chExt cx="52772" cy="52772"/>
              </a:xfrm>
              <a:grpFill/>
            </p:grpSpPr>
            <p:sp>
              <p:nvSpPr>
                <p:cNvPr id="74" name="Freeform: Shape 73">
                  <a:extLst>
                    <a:ext uri="{FF2B5EF4-FFF2-40B4-BE49-F238E27FC236}">
                      <a16:creationId xmlns:a16="http://schemas.microsoft.com/office/drawing/2014/main" id="{CBFD7BA4-A8FD-9B16-41EE-A9A37B145BEF}"/>
                    </a:ext>
                  </a:extLst>
                </p:cNvPr>
                <p:cNvSpPr/>
                <p:nvPr/>
              </p:nvSpPr>
              <p:spPr>
                <a:xfrm>
                  <a:off x="3007854" y="3568018"/>
                  <a:ext cx="43628" cy="43628"/>
                </a:xfrm>
                <a:custGeom>
                  <a:avLst/>
                  <a:gdLst>
                    <a:gd name="connsiteX0" fmla="*/ 0 w 43628"/>
                    <a:gd name="connsiteY0" fmla="*/ 21814 h 43628"/>
                    <a:gd name="connsiteX1" fmla="*/ 21814 w 43628"/>
                    <a:gd name="connsiteY1" fmla="*/ 0 h 43628"/>
                    <a:gd name="connsiteX2" fmla="*/ 43629 w 43628"/>
                    <a:gd name="connsiteY2" fmla="*/ 21814 h 43628"/>
                    <a:gd name="connsiteX3" fmla="*/ 21814 w 43628"/>
                    <a:gd name="connsiteY3" fmla="*/ 43629 h 43628"/>
                    <a:gd name="connsiteX4" fmla="*/ 0 w 43628"/>
                    <a:gd name="connsiteY4" fmla="*/ 21814 h 43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28" h="43628">
                      <a:moveTo>
                        <a:pt x="0" y="21814"/>
                      </a:moveTo>
                      <a:cubicBezTo>
                        <a:pt x="0" y="9797"/>
                        <a:pt x="9797" y="0"/>
                        <a:pt x="21814" y="0"/>
                      </a:cubicBezTo>
                      <a:cubicBezTo>
                        <a:pt x="33832" y="0"/>
                        <a:pt x="43629" y="9797"/>
                        <a:pt x="43629" y="21814"/>
                      </a:cubicBezTo>
                      <a:cubicBezTo>
                        <a:pt x="43629" y="33832"/>
                        <a:pt x="33832" y="43629"/>
                        <a:pt x="21814" y="43629"/>
                      </a:cubicBezTo>
                      <a:cubicBezTo>
                        <a:pt x="9797" y="43629"/>
                        <a:pt x="0" y="33832"/>
                        <a:pt x="0" y="2181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EAF91A0F-0464-ABCF-1335-3432284CC23A}"/>
                    </a:ext>
                  </a:extLst>
                </p:cNvPr>
                <p:cNvSpPr/>
                <p:nvPr/>
              </p:nvSpPr>
              <p:spPr>
                <a:xfrm>
                  <a:off x="3003413" y="3563315"/>
                  <a:ext cx="52772" cy="52772"/>
                </a:xfrm>
                <a:custGeom>
                  <a:avLst/>
                  <a:gdLst>
                    <a:gd name="connsiteX0" fmla="*/ 26386 w 52772"/>
                    <a:gd name="connsiteY0" fmla="*/ 52772 h 52772"/>
                    <a:gd name="connsiteX1" fmla="*/ 0 w 52772"/>
                    <a:gd name="connsiteY1" fmla="*/ 26386 h 52772"/>
                    <a:gd name="connsiteX2" fmla="*/ 26386 w 52772"/>
                    <a:gd name="connsiteY2" fmla="*/ 0 h 52772"/>
                    <a:gd name="connsiteX3" fmla="*/ 52772 w 52772"/>
                    <a:gd name="connsiteY3" fmla="*/ 26386 h 52772"/>
                    <a:gd name="connsiteX4" fmla="*/ 26386 w 52772"/>
                    <a:gd name="connsiteY4" fmla="*/ 52772 h 52772"/>
                    <a:gd name="connsiteX5" fmla="*/ 26386 w 52772"/>
                    <a:gd name="connsiteY5" fmla="*/ 9013 h 52772"/>
                    <a:gd name="connsiteX6" fmla="*/ 9013 w 52772"/>
                    <a:gd name="connsiteY6" fmla="*/ 26386 h 52772"/>
                    <a:gd name="connsiteX7" fmla="*/ 26386 w 52772"/>
                    <a:gd name="connsiteY7" fmla="*/ 43759 h 52772"/>
                    <a:gd name="connsiteX8" fmla="*/ 43759 w 52772"/>
                    <a:gd name="connsiteY8" fmla="*/ 26386 h 52772"/>
                    <a:gd name="connsiteX9" fmla="*/ 26386 w 52772"/>
                    <a:gd name="connsiteY9" fmla="*/ 9013 h 52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72" h="52772">
                      <a:moveTo>
                        <a:pt x="26386" y="52772"/>
                      </a:moveTo>
                      <a:cubicBezTo>
                        <a:pt x="11887" y="52772"/>
                        <a:pt x="0" y="40886"/>
                        <a:pt x="0" y="26386"/>
                      </a:cubicBezTo>
                      <a:cubicBezTo>
                        <a:pt x="0" y="11887"/>
                        <a:pt x="11887" y="0"/>
                        <a:pt x="26386" y="0"/>
                      </a:cubicBezTo>
                      <a:cubicBezTo>
                        <a:pt x="40885" y="0"/>
                        <a:pt x="52772" y="11887"/>
                        <a:pt x="52772" y="26386"/>
                      </a:cubicBezTo>
                      <a:cubicBezTo>
                        <a:pt x="52772" y="40886"/>
                        <a:pt x="40885" y="52772"/>
                        <a:pt x="26386" y="52772"/>
                      </a:cubicBezTo>
                      <a:close/>
                      <a:moveTo>
                        <a:pt x="26386" y="9013"/>
                      </a:moveTo>
                      <a:cubicBezTo>
                        <a:pt x="16851" y="9013"/>
                        <a:pt x="9013" y="16851"/>
                        <a:pt x="9013" y="26386"/>
                      </a:cubicBezTo>
                      <a:cubicBezTo>
                        <a:pt x="9013" y="35922"/>
                        <a:pt x="16851" y="43759"/>
                        <a:pt x="26386" y="43759"/>
                      </a:cubicBezTo>
                      <a:cubicBezTo>
                        <a:pt x="35922" y="43759"/>
                        <a:pt x="43759" y="35922"/>
                        <a:pt x="43759" y="26386"/>
                      </a:cubicBezTo>
                      <a:cubicBezTo>
                        <a:pt x="43759" y="16851"/>
                        <a:pt x="35922" y="9013"/>
                        <a:pt x="26386" y="901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71" name="Graphic 717">
                <a:extLst>
                  <a:ext uri="{FF2B5EF4-FFF2-40B4-BE49-F238E27FC236}">
                    <a16:creationId xmlns:a16="http://schemas.microsoft.com/office/drawing/2014/main" id="{292F4F71-1101-383A-342B-0BF892217123}"/>
                  </a:ext>
                </a:extLst>
              </p:cNvPr>
              <p:cNvGrpSpPr/>
              <p:nvPr/>
            </p:nvGrpSpPr>
            <p:grpSpPr>
              <a:xfrm>
                <a:off x="2865081" y="3563315"/>
                <a:ext cx="52772" cy="52772"/>
                <a:chOff x="2865081" y="3563315"/>
                <a:chExt cx="52772" cy="52772"/>
              </a:xfrm>
              <a:grpFill/>
            </p:grpSpPr>
            <p:sp>
              <p:nvSpPr>
                <p:cNvPr id="72" name="Freeform: Shape 71">
                  <a:extLst>
                    <a:ext uri="{FF2B5EF4-FFF2-40B4-BE49-F238E27FC236}">
                      <a16:creationId xmlns:a16="http://schemas.microsoft.com/office/drawing/2014/main" id="{AC5240A4-EDF7-BE9C-4A21-20BB773AB83E}"/>
                    </a:ext>
                  </a:extLst>
                </p:cNvPr>
                <p:cNvSpPr/>
                <p:nvPr/>
              </p:nvSpPr>
              <p:spPr>
                <a:xfrm>
                  <a:off x="2869653" y="3568018"/>
                  <a:ext cx="43628" cy="43628"/>
                </a:xfrm>
                <a:custGeom>
                  <a:avLst/>
                  <a:gdLst>
                    <a:gd name="connsiteX0" fmla="*/ 0 w 43628"/>
                    <a:gd name="connsiteY0" fmla="*/ 21814 h 43628"/>
                    <a:gd name="connsiteX1" fmla="*/ 21814 w 43628"/>
                    <a:gd name="connsiteY1" fmla="*/ 0 h 43628"/>
                    <a:gd name="connsiteX2" fmla="*/ 43629 w 43628"/>
                    <a:gd name="connsiteY2" fmla="*/ 21814 h 43628"/>
                    <a:gd name="connsiteX3" fmla="*/ 21814 w 43628"/>
                    <a:gd name="connsiteY3" fmla="*/ 43629 h 43628"/>
                    <a:gd name="connsiteX4" fmla="*/ 0 w 43628"/>
                    <a:gd name="connsiteY4" fmla="*/ 21814 h 43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28" h="43628">
                      <a:moveTo>
                        <a:pt x="0" y="21814"/>
                      </a:moveTo>
                      <a:cubicBezTo>
                        <a:pt x="0" y="9797"/>
                        <a:pt x="9797" y="0"/>
                        <a:pt x="21814" y="0"/>
                      </a:cubicBezTo>
                      <a:cubicBezTo>
                        <a:pt x="33832" y="0"/>
                        <a:pt x="43629" y="9797"/>
                        <a:pt x="43629" y="21814"/>
                      </a:cubicBezTo>
                      <a:cubicBezTo>
                        <a:pt x="43629" y="33832"/>
                        <a:pt x="33832" y="43629"/>
                        <a:pt x="21814" y="43629"/>
                      </a:cubicBezTo>
                      <a:cubicBezTo>
                        <a:pt x="9797" y="43629"/>
                        <a:pt x="0" y="33832"/>
                        <a:pt x="0" y="2181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73AA2207-3CA7-9A02-7029-13085E260269}"/>
                    </a:ext>
                  </a:extLst>
                </p:cNvPr>
                <p:cNvSpPr/>
                <p:nvPr/>
              </p:nvSpPr>
              <p:spPr>
                <a:xfrm>
                  <a:off x="2865081" y="3563315"/>
                  <a:ext cx="52772" cy="52772"/>
                </a:xfrm>
                <a:custGeom>
                  <a:avLst/>
                  <a:gdLst>
                    <a:gd name="connsiteX0" fmla="*/ 26386 w 52772"/>
                    <a:gd name="connsiteY0" fmla="*/ 52772 h 52772"/>
                    <a:gd name="connsiteX1" fmla="*/ 0 w 52772"/>
                    <a:gd name="connsiteY1" fmla="*/ 26386 h 52772"/>
                    <a:gd name="connsiteX2" fmla="*/ 26386 w 52772"/>
                    <a:gd name="connsiteY2" fmla="*/ 0 h 52772"/>
                    <a:gd name="connsiteX3" fmla="*/ 52773 w 52772"/>
                    <a:gd name="connsiteY3" fmla="*/ 26386 h 52772"/>
                    <a:gd name="connsiteX4" fmla="*/ 26386 w 52772"/>
                    <a:gd name="connsiteY4" fmla="*/ 52772 h 52772"/>
                    <a:gd name="connsiteX5" fmla="*/ 26386 w 52772"/>
                    <a:gd name="connsiteY5" fmla="*/ 9013 h 52772"/>
                    <a:gd name="connsiteX6" fmla="*/ 9013 w 52772"/>
                    <a:gd name="connsiteY6" fmla="*/ 26386 h 52772"/>
                    <a:gd name="connsiteX7" fmla="*/ 26386 w 52772"/>
                    <a:gd name="connsiteY7" fmla="*/ 43759 h 52772"/>
                    <a:gd name="connsiteX8" fmla="*/ 43759 w 52772"/>
                    <a:gd name="connsiteY8" fmla="*/ 26386 h 52772"/>
                    <a:gd name="connsiteX9" fmla="*/ 26386 w 52772"/>
                    <a:gd name="connsiteY9" fmla="*/ 9013 h 52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72" h="52772">
                      <a:moveTo>
                        <a:pt x="26386" y="52772"/>
                      </a:moveTo>
                      <a:cubicBezTo>
                        <a:pt x="11887" y="52772"/>
                        <a:pt x="0" y="40886"/>
                        <a:pt x="0" y="26386"/>
                      </a:cubicBezTo>
                      <a:cubicBezTo>
                        <a:pt x="0" y="11887"/>
                        <a:pt x="11887" y="0"/>
                        <a:pt x="26386" y="0"/>
                      </a:cubicBezTo>
                      <a:cubicBezTo>
                        <a:pt x="40886" y="0"/>
                        <a:pt x="52773" y="11887"/>
                        <a:pt x="52773" y="26386"/>
                      </a:cubicBezTo>
                      <a:cubicBezTo>
                        <a:pt x="52773" y="40886"/>
                        <a:pt x="41016" y="52772"/>
                        <a:pt x="26386" y="52772"/>
                      </a:cubicBezTo>
                      <a:close/>
                      <a:moveTo>
                        <a:pt x="26386" y="9013"/>
                      </a:moveTo>
                      <a:cubicBezTo>
                        <a:pt x="16851" y="9013"/>
                        <a:pt x="9013" y="16851"/>
                        <a:pt x="9013" y="26386"/>
                      </a:cubicBezTo>
                      <a:cubicBezTo>
                        <a:pt x="9013" y="35922"/>
                        <a:pt x="16851" y="43759"/>
                        <a:pt x="26386" y="43759"/>
                      </a:cubicBezTo>
                      <a:cubicBezTo>
                        <a:pt x="35922" y="43759"/>
                        <a:pt x="43759" y="35922"/>
                        <a:pt x="43759" y="26386"/>
                      </a:cubicBezTo>
                      <a:cubicBezTo>
                        <a:pt x="43759" y="16851"/>
                        <a:pt x="35922" y="9013"/>
                        <a:pt x="26386" y="901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nvGrpSpPr>
            <p:cNvPr id="55" name="Graphic 717">
              <a:extLst>
                <a:ext uri="{FF2B5EF4-FFF2-40B4-BE49-F238E27FC236}">
                  <a16:creationId xmlns:a16="http://schemas.microsoft.com/office/drawing/2014/main" id="{8C5958A2-9610-9C11-0A41-8BA2F32D4860}"/>
                </a:ext>
              </a:extLst>
            </p:cNvPr>
            <p:cNvGrpSpPr/>
            <p:nvPr/>
          </p:nvGrpSpPr>
          <p:grpSpPr>
            <a:xfrm>
              <a:off x="1008381" y="3907753"/>
              <a:ext cx="1722156" cy="924973"/>
              <a:chOff x="1008381" y="3907753"/>
              <a:chExt cx="1722156" cy="924973"/>
            </a:xfrm>
            <a:grpFill/>
          </p:grpSpPr>
          <p:sp>
            <p:nvSpPr>
              <p:cNvPr id="62" name="Freeform: Shape 61">
                <a:extLst>
                  <a:ext uri="{FF2B5EF4-FFF2-40B4-BE49-F238E27FC236}">
                    <a16:creationId xmlns:a16="http://schemas.microsoft.com/office/drawing/2014/main" id="{85F9B9EB-BE0E-E12A-2DB9-D9FCDD9D464F}"/>
                  </a:ext>
                </a:extLst>
              </p:cNvPr>
              <p:cNvSpPr/>
              <p:nvPr/>
            </p:nvSpPr>
            <p:spPr>
              <a:xfrm>
                <a:off x="1046210" y="3907753"/>
                <a:ext cx="1622254" cy="798398"/>
              </a:xfrm>
              <a:custGeom>
                <a:avLst/>
                <a:gdLst>
                  <a:gd name="connsiteX0" fmla="*/ 4494 w 1622254"/>
                  <a:gd name="connsiteY0" fmla="*/ 798398 h 798398"/>
                  <a:gd name="connsiteX1" fmla="*/ 1751 w 1622254"/>
                  <a:gd name="connsiteY1" fmla="*/ 797484 h 798398"/>
                  <a:gd name="connsiteX2" fmla="*/ 967 w 1622254"/>
                  <a:gd name="connsiteY2" fmla="*/ 791214 h 798398"/>
                  <a:gd name="connsiteX3" fmla="*/ 186716 w 1622254"/>
                  <a:gd name="connsiteY3" fmla="*/ 548644 h 798398"/>
                  <a:gd name="connsiteX4" fmla="*/ 189720 w 1622254"/>
                  <a:gd name="connsiteY4" fmla="*/ 546946 h 798398"/>
                  <a:gd name="connsiteX5" fmla="*/ 193116 w 1622254"/>
                  <a:gd name="connsiteY5" fmla="*/ 547860 h 798398"/>
                  <a:gd name="connsiteX6" fmla="*/ 313552 w 1622254"/>
                  <a:gd name="connsiteY6" fmla="*/ 645306 h 798398"/>
                  <a:gd name="connsiteX7" fmla="*/ 578982 w 1622254"/>
                  <a:gd name="connsiteY7" fmla="*/ 176102 h 798398"/>
                  <a:gd name="connsiteX8" fmla="*/ 581986 w 1622254"/>
                  <a:gd name="connsiteY8" fmla="*/ 173881 h 798398"/>
                  <a:gd name="connsiteX9" fmla="*/ 585644 w 1622254"/>
                  <a:gd name="connsiteY9" fmla="*/ 174795 h 798398"/>
                  <a:gd name="connsiteX10" fmla="*/ 720710 w 1622254"/>
                  <a:gd name="connsiteY10" fmla="*/ 281385 h 798398"/>
                  <a:gd name="connsiteX11" fmla="*/ 868054 w 1622254"/>
                  <a:gd name="connsiteY11" fmla="*/ 2371 h 798398"/>
                  <a:gd name="connsiteX12" fmla="*/ 871581 w 1622254"/>
                  <a:gd name="connsiteY12" fmla="*/ 20 h 798398"/>
                  <a:gd name="connsiteX13" fmla="*/ 875500 w 1622254"/>
                  <a:gd name="connsiteY13" fmla="*/ 1587 h 798398"/>
                  <a:gd name="connsiteX14" fmla="*/ 1068825 w 1622254"/>
                  <a:gd name="connsiteY14" fmla="*/ 229266 h 798398"/>
                  <a:gd name="connsiteX15" fmla="*/ 1125777 w 1622254"/>
                  <a:gd name="connsiteY15" fmla="*/ 179629 h 798398"/>
                  <a:gd name="connsiteX16" fmla="*/ 1129304 w 1622254"/>
                  <a:gd name="connsiteY16" fmla="*/ 178584 h 798398"/>
                  <a:gd name="connsiteX17" fmla="*/ 1132439 w 1622254"/>
                  <a:gd name="connsiteY17" fmla="*/ 180543 h 798398"/>
                  <a:gd name="connsiteX18" fmla="*/ 1331380 w 1622254"/>
                  <a:gd name="connsiteY18" fmla="*/ 485291 h 798398"/>
                  <a:gd name="connsiteX19" fmla="*/ 1614314 w 1622254"/>
                  <a:gd name="connsiteY19" fmla="*/ 144099 h 798398"/>
                  <a:gd name="connsiteX20" fmla="*/ 1620584 w 1622254"/>
                  <a:gd name="connsiteY20" fmla="*/ 143446 h 798398"/>
                  <a:gd name="connsiteX21" fmla="*/ 1621237 w 1622254"/>
                  <a:gd name="connsiteY21" fmla="*/ 149716 h 798398"/>
                  <a:gd name="connsiteX22" fmla="*/ 1334516 w 1622254"/>
                  <a:gd name="connsiteY22" fmla="*/ 495610 h 798398"/>
                  <a:gd name="connsiteX23" fmla="*/ 1330858 w 1622254"/>
                  <a:gd name="connsiteY23" fmla="*/ 497177 h 798398"/>
                  <a:gd name="connsiteX24" fmla="*/ 1327331 w 1622254"/>
                  <a:gd name="connsiteY24" fmla="*/ 495218 h 798398"/>
                  <a:gd name="connsiteX25" fmla="*/ 1127867 w 1622254"/>
                  <a:gd name="connsiteY25" fmla="*/ 189687 h 798398"/>
                  <a:gd name="connsiteX26" fmla="*/ 1071307 w 1622254"/>
                  <a:gd name="connsiteY26" fmla="*/ 238932 h 798398"/>
                  <a:gd name="connsiteX27" fmla="*/ 1068041 w 1622254"/>
                  <a:gd name="connsiteY27" fmla="*/ 239977 h 798398"/>
                  <a:gd name="connsiteX28" fmla="*/ 1064906 w 1622254"/>
                  <a:gd name="connsiteY28" fmla="*/ 238410 h 798398"/>
                  <a:gd name="connsiteX29" fmla="*/ 873018 w 1622254"/>
                  <a:gd name="connsiteY29" fmla="*/ 12298 h 798398"/>
                  <a:gd name="connsiteX30" fmla="*/ 726326 w 1622254"/>
                  <a:gd name="connsiteY30" fmla="*/ 290268 h 798398"/>
                  <a:gd name="connsiteX31" fmla="*/ 723322 w 1622254"/>
                  <a:gd name="connsiteY31" fmla="*/ 292619 h 798398"/>
                  <a:gd name="connsiteX32" fmla="*/ 719665 w 1622254"/>
                  <a:gd name="connsiteY32" fmla="*/ 291705 h 798398"/>
                  <a:gd name="connsiteX33" fmla="*/ 584468 w 1622254"/>
                  <a:gd name="connsiteY33" fmla="*/ 185115 h 798398"/>
                  <a:gd name="connsiteX34" fmla="*/ 319039 w 1622254"/>
                  <a:gd name="connsiteY34" fmla="*/ 654319 h 798398"/>
                  <a:gd name="connsiteX35" fmla="*/ 316034 w 1622254"/>
                  <a:gd name="connsiteY35" fmla="*/ 656540 h 798398"/>
                  <a:gd name="connsiteX36" fmla="*/ 312377 w 1622254"/>
                  <a:gd name="connsiteY36" fmla="*/ 655625 h 798398"/>
                  <a:gd name="connsiteX37" fmla="*/ 191418 w 1622254"/>
                  <a:gd name="connsiteY37" fmla="*/ 557787 h 798398"/>
                  <a:gd name="connsiteX38" fmla="*/ 8543 w 1622254"/>
                  <a:gd name="connsiteY38" fmla="*/ 796700 h 798398"/>
                  <a:gd name="connsiteX39" fmla="*/ 5017 w 1622254"/>
                  <a:gd name="connsiteY39" fmla="*/ 798398 h 79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622254" h="798398">
                    <a:moveTo>
                      <a:pt x="4494" y="798398"/>
                    </a:moveTo>
                    <a:cubicBezTo>
                      <a:pt x="3580" y="798398"/>
                      <a:pt x="2535" y="798137"/>
                      <a:pt x="1751" y="797484"/>
                    </a:cubicBezTo>
                    <a:cubicBezTo>
                      <a:pt x="-208" y="795916"/>
                      <a:pt x="-600" y="793173"/>
                      <a:pt x="967" y="791214"/>
                    </a:cubicBezTo>
                    <a:lnTo>
                      <a:pt x="186716" y="548644"/>
                    </a:lnTo>
                    <a:cubicBezTo>
                      <a:pt x="187499" y="547729"/>
                      <a:pt x="188544" y="547076"/>
                      <a:pt x="189720" y="546946"/>
                    </a:cubicBezTo>
                    <a:cubicBezTo>
                      <a:pt x="190896" y="546815"/>
                      <a:pt x="192071" y="547207"/>
                      <a:pt x="193116" y="547860"/>
                    </a:cubicBezTo>
                    <a:lnTo>
                      <a:pt x="313552" y="645306"/>
                    </a:lnTo>
                    <a:lnTo>
                      <a:pt x="578982" y="176102"/>
                    </a:lnTo>
                    <a:cubicBezTo>
                      <a:pt x="579635" y="174926"/>
                      <a:pt x="580680" y="174142"/>
                      <a:pt x="581986" y="173881"/>
                    </a:cubicBezTo>
                    <a:cubicBezTo>
                      <a:pt x="583292" y="173620"/>
                      <a:pt x="584599" y="173881"/>
                      <a:pt x="585644" y="174795"/>
                    </a:cubicBezTo>
                    <a:lnTo>
                      <a:pt x="720710" y="281385"/>
                    </a:lnTo>
                    <a:lnTo>
                      <a:pt x="868054" y="2371"/>
                    </a:lnTo>
                    <a:cubicBezTo>
                      <a:pt x="868708" y="1065"/>
                      <a:pt x="870014" y="150"/>
                      <a:pt x="871581" y="20"/>
                    </a:cubicBezTo>
                    <a:cubicBezTo>
                      <a:pt x="873018" y="-111"/>
                      <a:pt x="874455" y="411"/>
                      <a:pt x="875500" y="1587"/>
                    </a:cubicBezTo>
                    <a:lnTo>
                      <a:pt x="1068825" y="229266"/>
                    </a:lnTo>
                    <a:lnTo>
                      <a:pt x="1125777" y="179629"/>
                    </a:lnTo>
                    <a:cubicBezTo>
                      <a:pt x="1126691" y="178845"/>
                      <a:pt x="1127998" y="178453"/>
                      <a:pt x="1129304" y="178584"/>
                    </a:cubicBezTo>
                    <a:cubicBezTo>
                      <a:pt x="1130610" y="178714"/>
                      <a:pt x="1131786" y="179498"/>
                      <a:pt x="1132439" y="180543"/>
                    </a:cubicBezTo>
                    <a:lnTo>
                      <a:pt x="1331380" y="485291"/>
                    </a:lnTo>
                    <a:lnTo>
                      <a:pt x="1614314" y="144099"/>
                    </a:lnTo>
                    <a:cubicBezTo>
                      <a:pt x="1615881" y="142139"/>
                      <a:pt x="1618755" y="141878"/>
                      <a:pt x="1620584" y="143446"/>
                    </a:cubicBezTo>
                    <a:cubicBezTo>
                      <a:pt x="1622543" y="145013"/>
                      <a:pt x="1622804" y="147887"/>
                      <a:pt x="1621237" y="149716"/>
                    </a:cubicBezTo>
                    <a:lnTo>
                      <a:pt x="1334516" y="495610"/>
                    </a:lnTo>
                    <a:cubicBezTo>
                      <a:pt x="1333601" y="496655"/>
                      <a:pt x="1332295" y="497308"/>
                      <a:pt x="1330858" y="497177"/>
                    </a:cubicBezTo>
                    <a:cubicBezTo>
                      <a:pt x="1329421" y="497177"/>
                      <a:pt x="1328115" y="496394"/>
                      <a:pt x="1327331" y="495218"/>
                    </a:cubicBezTo>
                    <a:lnTo>
                      <a:pt x="1127867" y="189687"/>
                    </a:lnTo>
                    <a:lnTo>
                      <a:pt x="1071307" y="238932"/>
                    </a:lnTo>
                    <a:cubicBezTo>
                      <a:pt x="1070392" y="239716"/>
                      <a:pt x="1069216" y="240108"/>
                      <a:pt x="1068041" y="239977"/>
                    </a:cubicBezTo>
                    <a:cubicBezTo>
                      <a:pt x="1066865" y="239977"/>
                      <a:pt x="1065690" y="239324"/>
                      <a:pt x="1064906" y="238410"/>
                    </a:cubicBezTo>
                    <a:lnTo>
                      <a:pt x="873018" y="12298"/>
                    </a:lnTo>
                    <a:lnTo>
                      <a:pt x="726326" y="290268"/>
                    </a:lnTo>
                    <a:cubicBezTo>
                      <a:pt x="725673" y="291443"/>
                      <a:pt x="724628" y="292227"/>
                      <a:pt x="723322" y="292619"/>
                    </a:cubicBezTo>
                    <a:cubicBezTo>
                      <a:pt x="722016" y="292880"/>
                      <a:pt x="720710" y="292619"/>
                      <a:pt x="719665" y="291705"/>
                    </a:cubicBezTo>
                    <a:lnTo>
                      <a:pt x="584468" y="185115"/>
                    </a:lnTo>
                    <a:lnTo>
                      <a:pt x="319039" y="654319"/>
                    </a:lnTo>
                    <a:cubicBezTo>
                      <a:pt x="318385" y="655495"/>
                      <a:pt x="317210" y="656278"/>
                      <a:pt x="316034" y="656540"/>
                    </a:cubicBezTo>
                    <a:cubicBezTo>
                      <a:pt x="314728" y="656801"/>
                      <a:pt x="313422" y="656540"/>
                      <a:pt x="312377" y="655625"/>
                    </a:cubicBezTo>
                    <a:lnTo>
                      <a:pt x="191418" y="557787"/>
                    </a:lnTo>
                    <a:lnTo>
                      <a:pt x="8543" y="796700"/>
                    </a:lnTo>
                    <a:cubicBezTo>
                      <a:pt x="7629" y="797876"/>
                      <a:pt x="6323" y="798398"/>
                      <a:pt x="5017" y="79839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683A28CA-2D68-95FC-D574-1B333B22B221}"/>
                  </a:ext>
                </a:extLst>
              </p:cNvPr>
              <p:cNvSpPr/>
              <p:nvPr/>
            </p:nvSpPr>
            <p:spPr>
              <a:xfrm>
                <a:off x="1232141" y="4456789"/>
                <a:ext cx="10058" cy="375938"/>
              </a:xfrm>
              <a:custGeom>
                <a:avLst/>
                <a:gdLst>
                  <a:gd name="connsiteX0" fmla="*/ 5748 w 10058"/>
                  <a:gd name="connsiteY0" fmla="*/ 375938 h 375938"/>
                  <a:gd name="connsiteX1" fmla="*/ 1306 w 10058"/>
                  <a:gd name="connsiteY1" fmla="*/ 371497 h 375938"/>
                  <a:gd name="connsiteX2" fmla="*/ 1306 w 10058"/>
                  <a:gd name="connsiteY2" fmla="*/ 335706 h 375938"/>
                  <a:gd name="connsiteX3" fmla="*/ 5617 w 10058"/>
                  <a:gd name="connsiteY3" fmla="*/ 331264 h 375938"/>
                  <a:gd name="connsiteX4" fmla="*/ 5617 w 10058"/>
                  <a:gd name="connsiteY4" fmla="*/ 331264 h 375938"/>
                  <a:gd name="connsiteX5" fmla="*/ 10058 w 10058"/>
                  <a:gd name="connsiteY5" fmla="*/ 335706 h 375938"/>
                  <a:gd name="connsiteX6" fmla="*/ 10058 w 10058"/>
                  <a:gd name="connsiteY6" fmla="*/ 371497 h 375938"/>
                  <a:gd name="connsiteX7" fmla="*/ 5748 w 10058"/>
                  <a:gd name="connsiteY7" fmla="*/ 375938 h 375938"/>
                  <a:gd name="connsiteX8" fmla="*/ 5748 w 10058"/>
                  <a:gd name="connsiteY8" fmla="*/ 375938 h 375938"/>
                  <a:gd name="connsiteX9" fmla="*/ 5486 w 10058"/>
                  <a:gd name="connsiteY9" fmla="*/ 304356 h 375938"/>
                  <a:gd name="connsiteX10" fmla="*/ 1045 w 10058"/>
                  <a:gd name="connsiteY10" fmla="*/ 299914 h 375938"/>
                  <a:gd name="connsiteX11" fmla="*/ 1045 w 10058"/>
                  <a:gd name="connsiteY11" fmla="*/ 264123 h 375938"/>
                  <a:gd name="connsiteX12" fmla="*/ 5356 w 10058"/>
                  <a:gd name="connsiteY12" fmla="*/ 259682 h 375938"/>
                  <a:gd name="connsiteX13" fmla="*/ 5356 w 10058"/>
                  <a:gd name="connsiteY13" fmla="*/ 259682 h 375938"/>
                  <a:gd name="connsiteX14" fmla="*/ 9797 w 10058"/>
                  <a:gd name="connsiteY14" fmla="*/ 264123 h 375938"/>
                  <a:gd name="connsiteX15" fmla="*/ 9797 w 10058"/>
                  <a:gd name="connsiteY15" fmla="*/ 299914 h 375938"/>
                  <a:gd name="connsiteX16" fmla="*/ 5486 w 10058"/>
                  <a:gd name="connsiteY16" fmla="*/ 304356 h 375938"/>
                  <a:gd name="connsiteX17" fmla="*/ 5486 w 10058"/>
                  <a:gd name="connsiteY17" fmla="*/ 304356 h 375938"/>
                  <a:gd name="connsiteX18" fmla="*/ 5225 w 10058"/>
                  <a:gd name="connsiteY18" fmla="*/ 232773 h 375938"/>
                  <a:gd name="connsiteX19" fmla="*/ 784 w 10058"/>
                  <a:gd name="connsiteY19" fmla="*/ 228332 h 375938"/>
                  <a:gd name="connsiteX20" fmla="*/ 784 w 10058"/>
                  <a:gd name="connsiteY20" fmla="*/ 192541 h 375938"/>
                  <a:gd name="connsiteX21" fmla="*/ 5094 w 10058"/>
                  <a:gd name="connsiteY21" fmla="*/ 188100 h 375938"/>
                  <a:gd name="connsiteX22" fmla="*/ 5094 w 10058"/>
                  <a:gd name="connsiteY22" fmla="*/ 188100 h 375938"/>
                  <a:gd name="connsiteX23" fmla="*/ 9536 w 10058"/>
                  <a:gd name="connsiteY23" fmla="*/ 192541 h 375938"/>
                  <a:gd name="connsiteX24" fmla="*/ 9536 w 10058"/>
                  <a:gd name="connsiteY24" fmla="*/ 228332 h 375938"/>
                  <a:gd name="connsiteX25" fmla="*/ 5225 w 10058"/>
                  <a:gd name="connsiteY25" fmla="*/ 232773 h 375938"/>
                  <a:gd name="connsiteX26" fmla="*/ 5225 w 10058"/>
                  <a:gd name="connsiteY26" fmla="*/ 232773 h 375938"/>
                  <a:gd name="connsiteX27" fmla="*/ 4964 w 10058"/>
                  <a:gd name="connsiteY27" fmla="*/ 161191 h 375938"/>
                  <a:gd name="connsiteX28" fmla="*/ 523 w 10058"/>
                  <a:gd name="connsiteY28" fmla="*/ 156750 h 375938"/>
                  <a:gd name="connsiteX29" fmla="*/ 523 w 10058"/>
                  <a:gd name="connsiteY29" fmla="*/ 120958 h 375938"/>
                  <a:gd name="connsiteX30" fmla="*/ 4833 w 10058"/>
                  <a:gd name="connsiteY30" fmla="*/ 116517 h 375938"/>
                  <a:gd name="connsiteX31" fmla="*/ 4833 w 10058"/>
                  <a:gd name="connsiteY31" fmla="*/ 116517 h 375938"/>
                  <a:gd name="connsiteX32" fmla="*/ 9274 w 10058"/>
                  <a:gd name="connsiteY32" fmla="*/ 120958 h 375938"/>
                  <a:gd name="connsiteX33" fmla="*/ 9274 w 10058"/>
                  <a:gd name="connsiteY33" fmla="*/ 156750 h 375938"/>
                  <a:gd name="connsiteX34" fmla="*/ 4964 w 10058"/>
                  <a:gd name="connsiteY34" fmla="*/ 161191 h 375938"/>
                  <a:gd name="connsiteX35" fmla="*/ 4964 w 10058"/>
                  <a:gd name="connsiteY35" fmla="*/ 161191 h 375938"/>
                  <a:gd name="connsiteX36" fmla="*/ 4702 w 10058"/>
                  <a:gd name="connsiteY36" fmla="*/ 89609 h 375938"/>
                  <a:gd name="connsiteX37" fmla="*/ 261 w 10058"/>
                  <a:gd name="connsiteY37" fmla="*/ 85167 h 375938"/>
                  <a:gd name="connsiteX38" fmla="*/ 261 w 10058"/>
                  <a:gd name="connsiteY38" fmla="*/ 49376 h 375938"/>
                  <a:gd name="connsiteX39" fmla="*/ 4572 w 10058"/>
                  <a:gd name="connsiteY39" fmla="*/ 44935 h 375938"/>
                  <a:gd name="connsiteX40" fmla="*/ 4572 w 10058"/>
                  <a:gd name="connsiteY40" fmla="*/ 44935 h 375938"/>
                  <a:gd name="connsiteX41" fmla="*/ 9013 w 10058"/>
                  <a:gd name="connsiteY41" fmla="*/ 49376 h 375938"/>
                  <a:gd name="connsiteX42" fmla="*/ 9013 w 10058"/>
                  <a:gd name="connsiteY42" fmla="*/ 85167 h 375938"/>
                  <a:gd name="connsiteX43" fmla="*/ 4702 w 10058"/>
                  <a:gd name="connsiteY43" fmla="*/ 89609 h 375938"/>
                  <a:gd name="connsiteX44" fmla="*/ 4702 w 10058"/>
                  <a:gd name="connsiteY44" fmla="*/ 89609 h 375938"/>
                  <a:gd name="connsiteX45" fmla="*/ 4441 w 10058"/>
                  <a:gd name="connsiteY45" fmla="*/ 18026 h 375938"/>
                  <a:gd name="connsiteX46" fmla="*/ 0 w 10058"/>
                  <a:gd name="connsiteY46" fmla="*/ 13585 h 375938"/>
                  <a:gd name="connsiteX47" fmla="*/ 0 w 10058"/>
                  <a:gd name="connsiteY47" fmla="*/ 4441 h 375938"/>
                  <a:gd name="connsiteX48" fmla="*/ 4441 w 10058"/>
                  <a:gd name="connsiteY48" fmla="*/ 0 h 375938"/>
                  <a:gd name="connsiteX49" fmla="*/ 4441 w 10058"/>
                  <a:gd name="connsiteY49" fmla="*/ 0 h 375938"/>
                  <a:gd name="connsiteX50" fmla="*/ 8882 w 10058"/>
                  <a:gd name="connsiteY50" fmla="*/ 4441 h 375938"/>
                  <a:gd name="connsiteX51" fmla="*/ 8882 w 10058"/>
                  <a:gd name="connsiteY51" fmla="*/ 13585 h 375938"/>
                  <a:gd name="connsiteX52" fmla="*/ 4441 w 10058"/>
                  <a:gd name="connsiteY52" fmla="*/ 18026 h 375938"/>
                  <a:gd name="connsiteX53" fmla="*/ 4441 w 10058"/>
                  <a:gd name="connsiteY53" fmla="*/ 18026 h 37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58" h="375938">
                    <a:moveTo>
                      <a:pt x="5748" y="375938"/>
                    </a:moveTo>
                    <a:cubicBezTo>
                      <a:pt x="3266" y="375938"/>
                      <a:pt x="1306" y="373979"/>
                      <a:pt x="1306" y="371497"/>
                    </a:cubicBezTo>
                    <a:lnTo>
                      <a:pt x="1306" y="335706"/>
                    </a:lnTo>
                    <a:cubicBezTo>
                      <a:pt x="1176" y="333224"/>
                      <a:pt x="3135" y="331264"/>
                      <a:pt x="5617" y="331264"/>
                    </a:cubicBezTo>
                    <a:lnTo>
                      <a:pt x="5617" y="331264"/>
                    </a:lnTo>
                    <a:cubicBezTo>
                      <a:pt x="8099" y="331264"/>
                      <a:pt x="10058" y="333224"/>
                      <a:pt x="10058" y="335706"/>
                    </a:cubicBezTo>
                    <a:lnTo>
                      <a:pt x="10058" y="371497"/>
                    </a:lnTo>
                    <a:cubicBezTo>
                      <a:pt x="10058" y="373979"/>
                      <a:pt x="8229" y="375938"/>
                      <a:pt x="5748" y="375938"/>
                    </a:cubicBezTo>
                    <a:lnTo>
                      <a:pt x="5748" y="375938"/>
                    </a:lnTo>
                    <a:close/>
                    <a:moveTo>
                      <a:pt x="5486" y="304356"/>
                    </a:moveTo>
                    <a:cubicBezTo>
                      <a:pt x="3004" y="304356"/>
                      <a:pt x="1045" y="302396"/>
                      <a:pt x="1045" y="299914"/>
                    </a:cubicBezTo>
                    <a:lnTo>
                      <a:pt x="1045" y="264123"/>
                    </a:lnTo>
                    <a:cubicBezTo>
                      <a:pt x="1045" y="261641"/>
                      <a:pt x="2874" y="259682"/>
                      <a:pt x="5356" y="259682"/>
                    </a:cubicBezTo>
                    <a:lnTo>
                      <a:pt x="5356" y="259682"/>
                    </a:lnTo>
                    <a:cubicBezTo>
                      <a:pt x="7837" y="259682"/>
                      <a:pt x="9797" y="261641"/>
                      <a:pt x="9797" y="264123"/>
                    </a:cubicBezTo>
                    <a:lnTo>
                      <a:pt x="9797" y="299914"/>
                    </a:lnTo>
                    <a:cubicBezTo>
                      <a:pt x="9797" y="302396"/>
                      <a:pt x="7968" y="304356"/>
                      <a:pt x="5486" y="304356"/>
                    </a:cubicBezTo>
                    <a:lnTo>
                      <a:pt x="5486" y="304356"/>
                    </a:lnTo>
                    <a:close/>
                    <a:moveTo>
                      <a:pt x="5225" y="232773"/>
                    </a:moveTo>
                    <a:cubicBezTo>
                      <a:pt x="2743" y="232773"/>
                      <a:pt x="784" y="230814"/>
                      <a:pt x="784" y="228332"/>
                    </a:cubicBezTo>
                    <a:lnTo>
                      <a:pt x="784" y="192541"/>
                    </a:lnTo>
                    <a:cubicBezTo>
                      <a:pt x="653" y="190059"/>
                      <a:pt x="2613" y="188100"/>
                      <a:pt x="5094" y="188100"/>
                    </a:cubicBezTo>
                    <a:lnTo>
                      <a:pt x="5094" y="188100"/>
                    </a:lnTo>
                    <a:cubicBezTo>
                      <a:pt x="7576" y="188100"/>
                      <a:pt x="9536" y="190059"/>
                      <a:pt x="9536" y="192541"/>
                    </a:cubicBezTo>
                    <a:lnTo>
                      <a:pt x="9536" y="228332"/>
                    </a:lnTo>
                    <a:cubicBezTo>
                      <a:pt x="9536" y="230814"/>
                      <a:pt x="7707" y="232773"/>
                      <a:pt x="5225" y="232773"/>
                    </a:cubicBezTo>
                    <a:lnTo>
                      <a:pt x="5225" y="232773"/>
                    </a:lnTo>
                    <a:close/>
                    <a:moveTo>
                      <a:pt x="4964" y="161191"/>
                    </a:moveTo>
                    <a:cubicBezTo>
                      <a:pt x="2482" y="161191"/>
                      <a:pt x="523" y="159232"/>
                      <a:pt x="523" y="156750"/>
                    </a:cubicBezTo>
                    <a:lnTo>
                      <a:pt x="523" y="120958"/>
                    </a:lnTo>
                    <a:cubicBezTo>
                      <a:pt x="523" y="118477"/>
                      <a:pt x="2351" y="116517"/>
                      <a:pt x="4833" y="116517"/>
                    </a:cubicBezTo>
                    <a:lnTo>
                      <a:pt x="4833" y="116517"/>
                    </a:lnTo>
                    <a:cubicBezTo>
                      <a:pt x="7315" y="116517"/>
                      <a:pt x="9274" y="118477"/>
                      <a:pt x="9274" y="120958"/>
                    </a:cubicBezTo>
                    <a:lnTo>
                      <a:pt x="9274" y="156750"/>
                    </a:lnTo>
                    <a:cubicBezTo>
                      <a:pt x="9274" y="159232"/>
                      <a:pt x="7446" y="161191"/>
                      <a:pt x="4964" y="161191"/>
                    </a:cubicBezTo>
                    <a:lnTo>
                      <a:pt x="4964" y="161191"/>
                    </a:lnTo>
                    <a:close/>
                    <a:moveTo>
                      <a:pt x="4702" y="89609"/>
                    </a:moveTo>
                    <a:cubicBezTo>
                      <a:pt x="2221" y="89609"/>
                      <a:pt x="261" y="87649"/>
                      <a:pt x="261" y="85167"/>
                    </a:cubicBezTo>
                    <a:lnTo>
                      <a:pt x="261" y="49376"/>
                    </a:lnTo>
                    <a:cubicBezTo>
                      <a:pt x="131" y="46894"/>
                      <a:pt x="2090" y="44935"/>
                      <a:pt x="4572" y="44935"/>
                    </a:cubicBezTo>
                    <a:lnTo>
                      <a:pt x="4572" y="44935"/>
                    </a:lnTo>
                    <a:cubicBezTo>
                      <a:pt x="7054" y="44935"/>
                      <a:pt x="9013" y="46894"/>
                      <a:pt x="9013" y="49376"/>
                    </a:cubicBezTo>
                    <a:lnTo>
                      <a:pt x="9013" y="85167"/>
                    </a:lnTo>
                    <a:cubicBezTo>
                      <a:pt x="9013" y="87649"/>
                      <a:pt x="7184" y="89609"/>
                      <a:pt x="4702" y="89609"/>
                    </a:cubicBezTo>
                    <a:lnTo>
                      <a:pt x="4702" y="89609"/>
                    </a:lnTo>
                    <a:close/>
                    <a:moveTo>
                      <a:pt x="4441" y="18026"/>
                    </a:moveTo>
                    <a:cubicBezTo>
                      <a:pt x="1959" y="18026"/>
                      <a:pt x="0" y="16067"/>
                      <a:pt x="0" y="13585"/>
                    </a:cubicBezTo>
                    <a:lnTo>
                      <a:pt x="0" y="4441"/>
                    </a:lnTo>
                    <a:cubicBezTo>
                      <a:pt x="0" y="1959"/>
                      <a:pt x="1959" y="0"/>
                      <a:pt x="4441" y="0"/>
                    </a:cubicBezTo>
                    <a:lnTo>
                      <a:pt x="4441" y="0"/>
                    </a:lnTo>
                    <a:cubicBezTo>
                      <a:pt x="6923" y="0"/>
                      <a:pt x="8882" y="1959"/>
                      <a:pt x="8882" y="4441"/>
                    </a:cubicBezTo>
                    <a:lnTo>
                      <a:pt x="8882" y="13585"/>
                    </a:lnTo>
                    <a:cubicBezTo>
                      <a:pt x="8882" y="16067"/>
                      <a:pt x="6923" y="18026"/>
                      <a:pt x="4441" y="18026"/>
                    </a:cubicBezTo>
                    <a:lnTo>
                      <a:pt x="4441" y="18026"/>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10E54B98-19B6-8DDC-E9A7-C94BF9A12E98}"/>
                  </a:ext>
                </a:extLst>
              </p:cNvPr>
              <p:cNvSpPr/>
              <p:nvPr/>
            </p:nvSpPr>
            <p:spPr>
              <a:xfrm>
                <a:off x="1625061" y="4081896"/>
                <a:ext cx="8882" cy="742993"/>
              </a:xfrm>
              <a:custGeom>
                <a:avLst/>
                <a:gdLst>
                  <a:gd name="connsiteX0" fmla="*/ 4441 w 8882"/>
                  <a:gd name="connsiteY0" fmla="*/ 742994 h 742993"/>
                  <a:gd name="connsiteX1" fmla="*/ 0 w 8882"/>
                  <a:gd name="connsiteY1" fmla="*/ 738552 h 742993"/>
                  <a:gd name="connsiteX2" fmla="*/ 0 w 8882"/>
                  <a:gd name="connsiteY2" fmla="*/ 702761 h 742993"/>
                  <a:gd name="connsiteX3" fmla="*/ 4441 w 8882"/>
                  <a:gd name="connsiteY3" fmla="*/ 698320 h 742993"/>
                  <a:gd name="connsiteX4" fmla="*/ 4441 w 8882"/>
                  <a:gd name="connsiteY4" fmla="*/ 698320 h 742993"/>
                  <a:gd name="connsiteX5" fmla="*/ 8882 w 8882"/>
                  <a:gd name="connsiteY5" fmla="*/ 702761 h 742993"/>
                  <a:gd name="connsiteX6" fmla="*/ 8882 w 8882"/>
                  <a:gd name="connsiteY6" fmla="*/ 738552 h 742993"/>
                  <a:gd name="connsiteX7" fmla="*/ 4441 w 8882"/>
                  <a:gd name="connsiteY7" fmla="*/ 742994 h 742993"/>
                  <a:gd name="connsiteX8" fmla="*/ 4441 w 8882"/>
                  <a:gd name="connsiteY8" fmla="*/ 742994 h 742993"/>
                  <a:gd name="connsiteX9" fmla="*/ 4441 w 8882"/>
                  <a:gd name="connsiteY9" fmla="*/ 671411 h 742993"/>
                  <a:gd name="connsiteX10" fmla="*/ 0 w 8882"/>
                  <a:gd name="connsiteY10" fmla="*/ 666970 h 742993"/>
                  <a:gd name="connsiteX11" fmla="*/ 0 w 8882"/>
                  <a:gd name="connsiteY11" fmla="*/ 631179 h 742993"/>
                  <a:gd name="connsiteX12" fmla="*/ 4441 w 8882"/>
                  <a:gd name="connsiteY12" fmla="*/ 626738 h 742993"/>
                  <a:gd name="connsiteX13" fmla="*/ 4441 w 8882"/>
                  <a:gd name="connsiteY13" fmla="*/ 626738 h 742993"/>
                  <a:gd name="connsiteX14" fmla="*/ 8882 w 8882"/>
                  <a:gd name="connsiteY14" fmla="*/ 631179 h 742993"/>
                  <a:gd name="connsiteX15" fmla="*/ 8882 w 8882"/>
                  <a:gd name="connsiteY15" fmla="*/ 666970 h 742993"/>
                  <a:gd name="connsiteX16" fmla="*/ 4441 w 8882"/>
                  <a:gd name="connsiteY16" fmla="*/ 671411 h 742993"/>
                  <a:gd name="connsiteX17" fmla="*/ 4441 w 8882"/>
                  <a:gd name="connsiteY17" fmla="*/ 671411 h 742993"/>
                  <a:gd name="connsiteX18" fmla="*/ 4441 w 8882"/>
                  <a:gd name="connsiteY18" fmla="*/ 599829 h 742993"/>
                  <a:gd name="connsiteX19" fmla="*/ 0 w 8882"/>
                  <a:gd name="connsiteY19" fmla="*/ 595388 h 742993"/>
                  <a:gd name="connsiteX20" fmla="*/ 0 w 8882"/>
                  <a:gd name="connsiteY20" fmla="*/ 559597 h 742993"/>
                  <a:gd name="connsiteX21" fmla="*/ 4441 w 8882"/>
                  <a:gd name="connsiteY21" fmla="*/ 555155 h 742993"/>
                  <a:gd name="connsiteX22" fmla="*/ 4441 w 8882"/>
                  <a:gd name="connsiteY22" fmla="*/ 555155 h 742993"/>
                  <a:gd name="connsiteX23" fmla="*/ 8882 w 8882"/>
                  <a:gd name="connsiteY23" fmla="*/ 559597 h 742993"/>
                  <a:gd name="connsiteX24" fmla="*/ 8882 w 8882"/>
                  <a:gd name="connsiteY24" fmla="*/ 595388 h 742993"/>
                  <a:gd name="connsiteX25" fmla="*/ 4441 w 8882"/>
                  <a:gd name="connsiteY25" fmla="*/ 599829 h 742993"/>
                  <a:gd name="connsiteX26" fmla="*/ 4441 w 8882"/>
                  <a:gd name="connsiteY26" fmla="*/ 599829 h 742993"/>
                  <a:gd name="connsiteX27" fmla="*/ 4441 w 8882"/>
                  <a:gd name="connsiteY27" fmla="*/ 528246 h 742993"/>
                  <a:gd name="connsiteX28" fmla="*/ 0 w 8882"/>
                  <a:gd name="connsiteY28" fmla="*/ 523805 h 742993"/>
                  <a:gd name="connsiteX29" fmla="*/ 0 w 8882"/>
                  <a:gd name="connsiteY29" fmla="*/ 488014 h 742993"/>
                  <a:gd name="connsiteX30" fmla="*/ 4441 w 8882"/>
                  <a:gd name="connsiteY30" fmla="*/ 483573 h 742993"/>
                  <a:gd name="connsiteX31" fmla="*/ 4441 w 8882"/>
                  <a:gd name="connsiteY31" fmla="*/ 483573 h 742993"/>
                  <a:gd name="connsiteX32" fmla="*/ 8882 w 8882"/>
                  <a:gd name="connsiteY32" fmla="*/ 488014 h 742993"/>
                  <a:gd name="connsiteX33" fmla="*/ 8882 w 8882"/>
                  <a:gd name="connsiteY33" fmla="*/ 523805 h 742993"/>
                  <a:gd name="connsiteX34" fmla="*/ 4441 w 8882"/>
                  <a:gd name="connsiteY34" fmla="*/ 528246 h 742993"/>
                  <a:gd name="connsiteX35" fmla="*/ 4441 w 8882"/>
                  <a:gd name="connsiteY35" fmla="*/ 528246 h 742993"/>
                  <a:gd name="connsiteX36" fmla="*/ 4441 w 8882"/>
                  <a:gd name="connsiteY36" fmla="*/ 456664 h 742993"/>
                  <a:gd name="connsiteX37" fmla="*/ 0 w 8882"/>
                  <a:gd name="connsiteY37" fmla="*/ 452223 h 742993"/>
                  <a:gd name="connsiteX38" fmla="*/ 0 w 8882"/>
                  <a:gd name="connsiteY38" fmla="*/ 416432 h 742993"/>
                  <a:gd name="connsiteX39" fmla="*/ 4441 w 8882"/>
                  <a:gd name="connsiteY39" fmla="*/ 411990 h 742993"/>
                  <a:gd name="connsiteX40" fmla="*/ 4441 w 8882"/>
                  <a:gd name="connsiteY40" fmla="*/ 411990 h 742993"/>
                  <a:gd name="connsiteX41" fmla="*/ 8882 w 8882"/>
                  <a:gd name="connsiteY41" fmla="*/ 416432 h 742993"/>
                  <a:gd name="connsiteX42" fmla="*/ 8882 w 8882"/>
                  <a:gd name="connsiteY42" fmla="*/ 452223 h 742993"/>
                  <a:gd name="connsiteX43" fmla="*/ 4441 w 8882"/>
                  <a:gd name="connsiteY43" fmla="*/ 456664 h 742993"/>
                  <a:gd name="connsiteX44" fmla="*/ 4441 w 8882"/>
                  <a:gd name="connsiteY44" fmla="*/ 456664 h 742993"/>
                  <a:gd name="connsiteX45" fmla="*/ 4441 w 8882"/>
                  <a:gd name="connsiteY45" fmla="*/ 385082 h 742993"/>
                  <a:gd name="connsiteX46" fmla="*/ 0 w 8882"/>
                  <a:gd name="connsiteY46" fmla="*/ 380641 h 742993"/>
                  <a:gd name="connsiteX47" fmla="*/ 0 w 8882"/>
                  <a:gd name="connsiteY47" fmla="*/ 344849 h 742993"/>
                  <a:gd name="connsiteX48" fmla="*/ 4441 w 8882"/>
                  <a:gd name="connsiteY48" fmla="*/ 340408 h 742993"/>
                  <a:gd name="connsiteX49" fmla="*/ 4441 w 8882"/>
                  <a:gd name="connsiteY49" fmla="*/ 340408 h 742993"/>
                  <a:gd name="connsiteX50" fmla="*/ 8882 w 8882"/>
                  <a:gd name="connsiteY50" fmla="*/ 344849 h 742993"/>
                  <a:gd name="connsiteX51" fmla="*/ 8882 w 8882"/>
                  <a:gd name="connsiteY51" fmla="*/ 380641 h 742993"/>
                  <a:gd name="connsiteX52" fmla="*/ 4441 w 8882"/>
                  <a:gd name="connsiteY52" fmla="*/ 385082 h 742993"/>
                  <a:gd name="connsiteX53" fmla="*/ 4441 w 8882"/>
                  <a:gd name="connsiteY53" fmla="*/ 385082 h 742993"/>
                  <a:gd name="connsiteX54" fmla="*/ 4441 w 8882"/>
                  <a:gd name="connsiteY54" fmla="*/ 313499 h 742993"/>
                  <a:gd name="connsiteX55" fmla="*/ 0 w 8882"/>
                  <a:gd name="connsiteY55" fmla="*/ 309058 h 742993"/>
                  <a:gd name="connsiteX56" fmla="*/ 0 w 8882"/>
                  <a:gd name="connsiteY56" fmla="*/ 273267 h 742993"/>
                  <a:gd name="connsiteX57" fmla="*/ 4441 w 8882"/>
                  <a:gd name="connsiteY57" fmla="*/ 268826 h 742993"/>
                  <a:gd name="connsiteX58" fmla="*/ 4441 w 8882"/>
                  <a:gd name="connsiteY58" fmla="*/ 268826 h 742993"/>
                  <a:gd name="connsiteX59" fmla="*/ 8882 w 8882"/>
                  <a:gd name="connsiteY59" fmla="*/ 273267 h 742993"/>
                  <a:gd name="connsiteX60" fmla="*/ 8882 w 8882"/>
                  <a:gd name="connsiteY60" fmla="*/ 309058 h 742993"/>
                  <a:gd name="connsiteX61" fmla="*/ 4441 w 8882"/>
                  <a:gd name="connsiteY61" fmla="*/ 313499 h 742993"/>
                  <a:gd name="connsiteX62" fmla="*/ 4441 w 8882"/>
                  <a:gd name="connsiteY62" fmla="*/ 313499 h 742993"/>
                  <a:gd name="connsiteX63" fmla="*/ 4441 w 8882"/>
                  <a:gd name="connsiteY63" fmla="*/ 241917 h 742993"/>
                  <a:gd name="connsiteX64" fmla="*/ 0 w 8882"/>
                  <a:gd name="connsiteY64" fmla="*/ 237476 h 742993"/>
                  <a:gd name="connsiteX65" fmla="*/ 0 w 8882"/>
                  <a:gd name="connsiteY65" fmla="*/ 201684 h 742993"/>
                  <a:gd name="connsiteX66" fmla="*/ 4441 w 8882"/>
                  <a:gd name="connsiteY66" fmla="*/ 197243 h 742993"/>
                  <a:gd name="connsiteX67" fmla="*/ 4441 w 8882"/>
                  <a:gd name="connsiteY67" fmla="*/ 197243 h 742993"/>
                  <a:gd name="connsiteX68" fmla="*/ 8882 w 8882"/>
                  <a:gd name="connsiteY68" fmla="*/ 201684 h 742993"/>
                  <a:gd name="connsiteX69" fmla="*/ 8882 w 8882"/>
                  <a:gd name="connsiteY69" fmla="*/ 237476 h 742993"/>
                  <a:gd name="connsiteX70" fmla="*/ 4441 w 8882"/>
                  <a:gd name="connsiteY70" fmla="*/ 241917 h 742993"/>
                  <a:gd name="connsiteX71" fmla="*/ 4441 w 8882"/>
                  <a:gd name="connsiteY71" fmla="*/ 241917 h 742993"/>
                  <a:gd name="connsiteX72" fmla="*/ 4441 w 8882"/>
                  <a:gd name="connsiteY72" fmla="*/ 170335 h 742993"/>
                  <a:gd name="connsiteX73" fmla="*/ 0 w 8882"/>
                  <a:gd name="connsiteY73" fmla="*/ 165893 h 742993"/>
                  <a:gd name="connsiteX74" fmla="*/ 0 w 8882"/>
                  <a:gd name="connsiteY74" fmla="*/ 130102 h 742993"/>
                  <a:gd name="connsiteX75" fmla="*/ 4441 w 8882"/>
                  <a:gd name="connsiteY75" fmla="*/ 125661 h 742993"/>
                  <a:gd name="connsiteX76" fmla="*/ 4441 w 8882"/>
                  <a:gd name="connsiteY76" fmla="*/ 125661 h 742993"/>
                  <a:gd name="connsiteX77" fmla="*/ 8882 w 8882"/>
                  <a:gd name="connsiteY77" fmla="*/ 130102 h 742993"/>
                  <a:gd name="connsiteX78" fmla="*/ 8882 w 8882"/>
                  <a:gd name="connsiteY78" fmla="*/ 165893 h 742993"/>
                  <a:gd name="connsiteX79" fmla="*/ 4441 w 8882"/>
                  <a:gd name="connsiteY79" fmla="*/ 170335 h 742993"/>
                  <a:gd name="connsiteX80" fmla="*/ 4441 w 8882"/>
                  <a:gd name="connsiteY80" fmla="*/ 170335 h 742993"/>
                  <a:gd name="connsiteX81" fmla="*/ 4441 w 8882"/>
                  <a:gd name="connsiteY81" fmla="*/ 98752 h 742993"/>
                  <a:gd name="connsiteX82" fmla="*/ 0 w 8882"/>
                  <a:gd name="connsiteY82" fmla="*/ 94311 h 742993"/>
                  <a:gd name="connsiteX83" fmla="*/ 0 w 8882"/>
                  <a:gd name="connsiteY83" fmla="*/ 58520 h 742993"/>
                  <a:gd name="connsiteX84" fmla="*/ 4441 w 8882"/>
                  <a:gd name="connsiteY84" fmla="*/ 54079 h 742993"/>
                  <a:gd name="connsiteX85" fmla="*/ 4441 w 8882"/>
                  <a:gd name="connsiteY85" fmla="*/ 54079 h 742993"/>
                  <a:gd name="connsiteX86" fmla="*/ 8882 w 8882"/>
                  <a:gd name="connsiteY86" fmla="*/ 58520 h 742993"/>
                  <a:gd name="connsiteX87" fmla="*/ 8882 w 8882"/>
                  <a:gd name="connsiteY87" fmla="*/ 94311 h 742993"/>
                  <a:gd name="connsiteX88" fmla="*/ 4441 w 8882"/>
                  <a:gd name="connsiteY88" fmla="*/ 98752 h 742993"/>
                  <a:gd name="connsiteX89" fmla="*/ 4441 w 8882"/>
                  <a:gd name="connsiteY89" fmla="*/ 98752 h 742993"/>
                  <a:gd name="connsiteX90" fmla="*/ 4441 w 8882"/>
                  <a:gd name="connsiteY90" fmla="*/ 27170 h 742993"/>
                  <a:gd name="connsiteX91" fmla="*/ 0 w 8882"/>
                  <a:gd name="connsiteY91" fmla="*/ 22729 h 742993"/>
                  <a:gd name="connsiteX92" fmla="*/ 0 w 8882"/>
                  <a:gd name="connsiteY92" fmla="*/ 4441 h 742993"/>
                  <a:gd name="connsiteX93" fmla="*/ 4441 w 8882"/>
                  <a:gd name="connsiteY93" fmla="*/ 0 h 742993"/>
                  <a:gd name="connsiteX94" fmla="*/ 4441 w 8882"/>
                  <a:gd name="connsiteY94" fmla="*/ 0 h 742993"/>
                  <a:gd name="connsiteX95" fmla="*/ 8882 w 8882"/>
                  <a:gd name="connsiteY95" fmla="*/ 4441 h 742993"/>
                  <a:gd name="connsiteX96" fmla="*/ 8882 w 8882"/>
                  <a:gd name="connsiteY96" fmla="*/ 22729 h 742993"/>
                  <a:gd name="connsiteX97" fmla="*/ 4441 w 8882"/>
                  <a:gd name="connsiteY97" fmla="*/ 27170 h 742993"/>
                  <a:gd name="connsiteX98" fmla="*/ 4441 w 8882"/>
                  <a:gd name="connsiteY98" fmla="*/ 27170 h 74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8882" h="742993">
                    <a:moveTo>
                      <a:pt x="4441" y="742994"/>
                    </a:moveTo>
                    <a:cubicBezTo>
                      <a:pt x="1959" y="742994"/>
                      <a:pt x="0" y="741034"/>
                      <a:pt x="0" y="738552"/>
                    </a:cubicBezTo>
                    <a:lnTo>
                      <a:pt x="0" y="702761"/>
                    </a:lnTo>
                    <a:cubicBezTo>
                      <a:pt x="0" y="700279"/>
                      <a:pt x="1959" y="698320"/>
                      <a:pt x="4441" y="698320"/>
                    </a:cubicBezTo>
                    <a:lnTo>
                      <a:pt x="4441" y="698320"/>
                    </a:lnTo>
                    <a:cubicBezTo>
                      <a:pt x="6923" y="698320"/>
                      <a:pt x="8882" y="700279"/>
                      <a:pt x="8882" y="702761"/>
                    </a:cubicBezTo>
                    <a:lnTo>
                      <a:pt x="8882" y="738552"/>
                    </a:lnTo>
                    <a:cubicBezTo>
                      <a:pt x="8882" y="741034"/>
                      <a:pt x="6923" y="742994"/>
                      <a:pt x="4441" y="742994"/>
                    </a:cubicBezTo>
                    <a:lnTo>
                      <a:pt x="4441" y="742994"/>
                    </a:lnTo>
                    <a:close/>
                    <a:moveTo>
                      <a:pt x="4441" y="671411"/>
                    </a:moveTo>
                    <a:cubicBezTo>
                      <a:pt x="1959" y="671411"/>
                      <a:pt x="0" y="669452"/>
                      <a:pt x="0" y="666970"/>
                    </a:cubicBezTo>
                    <a:lnTo>
                      <a:pt x="0" y="631179"/>
                    </a:lnTo>
                    <a:cubicBezTo>
                      <a:pt x="0" y="628697"/>
                      <a:pt x="1959" y="626738"/>
                      <a:pt x="4441" y="626738"/>
                    </a:cubicBezTo>
                    <a:lnTo>
                      <a:pt x="4441" y="626738"/>
                    </a:lnTo>
                    <a:cubicBezTo>
                      <a:pt x="6923" y="626738"/>
                      <a:pt x="8882" y="628697"/>
                      <a:pt x="8882" y="631179"/>
                    </a:cubicBezTo>
                    <a:lnTo>
                      <a:pt x="8882" y="666970"/>
                    </a:lnTo>
                    <a:cubicBezTo>
                      <a:pt x="8882" y="669452"/>
                      <a:pt x="6923" y="671411"/>
                      <a:pt x="4441" y="671411"/>
                    </a:cubicBezTo>
                    <a:lnTo>
                      <a:pt x="4441" y="671411"/>
                    </a:lnTo>
                    <a:close/>
                    <a:moveTo>
                      <a:pt x="4441" y="599829"/>
                    </a:moveTo>
                    <a:cubicBezTo>
                      <a:pt x="1959" y="599829"/>
                      <a:pt x="0" y="597869"/>
                      <a:pt x="0" y="595388"/>
                    </a:cubicBezTo>
                    <a:lnTo>
                      <a:pt x="0" y="559597"/>
                    </a:lnTo>
                    <a:cubicBezTo>
                      <a:pt x="0" y="557115"/>
                      <a:pt x="1959" y="555155"/>
                      <a:pt x="4441" y="555155"/>
                    </a:cubicBezTo>
                    <a:lnTo>
                      <a:pt x="4441" y="555155"/>
                    </a:lnTo>
                    <a:cubicBezTo>
                      <a:pt x="6923" y="555155"/>
                      <a:pt x="8882" y="557115"/>
                      <a:pt x="8882" y="559597"/>
                    </a:cubicBezTo>
                    <a:lnTo>
                      <a:pt x="8882" y="595388"/>
                    </a:lnTo>
                    <a:cubicBezTo>
                      <a:pt x="8882" y="597869"/>
                      <a:pt x="6923" y="599829"/>
                      <a:pt x="4441" y="599829"/>
                    </a:cubicBezTo>
                    <a:lnTo>
                      <a:pt x="4441" y="599829"/>
                    </a:lnTo>
                    <a:close/>
                    <a:moveTo>
                      <a:pt x="4441" y="528246"/>
                    </a:moveTo>
                    <a:cubicBezTo>
                      <a:pt x="1959" y="528246"/>
                      <a:pt x="0" y="526287"/>
                      <a:pt x="0" y="523805"/>
                    </a:cubicBezTo>
                    <a:lnTo>
                      <a:pt x="0" y="488014"/>
                    </a:lnTo>
                    <a:cubicBezTo>
                      <a:pt x="0" y="485532"/>
                      <a:pt x="1959" y="483573"/>
                      <a:pt x="4441" y="483573"/>
                    </a:cubicBezTo>
                    <a:lnTo>
                      <a:pt x="4441" y="483573"/>
                    </a:lnTo>
                    <a:cubicBezTo>
                      <a:pt x="6923" y="483573"/>
                      <a:pt x="8882" y="485532"/>
                      <a:pt x="8882" y="488014"/>
                    </a:cubicBezTo>
                    <a:lnTo>
                      <a:pt x="8882" y="523805"/>
                    </a:lnTo>
                    <a:cubicBezTo>
                      <a:pt x="8882" y="526287"/>
                      <a:pt x="6923" y="528246"/>
                      <a:pt x="4441" y="528246"/>
                    </a:cubicBezTo>
                    <a:lnTo>
                      <a:pt x="4441" y="528246"/>
                    </a:lnTo>
                    <a:close/>
                    <a:moveTo>
                      <a:pt x="4441" y="456664"/>
                    </a:moveTo>
                    <a:cubicBezTo>
                      <a:pt x="1959" y="456664"/>
                      <a:pt x="0" y="454705"/>
                      <a:pt x="0" y="452223"/>
                    </a:cubicBezTo>
                    <a:lnTo>
                      <a:pt x="0" y="416432"/>
                    </a:lnTo>
                    <a:cubicBezTo>
                      <a:pt x="0" y="413950"/>
                      <a:pt x="1959" y="411990"/>
                      <a:pt x="4441" y="411990"/>
                    </a:cubicBezTo>
                    <a:lnTo>
                      <a:pt x="4441" y="411990"/>
                    </a:lnTo>
                    <a:cubicBezTo>
                      <a:pt x="6923" y="411990"/>
                      <a:pt x="8882" y="413950"/>
                      <a:pt x="8882" y="416432"/>
                    </a:cubicBezTo>
                    <a:lnTo>
                      <a:pt x="8882" y="452223"/>
                    </a:lnTo>
                    <a:cubicBezTo>
                      <a:pt x="8882" y="454705"/>
                      <a:pt x="6923" y="456664"/>
                      <a:pt x="4441" y="456664"/>
                    </a:cubicBezTo>
                    <a:lnTo>
                      <a:pt x="4441" y="456664"/>
                    </a:lnTo>
                    <a:close/>
                    <a:moveTo>
                      <a:pt x="4441" y="385082"/>
                    </a:moveTo>
                    <a:cubicBezTo>
                      <a:pt x="1959" y="385082"/>
                      <a:pt x="0" y="383122"/>
                      <a:pt x="0" y="380641"/>
                    </a:cubicBezTo>
                    <a:lnTo>
                      <a:pt x="0" y="344849"/>
                    </a:lnTo>
                    <a:cubicBezTo>
                      <a:pt x="0" y="342367"/>
                      <a:pt x="1959" y="340408"/>
                      <a:pt x="4441" y="340408"/>
                    </a:cubicBezTo>
                    <a:lnTo>
                      <a:pt x="4441" y="340408"/>
                    </a:lnTo>
                    <a:cubicBezTo>
                      <a:pt x="6923" y="340408"/>
                      <a:pt x="8882" y="342367"/>
                      <a:pt x="8882" y="344849"/>
                    </a:cubicBezTo>
                    <a:lnTo>
                      <a:pt x="8882" y="380641"/>
                    </a:lnTo>
                    <a:cubicBezTo>
                      <a:pt x="8882" y="383122"/>
                      <a:pt x="6923" y="385082"/>
                      <a:pt x="4441" y="385082"/>
                    </a:cubicBezTo>
                    <a:lnTo>
                      <a:pt x="4441" y="385082"/>
                    </a:lnTo>
                    <a:close/>
                    <a:moveTo>
                      <a:pt x="4441" y="313499"/>
                    </a:moveTo>
                    <a:cubicBezTo>
                      <a:pt x="1959" y="313499"/>
                      <a:pt x="0" y="311540"/>
                      <a:pt x="0" y="309058"/>
                    </a:cubicBezTo>
                    <a:lnTo>
                      <a:pt x="0" y="273267"/>
                    </a:lnTo>
                    <a:cubicBezTo>
                      <a:pt x="0" y="270785"/>
                      <a:pt x="1959" y="268826"/>
                      <a:pt x="4441" y="268826"/>
                    </a:cubicBezTo>
                    <a:lnTo>
                      <a:pt x="4441" y="268826"/>
                    </a:lnTo>
                    <a:cubicBezTo>
                      <a:pt x="6923" y="268826"/>
                      <a:pt x="8882" y="270785"/>
                      <a:pt x="8882" y="273267"/>
                    </a:cubicBezTo>
                    <a:lnTo>
                      <a:pt x="8882" y="309058"/>
                    </a:lnTo>
                    <a:cubicBezTo>
                      <a:pt x="8882" y="311540"/>
                      <a:pt x="6923" y="313499"/>
                      <a:pt x="4441" y="313499"/>
                    </a:cubicBezTo>
                    <a:lnTo>
                      <a:pt x="4441" y="313499"/>
                    </a:lnTo>
                    <a:close/>
                    <a:moveTo>
                      <a:pt x="4441" y="241917"/>
                    </a:moveTo>
                    <a:cubicBezTo>
                      <a:pt x="1959" y="241917"/>
                      <a:pt x="0" y="239958"/>
                      <a:pt x="0" y="237476"/>
                    </a:cubicBezTo>
                    <a:lnTo>
                      <a:pt x="0" y="201684"/>
                    </a:lnTo>
                    <a:cubicBezTo>
                      <a:pt x="0" y="199203"/>
                      <a:pt x="1959" y="197243"/>
                      <a:pt x="4441" y="197243"/>
                    </a:cubicBezTo>
                    <a:lnTo>
                      <a:pt x="4441" y="197243"/>
                    </a:lnTo>
                    <a:cubicBezTo>
                      <a:pt x="6923" y="197243"/>
                      <a:pt x="8882" y="199203"/>
                      <a:pt x="8882" y="201684"/>
                    </a:cubicBezTo>
                    <a:lnTo>
                      <a:pt x="8882" y="237476"/>
                    </a:lnTo>
                    <a:cubicBezTo>
                      <a:pt x="8882" y="239958"/>
                      <a:pt x="6923" y="241917"/>
                      <a:pt x="4441" y="241917"/>
                    </a:cubicBezTo>
                    <a:lnTo>
                      <a:pt x="4441" y="241917"/>
                    </a:lnTo>
                    <a:close/>
                    <a:moveTo>
                      <a:pt x="4441" y="170335"/>
                    </a:moveTo>
                    <a:cubicBezTo>
                      <a:pt x="1959" y="170335"/>
                      <a:pt x="0" y="168375"/>
                      <a:pt x="0" y="165893"/>
                    </a:cubicBezTo>
                    <a:lnTo>
                      <a:pt x="0" y="130102"/>
                    </a:lnTo>
                    <a:cubicBezTo>
                      <a:pt x="0" y="127620"/>
                      <a:pt x="1959" y="125661"/>
                      <a:pt x="4441" y="125661"/>
                    </a:cubicBezTo>
                    <a:lnTo>
                      <a:pt x="4441" y="125661"/>
                    </a:lnTo>
                    <a:cubicBezTo>
                      <a:pt x="6923" y="125661"/>
                      <a:pt x="8882" y="127620"/>
                      <a:pt x="8882" y="130102"/>
                    </a:cubicBezTo>
                    <a:lnTo>
                      <a:pt x="8882" y="165893"/>
                    </a:lnTo>
                    <a:cubicBezTo>
                      <a:pt x="8882" y="168375"/>
                      <a:pt x="6923" y="170335"/>
                      <a:pt x="4441" y="170335"/>
                    </a:cubicBezTo>
                    <a:lnTo>
                      <a:pt x="4441" y="170335"/>
                    </a:lnTo>
                    <a:close/>
                    <a:moveTo>
                      <a:pt x="4441" y="98752"/>
                    </a:moveTo>
                    <a:cubicBezTo>
                      <a:pt x="1959" y="98752"/>
                      <a:pt x="0" y="96793"/>
                      <a:pt x="0" y="94311"/>
                    </a:cubicBezTo>
                    <a:lnTo>
                      <a:pt x="0" y="58520"/>
                    </a:lnTo>
                    <a:cubicBezTo>
                      <a:pt x="0" y="56038"/>
                      <a:pt x="1959" y="54079"/>
                      <a:pt x="4441" y="54079"/>
                    </a:cubicBezTo>
                    <a:lnTo>
                      <a:pt x="4441" y="54079"/>
                    </a:lnTo>
                    <a:cubicBezTo>
                      <a:pt x="6923" y="54079"/>
                      <a:pt x="8882" y="56038"/>
                      <a:pt x="8882" y="58520"/>
                    </a:cubicBezTo>
                    <a:lnTo>
                      <a:pt x="8882" y="94311"/>
                    </a:lnTo>
                    <a:cubicBezTo>
                      <a:pt x="8882" y="96793"/>
                      <a:pt x="6923" y="98752"/>
                      <a:pt x="4441" y="98752"/>
                    </a:cubicBezTo>
                    <a:lnTo>
                      <a:pt x="4441" y="98752"/>
                    </a:lnTo>
                    <a:close/>
                    <a:moveTo>
                      <a:pt x="4441" y="27170"/>
                    </a:moveTo>
                    <a:cubicBezTo>
                      <a:pt x="1959" y="27170"/>
                      <a:pt x="0" y="25210"/>
                      <a:pt x="0" y="22729"/>
                    </a:cubicBezTo>
                    <a:lnTo>
                      <a:pt x="0" y="4441"/>
                    </a:lnTo>
                    <a:cubicBezTo>
                      <a:pt x="0" y="1959"/>
                      <a:pt x="1959" y="0"/>
                      <a:pt x="4441" y="0"/>
                    </a:cubicBezTo>
                    <a:lnTo>
                      <a:pt x="4441" y="0"/>
                    </a:lnTo>
                    <a:cubicBezTo>
                      <a:pt x="6923" y="0"/>
                      <a:pt x="8882" y="1959"/>
                      <a:pt x="8882" y="4441"/>
                    </a:cubicBezTo>
                    <a:lnTo>
                      <a:pt x="8882" y="22729"/>
                    </a:lnTo>
                    <a:cubicBezTo>
                      <a:pt x="8882" y="25210"/>
                      <a:pt x="6923" y="27170"/>
                      <a:pt x="4441" y="27170"/>
                    </a:cubicBezTo>
                    <a:lnTo>
                      <a:pt x="4441" y="27170"/>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D806BE99-2E62-D995-A422-EB4BAF7F5FA9}"/>
                  </a:ext>
                </a:extLst>
              </p:cNvPr>
              <p:cNvSpPr/>
              <p:nvPr/>
            </p:nvSpPr>
            <p:spPr>
              <a:xfrm>
                <a:off x="1921056" y="3921227"/>
                <a:ext cx="8882" cy="903662"/>
              </a:xfrm>
              <a:custGeom>
                <a:avLst/>
                <a:gdLst>
                  <a:gd name="connsiteX0" fmla="*/ 4441 w 8882"/>
                  <a:gd name="connsiteY0" fmla="*/ 903662 h 903662"/>
                  <a:gd name="connsiteX1" fmla="*/ 0 w 8882"/>
                  <a:gd name="connsiteY1" fmla="*/ 899221 h 903662"/>
                  <a:gd name="connsiteX2" fmla="*/ 0 w 8882"/>
                  <a:gd name="connsiteY2" fmla="*/ 863430 h 903662"/>
                  <a:gd name="connsiteX3" fmla="*/ 4441 w 8882"/>
                  <a:gd name="connsiteY3" fmla="*/ 858988 h 903662"/>
                  <a:gd name="connsiteX4" fmla="*/ 4441 w 8882"/>
                  <a:gd name="connsiteY4" fmla="*/ 858988 h 903662"/>
                  <a:gd name="connsiteX5" fmla="*/ 8882 w 8882"/>
                  <a:gd name="connsiteY5" fmla="*/ 863430 h 903662"/>
                  <a:gd name="connsiteX6" fmla="*/ 8882 w 8882"/>
                  <a:gd name="connsiteY6" fmla="*/ 899221 h 903662"/>
                  <a:gd name="connsiteX7" fmla="*/ 4441 w 8882"/>
                  <a:gd name="connsiteY7" fmla="*/ 903662 h 903662"/>
                  <a:gd name="connsiteX8" fmla="*/ 4441 w 8882"/>
                  <a:gd name="connsiteY8" fmla="*/ 903662 h 903662"/>
                  <a:gd name="connsiteX9" fmla="*/ 4441 w 8882"/>
                  <a:gd name="connsiteY9" fmla="*/ 832080 h 903662"/>
                  <a:gd name="connsiteX10" fmla="*/ 0 w 8882"/>
                  <a:gd name="connsiteY10" fmla="*/ 827639 h 903662"/>
                  <a:gd name="connsiteX11" fmla="*/ 0 w 8882"/>
                  <a:gd name="connsiteY11" fmla="*/ 791847 h 903662"/>
                  <a:gd name="connsiteX12" fmla="*/ 4441 w 8882"/>
                  <a:gd name="connsiteY12" fmla="*/ 787406 h 903662"/>
                  <a:gd name="connsiteX13" fmla="*/ 4441 w 8882"/>
                  <a:gd name="connsiteY13" fmla="*/ 787406 h 903662"/>
                  <a:gd name="connsiteX14" fmla="*/ 8882 w 8882"/>
                  <a:gd name="connsiteY14" fmla="*/ 791847 h 903662"/>
                  <a:gd name="connsiteX15" fmla="*/ 8882 w 8882"/>
                  <a:gd name="connsiteY15" fmla="*/ 827639 h 903662"/>
                  <a:gd name="connsiteX16" fmla="*/ 4441 w 8882"/>
                  <a:gd name="connsiteY16" fmla="*/ 832080 h 903662"/>
                  <a:gd name="connsiteX17" fmla="*/ 4441 w 8882"/>
                  <a:gd name="connsiteY17" fmla="*/ 832080 h 903662"/>
                  <a:gd name="connsiteX18" fmla="*/ 4441 w 8882"/>
                  <a:gd name="connsiteY18" fmla="*/ 760497 h 903662"/>
                  <a:gd name="connsiteX19" fmla="*/ 0 w 8882"/>
                  <a:gd name="connsiteY19" fmla="*/ 756056 h 903662"/>
                  <a:gd name="connsiteX20" fmla="*/ 0 w 8882"/>
                  <a:gd name="connsiteY20" fmla="*/ 720265 h 903662"/>
                  <a:gd name="connsiteX21" fmla="*/ 4441 w 8882"/>
                  <a:gd name="connsiteY21" fmla="*/ 715824 h 903662"/>
                  <a:gd name="connsiteX22" fmla="*/ 4441 w 8882"/>
                  <a:gd name="connsiteY22" fmla="*/ 715824 h 903662"/>
                  <a:gd name="connsiteX23" fmla="*/ 8882 w 8882"/>
                  <a:gd name="connsiteY23" fmla="*/ 720265 h 903662"/>
                  <a:gd name="connsiteX24" fmla="*/ 8882 w 8882"/>
                  <a:gd name="connsiteY24" fmla="*/ 756056 h 903662"/>
                  <a:gd name="connsiteX25" fmla="*/ 4441 w 8882"/>
                  <a:gd name="connsiteY25" fmla="*/ 760497 h 903662"/>
                  <a:gd name="connsiteX26" fmla="*/ 4441 w 8882"/>
                  <a:gd name="connsiteY26" fmla="*/ 760497 h 903662"/>
                  <a:gd name="connsiteX27" fmla="*/ 4441 w 8882"/>
                  <a:gd name="connsiteY27" fmla="*/ 688915 h 903662"/>
                  <a:gd name="connsiteX28" fmla="*/ 0 w 8882"/>
                  <a:gd name="connsiteY28" fmla="*/ 684474 h 903662"/>
                  <a:gd name="connsiteX29" fmla="*/ 0 w 8882"/>
                  <a:gd name="connsiteY29" fmla="*/ 648682 h 903662"/>
                  <a:gd name="connsiteX30" fmla="*/ 4441 w 8882"/>
                  <a:gd name="connsiteY30" fmla="*/ 644241 h 903662"/>
                  <a:gd name="connsiteX31" fmla="*/ 4441 w 8882"/>
                  <a:gd name="connsiteY31" fmla="*/ 644241 h 903662"/>
                  <a:gd name="connsiteX32" fmla="*/ 8882 w 8882"/>
                  <a:gd name="connsiteY32" fmla="*/ 648682 h 903662"/>
                  <a:gd name="connsiteX33" fmla="*/ 8882 w 8882"/>
                  <a:gd name="connsiteY33" fmla="*/ 684474 h 903662"/>
                  <a:gd name="connsiteX34" fmla="*/ 4441 w 8882"/>
                  <a:gd name="connsiteY34" fmla="*/ 688915 h 903662"/>
                  <a:gd name="connsiteX35" fmla="*/ 4441 w 8882"/>
                  <a:gd name="connsiteY35" fmla="*/ 688915 h 903662"/>
                  <a:gd name="connsiteX36" fmla="*/ 4441 w 8882"/>
                  <a:gd name="connsiteY36" fmla="*/ 617333 h 903662"/>
                  <a:gd name="connsiteX37" fmla="*/ 0 w 8882"/>
                  <a:gd name="connsiteY37" fmla="*/ 612891 h 903662"/>
                  <a:gd name="connsiteX38" fmla="*/ 0 w 8882"/>
                  <a:gd name="connsiteY38" fmla="*/ 577100 h 903662"/>
                  <a:gd name="connsiteX39" fmla="*/ 4441 w 8882"/>
                  <a:gd name="connsiteY39" fmla="*/ 572659 h 903662"/>
                  <a:gd name="connsiteX40" fmla="*/ 4441 w 8882"/>
                  <a:gd name="connsiteY40" fmla="*/ 572659 h 903662"/>
                  <a:gd name="connsiteX41" fmla="*/ 8882 w 8882"/>
                  <a:gd name="connsiteY41" fmla="*/ 577100 h 903662"/>
                  <a:gd name="connsiteX42" fmla="*/ 8882 w 8882"/>
                  <a:gd name="connsiteY42" fmla="*/ 612891 h 903662"/>
                  <a:gd name="connsiteX43" fmla="*/ 4441 w 8882"/>
                  <a:gd name="connsiteY43" fmla="*/ 617333 h 903662"/>
                  <a:gd name="connsiteX44" fmla="*/ 4441 w 8882"/>
                  <a:gd name="connsiteY44" fmla="*/ 617333 h 903662"/>
                  <a:gd name="connsiteX45" fmla="*/ 4441 w 8882"/>
                  <a:gd name="connsiteY45" fmla="*/ 545750 h 903662"/>
                  <a:gd name="connsiteX46" fmla="*/ 0 w 8882"/>
                  <a:gd name="connsiteY46" fmla="*/ 541309 h 903662"/>
                  <a:gd name="connsiteX47" fmla="*/ 0 w 8882"/>
                  <a:gd name="connsiteY47" fmla="*/ 505518 h 903662"/>
                  <a:gd name="connsiteX48" fmla="*/ 4441 w 8882"/>
                  <a:gd name="connsiteY48" fmla="*/ 501077 h 903662"/>
                  <a:gd name="connsiteX49" fmla="*/ 4441 w 8882"/>
                  <a:gd name="connsiteY49" fmla="*/ 501077 h 903662"/>
                  <a:gd name="connsiteX50" fmla="*/ 8882 w 8882"/>
                  <a:gd name="connsiteY50" fmla="*/ 505518 h 903662"/>
                  <a:gd name="connsiteX51" fmla="*/ 8882 w 8882"/>
                  <a:gd name="connsiteY51" fmla="*/ 541309 h 903662"/>
                  <a:gd name="connsiteX52" fmla="*/ 4441 w 8882"/>
                  <a:gd name="connsiteY52" fmla="*/ 545750 h 903662"/>
                  <a:gd name="connsiteX53" fmla="*/ 4441 w 8882"/>
                  <a:gd name="connsiteY53" fmla="*/ 545750 h 903662"/>
                  <a:gd name="connsiteX54" fmla="*/ 4441 w 8882"/>
                  <a:gd name="connsiteY54" fmla="*/ 474168 h 903662"/>
                  <a:gd name="connsiteX55" fmla="*/ 0 w 8882"/>
                  <a:gd name="connsiteY55" fmla="*/ 469727 h 903662"/>
                  <a:gd name="connsiteX56" fmla="*/ 0 w 8882"/>
                  <a:gd name="connsiteY56" fmla="*/ 433936 h 903662"/>
                  <a:gd name="connsiteX57" fmla="*/ 4441 w 8882"/>
                  <a:gd name="connsiteY57" fmla="*/ 429494 h 903662"/>
                  <a:gd name="connsiteX58" fmla="*/ 4441 w 8882"/>
                  <a:gd name="connsiteY58" fmla="*/ 429494 h 903662"/>
                  <a:gd name="connsiteX59" fmla="*/ 8882 w 8882"/>
                  <a:gd name="connsiteY59" fmla="*/ 433936 h 903662"/>
                  <a:gd name="connsiteX60" fmla="*/ 8882 w 8882"/>
                  <a:gd name="connsiteY60" fmla="*/ 469727 h 903662"/>
                  <a:gd name="connsiteX61" fmla="*/ 4441 w 8882"/>
                  <a:gd name="connsiteY61" fmla="*/ 474168 h 903662"/>
                  <a:gd name="connsiteX62" fmla="*/ 4441 w 8882"/>
                  <a:gd name="connsiteY62" fmla="*/ 474168 h 903662"/>
                  <a:gd name="connsiteX63" fmla="*/ 4441 w 8882"/>
                  <a:gd name="connsiteY63" fmla="*/ 402585 h 903662"/>
                  <a:gd name="connsiteX64" fmla="*/ 0 w 8882"/>
                  <a:gd name="connsiteY64" fmla="*/ 398144 h 903662"/>
                  <a:gd name="connsiteX65" fmla="*/ 0 w 8882"/>
                  <a:gd name="connsiteY65" fmla="*/ 362353 h 903662"/>
                  <a:gd name="connsiteX66" fmla="*/ 4441 w 8882"/>
                  <a:gd name="connsiteY66" fmla="*/ 357912 h 903662"/>
                  <a:gd name="connsiteX67" fmla="*/ 4441 w 8882"/>
                  <a:gd name="connsiteY67" fmla="*/ 357912 h 903662"/>
                  <a:gd name="connsiteX68" fmla="*/ 8882 w 8882"/>
                  <a:gd name="connsiteY68" fmla="*/ 362353 h 903662"/>
                  <a:gd name="connsiteX69" fmla="*/ 8882 w 8882"/>
                  <a:gd name="connsiteY69" fmla="*/ 398144 h 903662"/>
                  <a:gd name="connsiteX70" fmla="*/ 4441 w 8882"/>
                  <a:gd name="connsiteY70" fmla="*/ 402585 h 903662"/>
                  <a:gd name="connsiteX71" fmla="*/ 4441 w 8882"/>
                  <a:gd name="connsiteY71" fmla="*/ 402585 h 903662"/>
                  <a:gd name="connsiteX72" fmla="*/ 4441 w 8882"/>
                  <a:gd name="connsiteY72" fmla="*/ 331003 h 903662"/>
                  <a:gd name="connsiteX73" fmla="*/ 0 w 8882"/>
                  <a:gd name="connsiteY73" fmla="*/ 326562 h 903662"/>
                  <a:gd name="connsiteX74" fmla="*/ 0 w 8882"/>
                  <a:gd name="connsiteY74" fmla="*/ 290771 h 903662"/>
                  <a:gd name="connsiteX75" fmla="*/ 4441 w 8882"/>
                  <a:gd name="connsiteY75" fmla="*/ 286329 h 903662"/>
                  <a:gd name="connsiteX76" fmla="*/ 4441 w 8882"/>
                  <a:gd name="connsiteY76" fmla="*/ 286329 h 903662"/>
                  <a:gd name="connsiteX77" fmla="*/ 8882 w 8882"/>
                  <a:gd name="connsiteY77" fmla="*/ 290771 h 903662"/>
                  <a:gd name="connsiteX78" fmla="*/ 8882 w 8882"/>
                  <a:gd name="connsiteY78" fmla="*/ 326562 h 903662"/>
                  <a:gd name="connsiteX79" fmla="*/ 4441 w 8882"/>
                  <a:gd name="connsiteY79" fmla="*/ 331003 h 903662"/>
                  <a:gd name="connsiteX80" fmla="*/ 4441 w 8882"/>
                  <a:gd name="connsiteY80" fmla="*/ 331003 h 903662"/>
                  <a:gd name="connsiteX81" fmla="*/ 4441 w 8882"/>
                  <a:gd name="connsiteY81" fmla="*/ 259421 h 903662"/>
                  <a:gd name="connsiteX82" fmla="*/ 0 w 8882"/>
                  <a:gd name="connsiteY82" fmla="*/ 254979 h 903662"/>
                  <a:gd name="connsiteX83" fmla="*/ 0 w 8882"/>
                  <a:gd name="connsiteY83" fmla="*/ 219188 h 903662"/>
                  <a:gd name="connsiteX84" fmla="*/ 4441 w 8882"/>
                  <a:gd name="connsiteY84" fmla="*/ 214747 h 903662"/>
                  <a:gd name="connsiteX85" fmla="*/ 4441 w 8882"/>
                  <a:gd name="connsiteY85" fmla="*/ 214747 h 903662"/>
                  <a:gd name="connsiteX86" fmla="*/ 8882 w 8882"/>
                  <a:gd name="connsiteY86" fmla="*/ 219188 h 903662"/>
                  <a:gd name="connsiteX87" fmla="*/ 8882 w 8882"/>
                  <a:gd name="connsiteY87" fmla="*/ 254979 h 903662"/>
                  <a:gd name="connsiteX88" fmla="*/ 4441 w 8882"/>
                  <a:gd name="connsiteY88" fmla="*/ 259421 h 903662"/>
                  <a:gd name="connsiteX89" fmla="*/ 4441 w 8882"/>
                  <a:gd name="connsiteY89" fmla="*/ 259421 h 903662"/>
                  <a:gd name="connsiteX90" fmla="*/ 4441 w 8882"/>
                  <a:gd name="connsiteY90" fmla="*/ 187838 h 903662"/>
                  <a:gd name="connsiteX91" fmla="*/ 0 w 8882"/>
                  <a:gd name="connsiteY91" fmla="*/ 183397 h 903662"/>
                  <a:gd name="connsiteX92" fmla="*/ 0 w 8882"/>
                  <a:gd name="connsiteY92" fmla="*/ 147606 h 903662"/>
                  <a:gd name="connsiteX93" fmla="*/ 4441 w 8882"/>
                  <a:gd name="connsiteY93" fmla="*/ 143165 h 903662"/>
                  <a:gd name="connsiteX94" fmla="*/ 4441 w 8882"/>
                  <a:gd name="connsiteY94" fmla="*/ 143165 h 903662"/>
                  <a:gd name="connsiteX95" fmla="*/ 8882 w 8882"/>
                  <a:gd name="connsiteY95" fmla="*/ 147606 h 903662"/>
                  <a:gd name="connsiteX96" fmla="*/ 8882 w 8882"/>
                  <a:gd name="connsiteY96" fmla="*/ 183397 h 903662"/>
                  <a:gd name="connsiteX97" fmla="*/ 4441 w 8882"/>
                  <a:gd name="connsiteY97" fmla="*/ 187838 h 903662"/>
                  <a:gd name="connsiteX98" fmla="*/ 4441 w 8882"/>
                  <a:gd name="connsiteY98" fmla="*/ 187838 h 903662"/>
                  <a:gd name="connsiteX99" fmla="*/ 4441 w 8882"/>
                  <a:gd name="connsiteY99" fmla="*/ 116256 h 903662"/>
                  <a:gd name="connsiteX100" fmla="*/ 0 w 8882"/>
                  <a:gd name="connsiteY100" fmla="*/ 111815 h 903662"/>
                  <a:gd name="connsiteX101" fmla="*/ 0 w 8882"/>
                  <a:gd name="connsiteY101" fmla="*/ 76024 h 903662"/>
                  <a:gd name="connsiteX102" fmla="*/ 4441 w 8882"/>
                  <a:gd name="connsiteY102" fmla="*/ 71582 h 903662"/>
                  <a:gd name="connsiteX103" fmla="*/ 4441 w 8882"/>
                  <a:gd name="connsiteY103" fmla="*/ 71582 h 903662"/>
                  <a:gd name="connsiteX104" fmla="*/ 8882 w 8882"/>
                  <a:gd name="connsiteY104" fmla="*/ 76024 h 903662"/>
                  <a:gd name="connsiteX105" fmla="*/ 8882 w 8882"/>
                  <a:gd name="connsiteY105" fmla="*/ 111815 h 903662"/>
                  <a:gd name="connsiteX106" fmla="*/ 4441 w 8882"/>
                  <a:gd name="connsiteY106" fmla="*/ 116256 h 903662"/>
                  <a:gd name="connsiteX107" fmla="*/ 4441 w 8882"/>
                  <a:gd name="connsiteY107" fmla="*/ 116256 h 903662"/>
                  <a:gd name="connsiteX108" fmla="*/ 4441 w 8882"/>
                  <a:gd name="connsiteY108" fmla="*/ 44674 h 903662"/>
                  <a:gd name="connsiteX109" fmla="*/ 0 w 8882"/>
                  <a:gd name="connsiteY109" fmla="*/ 40232 h 903662"/>
                  <a:gd name="connsiteX110" fmla="*/ 0 w 8882"/>
                  <a:gd name="connsiteY110" fmla="*/ 4441 h 903662"/>
                  <a:gd name="connsiteX111" fmla="*/ 4441 w 8882"/>
                  <a:gd name="connsiteY111" fmla="*/ 0 h 903662"/>
                  <a:gd name="connsiteX112" fmla="*/ 4441 w 8882"/>
                  <a:gd name="connsiteY112" fmla="*/ 0 h 903662"/>
                  <a:gd name="connsiteX113" fmla="*/ 8882 w 8882"/>
                  <a:gd name="connsiteY113" fmla="*/ 4441 h 903662"/>
                  <a:gd name="connsiteX114" fmla="*/ 8882 w 8882"/>
                  <a:gd name="connsiteY114" fmla="*/ 40232 h 903662"/>
                  <a:gd name="connsiteX115" fmla="*/ 4441 w 8882"/>
                  <a:gd name="connsiteY115" fmla="*/ 44674 h 903662"/>
                  <a:gd name="connsiteX116" fmla="*/ 4441 w 8882"/>
                  <a:gd name="connsiteY116" fmla="*/ 44674 h 903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8882" h="903662">
                    <a:moveTo>
                      <a:pt x="4441" y="903662"/>
                    </a:moveTo>
                    <a:cubicBezTo>
                      <a:pt x="1959" y="903662"/>
                      <a:pt x="0" y="901703"/>
                      <a:pt x="0" y="899221"/>
                    </a:cubicBezTo>
                    <a:lnTo>
                      <a:pt x="0" y="863430"/>
                    </a:lnTo>
                    <a:cubicBezTo>
                      <a:pt x="0" y="860948"/>
                      <a:pt x="1959" y="858988"/>
                      <a:pt x="4441" y="858988"/>
                    </a:cubicBezTo>
                    <a:lnTo>
                      <a:pt x="4441" y="858988"/>
                    </a:lnTo>
                    <a:cubicBezTo>
                      <a:pt x="6923" y="858988"/>
                      <a:pt x="8882" y="860948"/>
                      <a:pt x="8882" y="863430"/>
                    </a:cubicBezTo>
                    <a:lnTo>
                      <a:pt x="8882" y="899221"/>
                    </a:lnTo>
                    <a:cubicBezTo>
                      <a:pt x="8882" y="901703"/>
                      <a:pt x="6923" y="903662"/>
                      <a:pt x="4441" y="903662"/>
                    </a:cubicBezTo>
                    <a:lnTo>
                      <a:pt x="4441" y="903662"/>
                    </a:lnTo>
                    <a:close/>
                    <a:moveTo>
                      <a:pt x="4441" y="832080"/>
                    </a:moveTo>
                    <a:cubicBezTo>
                      <a:pt x="1959" y="832080"/>
                      <a:pt x="0" y="830120"/>
                      <a:pt x="0" y="827639"/>
                    </a:cubicBezTo>
                    <a:lnTo>
                      <a:pt x="0" y="791847"/>
                    </a:lnTo>
                    <a:cubicBezTo>
                      <a:pt x="0" y="789365"/>
                      <a:pt x="1959" y="787406"/>
                      <a:pt x="4441" y="787406"/>
                    </a:cubicBezTo>
                    <a:lnTo>
                      <a:pt x="4441" y="787406"/>
                    </a:lnTo>
                    <a:cubicBezTo>
                      <a:pt x="6923" y="787406"/>
                      <a:pt x="8882" y="789365"/>
                      <a:pt x="8882" y="791847"/>
                    </a:cubicBezTo>
                    <a:lnTo>
                      <a:pt x="8882" y="827639"/>
                    </a:lnTo>
                    <a:cubicBezTo>
                      <a:pt x="8882" y="830120"/>
                      <a:pt x="6923" y="832080"/>
                      <a:pt x="4441" y="832080"/>
                    </a:cubicBezTo>
                    <a:lnTo>
                      <a:pt x="4441" y="832080"/>
                    </a:lnTo>
                    <a:close/>
                    <a:moveTo>
                      <a:pt x="4441" y="760497"/>
                    </a:moveTo>
                    <a:cubicBezTo>
                      <a:pt x="1959" y="760497"/>
                      <a:pt x="0" y="758538"/>
                      <a:pt x="0" y="756056"/>
                    </a:cubicBezTo>
                    <a:lnTo>
                      <a:pt x="0" y="720265"/>
                    </a:lnTo>
                    <a:cubicBezTo>
                      <a:pt x="0" y="717783"/>
                      <a:pt x="1959" y="715824"/>
                      <a:pt x="4441" y="715824"/>
                    </a:cubicBezTo>
                    <a:lnTo>
                      <a:pt x="4441" y="715824"/>
                    </a:lnTo>
                    <a:cubicBezTo>
                      <a:pt x="6923" y="715824"/>
                      <a:pt x="8882" y="717783"/>
                      <a:pt x="8882" y="720265"/>
                    </a:cubicBezTo>
                    <a:lnTo>
                      <a:pt x="8882" y="756056"/>
                    </a:lnTo>
                    <a:cubicBezTo>
                      <a:pt x="8882" y="758538"/>
                      <a:pt x="6923" y="760497"/>
                      <a:pt x="4441" y="760497"/>
                    </a:cubicBezTo>
                    <a:lnTo>
                      <a:pt x="4441" y="760497"/>
                    </a:lnTo>
                    <a:close/>
                    <a:moveTo>
                      <a:pt x="4441" y="688915"/>
                    </a:moveTo>
                    <a:cubicBezTo>
                      <a:pt x="1959" y="688915"/>
                      <a:pt x="0" y="686956"/>
                      <a:pt x="0" y="684474"/>
                    </a:cubicBezTo>
                    <a:lnTo>
                      <a:pt x="0" y="648682"/>
                    </a:lnTo>
                    <a:cubicBezTo>
                      <a:pt x="0" y="646201"/>
                      <a:pt x="1959" y="644241"/>
                      <a:pt x="4441" y="644241"/>
                    </a:cubicBezTo>
                    <a:lnTo>
                      <a:pt x="4441" y="644241"/>
                    </a:lnTo>
                    <a:cubicBezTo>
                      <a:pt x="6923" y="644241"/>
                      <a:pt x="8882" y="646201"/>
                      <a:pt x="8882" y="648682"/>
                    </a:cubicBezTo>
                    <a:lnTo>
                      <a:pt x="8882" y="684474"/>
                    </a:lnTo>
                    <a:cubicBezTo>
                      <a:pt x="8882" y="686956"/>
                      <a:pt x="6923" y="688915"/>
                      <a:pt x="4441" y="688915"/>
                    </a:cubicBezTo>
                    <a:lnTo>
                      <a:pt x="4441" y="688915"/>
                    </a:lnTo>
                    <a:close/>
                    <a:moveTo>
                      <a:pt x="4441" y="617333"/>
                    </a:moveTo>
                    <a:cubicBezTo>
                      <a:pt x="1959" y="617333"/>
                      <a:pt x="0" y="615373"/>
                      <a:pt x="0" y="612891"/>
                    </a:cubicBezTo>
                    <a:lnTo>
                      <a:pt x="0" y="577100"/>
                    </a:lnTo>
                    <a:cubicBezTo>
                      <a:pt x="0" y="574618"/>
                      <a:pt x="1959" y="572659"/>
                      <a:pt x="4441" y="572659"/>
                    </a:cubicBezTo>
                    <a:lnTo>
                      <a:pt x="4441" y="572659"/>
                    </a:lnTo>
                    <a:cubicBezTo>
                      <a:pt x="6923" y="572659"/>
                      <a:pt x="8882" y="574618"/>
                      <a:pt x="8882" y="577100"/>
                    </a:cubicBezTo>
                    <a:lnTo>
                      <a:pt x="8882" y="612891"/>
                    </a:lnTo>
                    <a:cubicBezTo>
                      <a:pt x="8882" y="615373"/>
                      <a:pt x="6923" y="617333"/>
                      <a:pt x="4441" y="617333"/>
                    </a:cubicBezTo>
                    <a:lnTo>
                      <a:pt x="4441" y="617333"/>
                    </a:lnTo>
                    <a:close/>
                    <a:moveTo>
                      <a:pt x="4441" y="545750"/>
                    </a:moveTo>
                    <a:cubicBezTo>
                      <a:pt x="1959" y="545750"/>
                      <a:pt x="0" y="543791"/>
                      <a:pt x="0" y="541309"/>
                    </a:cubicBezTo>
                    <a:lnTo>
                      <a:pt x="0" y="505518"/>
                    </a:lnTo>
                    <a:cubicBezTo>
                      <a:pt x="0" y="503036"/>
                      <a:pt x="1959" y="501077"/>
                      <a:pt x="4441" y="501077"/>
                    </a:cubicBezTo>
                    <a:lnTo>
                      <a:pt x="4441" y="501077"/>
                    </a:lnTo>
                    <a:cubicBezTo>
                      <a:pt x="6923" y="501077"/>
                      <a:pt x="8882" y="503036"/>
                      <a:pt x="8882" y="505518"/>
                    </a:cubicBezTo>
                    <a:lnTo>
                      <a:pt x="8882" y="541309"/>
                    </a:lnTo>
                    <a:cubicBezTo>
                      <a:pt x="8882" y="543791"/>
                      <a:pt x="6923" y="545750"/>
                      <a:pt x="4441" y="545750"/>
                    </a:cubicBezTo>
                    <a:lnTo>
                      <a:pt x="4441" y="545750"/>
                    </a:lnTo>
                    <a:close/>
                    <a:moveTo>
                      <a:pt x="4441" y="474168"/>
                    </a:moveTo>
                    <a:cubicBezTo>
                      <a:pt x="1959" y="474168"/>
                      <a:pt x="0" y="472208"/>
                      <a:pt x="0" y="469727"/>
                    </a:cubicBezTo>
                    <a:lnTo>
                      <a:pt x="0" y="433936"/>
                    </a:lnTo>
                    <a:cubicBezTo>
                      <a:pt x="0" y="431454"/>
                      <a:pt x="1959" y="429494"/>
                      <a:pt x="4441" y="429494"/>
                    </a:cubicBezTo>
                    <a:lnTo>
                      <a:pt x="4441" y="429494"/>
                    </a:lnTo>
                    <a:cubicBezTo>
                      <a:pt x="6923" y="429494"/>
                      <a:pt x="8882" y="431454"/>
                      <a:pt x="8882" y="433936"/>
                    </a:cubicBezTo>
                    <a:lnTo>
                      <a:pt x="8882" y="469727"/>
                    </a:lnTo>
                    <a:cubicBezTo>
                      <a:pt x="8882" y="472208"/>
                      <a:pt x="6923" y="474168"/>
                      <a:pt x="4441" y="474168"/>
                    </a:cubicBezTo>
                    <a:lnTo>
                      <a:pt x="4441" y="474168"/>
                    </a:lnTo>
                    <a:close/>
                    <a:moveTo>
                      <a:pt x="4441" y="402585"/>
                    </a:moveTo>
                    <a:cubicBezTo>
                      <a:pt x="1959" y="402585"/>
                      <a:pt x="0" y="400626"/>
                      <a:pt x="0" y="398144"/>
                    </a:cubicBezTo>
                    <a:lnTo>
                      <a:pt x="0" y="362353"/>
                    </a:lnTo>
                    <a:cubicBezTo>
                      <a:pt x="0" y="359871"/>
                      <a:pt x="1959" y="357912"/>
                      <a:pt x="4441" y="357912"/>
                    </a:cubicBezTo>
                    <a:lnTo>
                      <a:pt x="4441" y="357912"/>
                    </a:lnTo>
                    <a:cubicBezTo>
                      <a:pt x="6923" y="357912"/>
                      <a:pt x="8882" y="359871"/>
                      <a:pt x="8882" y="362353"/>
                    </a:cubicBezTo>
                    <a:lnTo>
                      <a:pt x="8882" y="398144"/>
                    </a:lnTo>
                    <a:cubicBezTo>
                      <a:pt x="8882" y="400626"/>
                      <a:pt x="6923" y="402585"/>
                      <a:pt x="4441" y="402585"/>
                    </a:cubicBezTo>
                    <a:lnTo>
                      <a:pt x="4441" y="402585"/>
                    </a:lnTo>
                    <a:close/>
                    <a:moveTo>
                      <a:pt x="4441" y="331003"/>
                    </a:moveTo>
                    <a:cubicBezTo>
                      <a:pt x="1959" y="331003"/>
                      <a:pt x="0" y="329044"/>
                      <a:pt x="0" y="326562"/>
                    </a:cubicBezTo>
                    <a:lnTo>
                      <a:pt x="0" y="290771"/>
                    </a:lnTo>
                    <a:cubicBezTo>
                      <a:pt x="0" y="288289"/>
                      <a:pt x="1959" y="286329"/>
                      <a:pt x="4441" y="286329"/>
                    </a:cubicBezTo>
                    <a:lnTo>
                      <a:pt x="4441" y="286329"/>
                    </a:lnTo>
                    <a:cubicBezTo>
                      <a:pt x="6923" y="286329"/>
                      <a:pt x="8882" y="288289"/>
                      <a:pt x="8882" y="290771"/>
                    </a:cubicBezTo>
                    <a:lnTo>
                      <a:pt x="8882" y="326562"/>
                    </a:lnTo>
                    <a:cubicBezTo>
                      <a:pt x="8882" y="329044"/>
                      <a:pt x="6923" y="331003"/>
                      <a:pt x="4441" y="331003"/>
                    </a:cubicBezTo>
                    <a:lnTo>
                      <a:pt x="4441" y="331003"/>
                    </a:lnTo>
                    <a:close/>
                    <a:moveTo>
                      <a:pt x="4441" y="259421"/>
                    </a:moveTo>
                    <a:cubicBezTo>
                      <a:pt x="1959" y="259421"/>
                      <a:pt x="0" y="257461"/>
                      <a:pt x="0" y="254979"/>
                    </a:cubicBezTo>
                    <a:lnTo>
                      <a:pt x="0" y="219188"/>
                    </a:lnTo>
                    <a:cubicBezTo>
                      <a:pt x="0" y="216706"/>
                      <a:pt x="1959" y="214747"/>
                      <a:pt x="4441" y="214747"/>
                    </a:cubicBezTo>
                    <a:lnTo>
                      <a:pt x="4441" y="214747"/>
                    </a:lnTo>
                    <a:cubicBezTo>
                      <a:pt x="6923" y="214747"/>
                      <a:pt x="8882" y="216706"/>
                      <a:pt x="8882" y="219188"/>
                    </a:cubicBezTo>
                    <a:lnTo>
                      <a:pt x="8882" y="254979"/>
                    </a:lnTo>
                    <a:cubicBezTo>
                      <a:pt x="8882" y="257461"/>
                      <a:pt x="6923" y="259421"/>
                      <a:pt x="4441" y="259421"/>
                    </a:cubicBezTo>
                    <a:lnTo>
                      <a:pt x="4441" y="259421"/>
                    </a:lnTo>
                    <a:close/>
                    <a:moveTo>
                      <a:pt x="4441" y="187838"/>
                    </a:moveTo>
                    <a:cubicBezTo>
                      <a:pt x="1959" y="187838"/>
                      <a:pt x="0" y="185879"/>
                      <a:pt x="0" y="183397"/>
                    </a:cubicBezTo>
                    <a:lnTo>
                      <a:pt x="0" y="147606"/>
                    </a:lnTo>
                    <a:cubicBezTo>
                      <a:pt x="0" y="145124"/>
                      <a:pt x="1959" y="143165"/>
                      <a:pt x="4441" y="143165"/>
                    </a:cubicBezTo>
                    <a:lnTo>
                      <a:pt x="4441" y="143165"/>
                    </a:lnTo>
                    <a:cubicBezTo>
                      <a:pt x="6923" y="143165"/>
                      <a:pt x="8882" y="145124"/>
                      <a:pt x="8882" y="147606"/>
                    </a:cubicBezTo>
                    <a:lnTo>
                      <a:pt x="8882" y="183397"/>
                    </a:lnTo>
                    <a:cubicBezTo>
                      <a:pt x="8882" y="185879"/>
                      <a:pt x="6923" y="187838"/>
                      <a:pt x="4441" y="187838"/>
                    </a:cubicBezTo>
                    <a:lnTo>
                      <a:pt x="4441" y="187838"/>
                    </a:lnTo>
                    <a:close/>
                    <a:moveTo>
                      <a:pt x="4441" y="116256"/>
                    </a:moveTo>
                    <a:cubicBezTo>
                      <a:pt x="1959" y="116256"/>
                      <a:pt x="0" y="114297"/>
                      <a:pt x="0" y="111815"/>
                    </a:cubicBezTo>
                    <a:lnTo>
                      <a:pt x="0" y="76024"/>
                    </a:lnTo>
                    <a:cubicBezTo>
                      <a:pt x="0" y="73542"/>
                      <a:pt x="1959" y="71582"/>
                      <a:pt x="4441" y="71582"/>
                    </a:cubicBezTo>
                    <a:lnTo>
                      <a:pt x="4441" y="71582"/>
                    </a:lnTo>
                    <a:cubicBezTo>
                      <a:pt x="6923" y="71582"/>
                      <a:pt x="8882" y="73542"/>
                      <a:pt x="8882" y="76024"/>
                    </a:cubicBezTo>
                    <a:lnTo>
                      <a:pt x="8882" y="111815"/>
                    </a:lnTo>
                    <a:cubicBezTo>
                      <a:pt x="8882" y="114297"/>
                      <a:pt x="6923" y="116256"/>
                      <a:pt x="4441" y="116256"/>
                    </a:cubicBezTo>
                    <a:lnTo>
                      <a:pt x="4441" y="116256"/>
                    </a:lnTo>
                    <a:close/>
                    <a:moveTo>
                      <a:pt x="4441" y="44674"/>
                    </a:moveTo>
                    <a:cubicBezTo>
                      <a:pt x="1959" y="44674"/>
                      <a:pt x="0" y="42714"/>
                      <a:pt x="0" y="40232"/>
                    </a:cubicBezTo>
                    <a:lnTo>
                      <a:pt x="0" y="4441"/>
                    </a:lnTo>
                    <a:cubicBezTo>
                      <a:pt x="0" y="1959"/>
                      <a:pt x="1959" y="0"/>
                      <a:pt x="4441" y="0"/>
                    </a:cubicBezTo>
                    <a:lnTo>
                      <a:pt x="4441" y="0"/>
                    </a:lnTo>
                    <a:cubicBezTo>
                      <a:pt x="6923" y="0"/>
                      <a:pt x="8882" y="1959"/>
                      <a:pt x="8882" y="4441"/>
                    </a:cubicBezTo>
                    <a:lnTo>
                      <a:pt x="8882" y="40232"/>
                    </a:lnTo>
                    <a:cubicBezTo>
                      <a:pt x="8882" y="42714"/>
                      <a:pt x="6923" y="44674"/>
                      <a:pt x="4441" y="44674"/>
                    </a:cubicBezTo>
                    <a:lnTo>
                      <a:pt x="4441" y="44674"/>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BE47C6B7-61D6-4963-F555-FE914618ADA7}"/>
                  </a:ext>
                </a:extLst>
              </p:cNvPr>
              <p:cNvSpPr/>
              <p:nvPr/>
            </p:nvSpPr>
            <p:spPr>
              <a:xfrm>
                <a:off x="2171725" y="4086598"/>
                <a:ext cx="8882" cy="738291"/>
              </a:xfrm>
              <a:custGeom>
                <a:avLst/>
                <a:gdLst>
                  <a:gd name="connsiteX0" fmla="*/ 4441 w 8882"/>
                  <a:gd name="connsiteY0" fmla="*/ 738291 h 738291"/>
                  <a:gd name="connsiteX1" fmla="*/ 0 w 8882"/>
                  <a:gd name="connsiteY1" fmla="*/ 733850 h 738291"/>
                  <a:gd name="connsiteX2" fmla="*/ 0 w 8882"/>
                  <a:gd name="connsiteY2" fmla="*/ 698059 h 738291"/>
                  <a:gd name="connsiteX3" fmla="*/ 4441 w 8882"/>
                  <a:gd name="connsiteY3" fmla="*/ 693618 h 738291"/>
                  <a:gd name="connsiteX4" fmla="*/ 4441 w 8882"/>
                  <a:gd name="connsiteY4" fmla="*/ 693618 h 738291"/>
                  <a:gd name="connsiteX5" fmla="*/ 8882 w 8882"/>
                  <a:gd name="connsiteY5" fmla="*/ 698059 h 738291"/>
                  <a:gd name="connsiteX6" fmla="*/ 8882 w 8882"/>
                  <a:gd name="connsiteY6" fmla="*/ 733850 h 738291"/>
                  <a:gd name="connsiteX7" fmla="*/ 4441 w 8882"/>
                  <a:gd name="connsiteY7" fmla="*/ 738291 h 738291"/>
                  <a:gd name="connsiteX8" fmla="*/ 4441 w 8882"/>
                  <a:gd name="connsiteY8" fmla="*/ 738291 h 738291"/>
                  <a:gd name="connsiteX9" fmla="*/ 4441 w 8882"/>
                  <a:gd name="connsiteY9" fmla="*/ 666709 h 738291"/>
                  <a:gd name="connsiteX10" fmla="*/ 0 w 8882"/>
                  <a:gd name="connsiteY10" fmla="*/ 662268 h 738291"/>
                  <a:gd name="connsiteX11" fmla="*/ 0 w 8882"/>
                  <a:gd name="connsiteY11" fmla="*/ 626477 h 738291"/>
                  <a:gd name="connsiteX12" fmla="*/ 4441 w 8882"/>
                  <a:gd name="connsiteY12" fmla="*/ 622035 h 738291"/>
                  <a:gd name="connsiteX13" fmla="*/ 4441 w 8882"/>
                  <a:gd name="connsiteY13" fmla="*/ 622035 h 738291"/>
                  <a:gd name="connsiteX14" fmla="*/ 8882 w 8882"/>
                  <a:gd name="connsiteY14" fmla="*/ 626477 h 738291"/>
                  <a:gd name="connsiteX15" fmla="*/ 8882 w 8882"/>
                  <a:gd name="connsiteY15" fmla="*/ 662268 h 738291"/>
                  <a:gd name="connsiteX16" fmla="*/ 4441 w 8882"/>
                  <a:gd name="connsiteY16" fmla="*/ 666709 h 738291"/>
                  <a:gd name="connsiteX17" fmla="*/ 4441 w 8882"/>
                  <a:gd name="connsiteY17" fmla="*/ 666709 h 738291"/>
                  <a:gd name="connsiteX18" fmla="*/ 4441 w 8882"/>
                  <a:gd name="connsiteY18" fmla="*/ 595127 h 738291"/>
                  <a:gd name="connsiteX19" fmla="*/ 0 w 8882"/>
                  <a:gd name="connsiteY19" fmla="*/ 590685 h 738291"/>
                  <a:gd name="connsiteX20" fmla="*/ 0 w 8882"/>
                  <a:gd name="connsiteY20" fmla="*/ 554894 h 738291"/>
                  <a:gd name="connsiteX21" fmla="*/ 4441 w 8882"/>
                  <a:gd name="connsiteY21" fmla="*/ 550453 h 738291"/>
                  <a:gd name="connsiteX22" fmla="*/ 4441 w 8882"/>
                  <a:gd name="connsiteY22" fmla="*/ 550453 h 738291"/>
                  <a:gd name="connsiteX23" fmla="*/ 8882 w 8882"/>
                  <a:gd name="connsiteY23" fmla="*/ 554894 h 738291"/>
                  <a:gd name="connsiteX24" fmla="*/ 8882 w 8882"/>
                  <a:gd name="connsiteY24" fmla="*/ 590685 h 738291"/>
                  <a:gd name="connsiteX25" fmla="*/ 4441 w 8882"/>
                  <a:gd name="connsiteY25" fmla="*/ 595127 h 738291"/>
                  <a:gd name="connsiteX26" fmla="*/ 4441 w 8882"/>
                  <a:gd name="connsiteY26" fmla="*/ 595127 h 738291"/>
                  <a:gd name="connsiteX27" fmla="*/ 4441 w 8882"/>
                  <a:gd name="connsiteY27" fmla="*/ 523544 h 738291"/>
                  <a:gd name="connsiteX28" fmla="*/ 0 w 8882"/>
                  <a:gd name="connsiteY28" fmla="*/ 519103 h 738291"/>
                  <a:gd name="connsiteX29" fmla="*/ 0 w 8882"/>
                  <a:gd name="connsiteY29" fmla="*/ 483312 h 738291"/>
                  <a:gd name="connsiteX30" fmla="*/ 4441 w 8882"/>
                  <a:gd name="connsiteY30" fmla="*/ 478870 h 738291"/>
                  <a:gd name="connsiteX31" fmla="*/ 4441 w 8882"/>
                  <a:gd name="connsiteY31" fmla="*/ 478870 h 738291"/>
                  <a:gd name="connsiteX32" fmla="*/ 8882 w 8882"/>
                  <a:gd name="connsiteY32" fmla="*/ 483312 h 738291"/>
                  <a:gd name="connsiteX33" fmla="*/ 8882 w 8882"/>
                  <a:gd name="connsiteY33" fmla="*/ 519103 h 738291"/>
                  <a:gd name="connsiteX34" fmla="*/ 4441 w 8882"/>
                  <a:gd name="connsiteY34" fmla="*/ 523544 h 738291"/>
                  <a:gd name="connsiteX35" fmla="*/ 4441 w 8882"/>
                  <a:gd name="connsiteY35" fmla="*/ 523544 h 738291"/>
                  <a:gd name="connsiteX36" fmla="*/ 4441 w 8882"/>
                  <a:gd name="connsiteY36" fmla="*/ 451962 h 738291"/>
                  <a:gd name="connsiteX37" fmla="*/ 0 w 8882"/>
                  <a:gd name="connsiteY37" fmla="*/ 447521 h 738291"/>
                  <a:gd name="connsiteX38" fmla="*/ 0 w 8882"/>
                  <a:gd name="connsiteY38" fmla="*/ 411729 h 738291"/>
                  <a:gd name="connsiteX39" fmla="*/ 4441 w 8882"/>
                  <a:gd name="connsiteY39" fmla="*/ 407288 h 738291"/>
                  <a:gd name="connsiteX40" fmla="*/ 4441 w 8882"/>
                  <a:gd name="connsiteY40" fmla="*/ 407288 h 738291"/>
                  <a:gd name="connsiteX41" fmla="*/ 8882 w 8882"/>
                  <a:gd name="connsiteY41" fmla="*/ 411729 h 738291"/>
                  <a:gd name="connsiteX42" fmla="*/ 8882 w 8882"/>
                  <a:gd name="connsiteY42" fmla="*/ 447521 h 738291"/>
                  <a:gd name="connsiteX43" fmla="*/ 4441 w 8882"/>
                  <a:gd name="connsiteY43" fmla="*/ 451962 h 738291"/>
                  <a:gd name="connsiteX44" fmla="*/ 4441 w 8882"/>
                  <a:gd name="connsiteY44" fmla="*/ 451962 h 738291"/>
                  <a:gd name="connsiteX45" fmla="*/ 4441 w 8882"/>
                  <a:gd name="connsiteY45" fmla="*/ 380379 h 738291"/>
                  <a:gd name="connsiteX46" fmla="*/ 0 w 8882"/>
                  <a:gd name="connsiteY46" fmla="*/ 375938 h 738291"/>
                  <a:gd name="connsiteX47" fmla="*/ 0 w 8882"/>
                  <a:gd name="connsiteY47" fmla="*/ 340147 h 738291"/>
                  <a:gd name="connsiteX48" fmla="*/ 4441 w 8882"/>
                  <a:gd name="connsiteY48" fmla="*/ 335706 h 738291"/>
                  <a:gd name="connsiteX49" fmla="*/ 4441 w 8882"/>
                  <a:gd name="connsiteY49" fmla="*/ 335706 h 738291"/>
                  <a:gd name="connsiteX50" fmla="*/ 8882 w 8882"/>
                  <a:gd name="connsiteY50" fmla="*/ 340147 h 738291"/>
                  <a:gd name="connsiteX51" fmla="*/ 8882 w 8882"/>
                  <a:gd name="connsiteY51" fmla="*/ 375938 h 738291"/>
                  <a:gd name="connsiteX52" fmla="*/ 4441 w 8882"/>
                  <a:gd name="connsiteY52" fmla="*/ 380379 h 738291"/>
                  <a:gd name="connsiteX53" fmla="*/ 4441 w 8882"/>
                  <a:gd name="connsiteY53" fmla="*/ 380379 h 738291"/>
                  <a:gd name="connsiteX54" fmla="*/ 4441 w 8882"/>
                  <a:gd name="connsiteY54" fmla="*/ 308797 h 738291"/>
                  <a:gd name="connsiteX55" fmla="*/ 0 w 8882"/>
                  <a:gd name="connsiteY55" fmla="*/ 304356 h 738291"/>
                  <a:gd name="connsiteX56" fmla="*/ 0 w 8882"/>
                  <a:gd name="connsiteY56" fmla="*/ 268565 h 738291"/>
                  <a:gd name="connsiteX57" fmla="*/ 4441 w 8882"/>
                  <a:gd name="connsiteY57" fmla="*/ 264123 h 738291"/>
                  <a:gd name="connsiteX58" fmla="*/ 4441 w 8882"/>
                  <a:gd name="connsiteY58" fmla="*/ 264123 h 738291"/>
                  <a:gd name="connsiteX59" fmla="*/ 8882 w 8882"/>
                  <a:gd name="connsiteY59" fmla="*/ 268565 h 738291"/>
                  <a:gd name="connsiteX60" fmla="*/ 8882 w 8882"/>
                  <a:gd name="connsiteY60" fmla="*/ 304356 h 738291"/>
                  <a:gd name="connsiteX61" fmla="*/ 4441 w 8882"/>
                  <a:gd name="connsiteY61" fmla="*/ 308797 h 738291"/>
                  <a:gd name="connsiteX62" fmla="*/ 4441 w 8882"/>
                  <a:gd name="connsiteY62" fmla="*/ 308797 h 738291"/>
                  <a:gd name="connsiteX63" fmla="*/ 4441 w 8882"/>
                  <a:gd name="connsiteY63" fmla="*/ 237215 h 738291"/>
                  <a:gd name="connsiteX64" fmla="*/ 0 w 8882"/>
                  <a:gd name="connsiteY64" fmla="*/ 232773 h 738291"/>
                  <a:gd name="connsiteX65" fmla="*/ 0 w 8882"/>
                  <a:gd name="connsiteY65" fmla="*/ 196982 h 738291"/>
                  <a:gd name="connsiteX66" fmla="*/ 4441 w 8882"/>
                  <a:gd name="connsiteY66" fmla="*/ 192541 h 738291"/>
                  <a:gd name="connsiteX67" fmla="*/ 4441 w 8882"/>
                  <a:gd name="connsiteY67" fmla="*/ 192541 h 738291"/>
                  <a:gd name="connsiteX68" fmla="*/ 8882 w 8882"/>
                  <a:gd name="connsiteY68" fmla="*/ 196982 h 738291"/>
                  <a:gd name="connsiteX69" fmla="*/ 8882 w 8882"/>
                  <a:gd name="connsiteY69" fmla="*/ 232773 h 738291"/>
                  <a:gd name="connsiteX70" fmla="*/ 4441 w 8882"/>
                  <a:gd name="connsiteY70" fmla="*/ 237215 h 738291"/>
                  <a:gd name="connsiteX71" fmla="*/ 4441 w 8882"/>
                  <a:gd name="connsiteY71" fmla="*/ 237215 h 738291"/>
                  <a:gd name="connsiteX72" fmla="*/ 4441 w 8882"/>
                  <a:gd name="connsiteY72" fmla="*/ 165632 h 738291"/>
                  <a:gd name="connsiteX73" fmla="*/ 0 w 8882"/>
                  <a:gd name="connsiteY73" fmla="*/ 161191 h 738291"/>
                  <a:gd name="connsiteX74" fmla="*/ 0 w 8882"/>
                  <a:gd name="connsiteY74" fmla="*/ 125400 h 738291"/>
                  <a:gd name="connsiteX75" fmla="*/ 4441 w 8882"/>
                  <a:gd name="connsiteY75" fmla="*/ 120959 h 738291"/>
                  <a:gd name="connsiteX76" fmla="*/ 4441 w 8882"/>
                  <a:gd name="connsiteY76" fmla="*/ 120959 h 738291"/>
                  <a:gd name="connsiteX77" fmla="*/ 8882 w 8882"/>
                  <a:gd name="connsiteY77" fmla="*/ 125400 h 738291"/>
                  <a:gd name="connsiteX78" fmla="*/ 8882 w 8882"/>
                  <a:gd name="connsiteY78" fmla="*/ 161191 h 738291"/>
                  <a:gd name="connsiteX79" fmla="*/ 4441 w 8882"/>
                  <a:gd name="connsiteY79" fmla="*/ 165632 h 738291"/>
                  <a:gd name="connsiteX80" fmla="*/ 4441 w 8882"/>
                  <a:gd name="connsiteY80" fmla="*/ 165632 h 738291"/>
                  <a:gd name="connsiteX81" fmla="*/ 4441 w 8882"/>
                  <a:gd name="connsiteY81" fmla="*/ 94050 h 738291"/>
                  <a:gd name="connsiteX82" fmla="*/ 0 w 8882"/>
                  <a:gd name="connsiteY82" fmla="*/ 89609 h 738291"/>
                  <a:gd name="connsiteX83" fmla="*/ 0 w 8882"/>
                  <a:gd name="connsiteY83" fmla="*/ 53818 h 738291"/>
                  <a:gd name="connsiteX84" fmla="*/ 4441 w 8882"/>
                  <a:gd name="connsiteY84" fmla="*/ 49376 h 738291"/>
                  <a:gd name="connsiteX85" fmla="*/ 4441 w 8882"/>
                  <a:gd name="connsiteY85" fmla="*/ 49376 h 738291"/>
                  <a:gd name="connsiteX86" fmla="*/ 8882 w 8882"/>
                  <a:gd name="connsiteY86" fmla="*/ 53818 h 738291"/>
                  <a:gd name="connsiteX87" fmla="*/ 8882 w 8882"/>
                  <a:gd name="connsiteY87" fmla="*/ 89609 h 738291"/>
                  <a:gd name="connsiteX88" fmla="*/ 4441 w 8882"/>
                  <a:gd name="connsiteY88" fmla="*/ 94050 h 738291"/>
                  <a:gd name="connsiteX89" fmla="*/ 4441 w 8882"/>
                  <a:gd name="connsiteY89" fmla="*/ 94050 h 738291"/>
                  <a:gd name="connsiteX90" fmla="*/ 4441 w 8882"/>
                  <a:gd name="connsiteY90" fmla="*/ 22467 h 738291"/>
                  <a:gd name="connsiteX91" fmla="*/ 0 w 8882"/>
                  <a:gd name="connsiteY91" fmla="*/ 18026 h 738291"/>
                  <a:gd name="connsiteX92" fmla="*/ 0 w 8882"/>
                  <a:gd name="connsiteY92" fmla="*/ 4441 h 738291"/>
                  <a:gd name="connsiteX93" fmla="*/ 4441 w 8882"/>
                  <a:gd name="connsiteY93" fmla="*/ 0 h 738291"/>
                  <a:gd name="connsiteX94" fmla="*/ 4441 w 8882"/>
                  <a:gd name="connsiteY94" fmla="*/ 0 h 738291"/>
                  <a:gd name="connsiteX95" fmla="*/ 8882 w 8882"/>
                  <a:gd name="connsiteY95" fmla="*/ 4441 h 738291"/>
                  <a:gd name="connsiteX96" fmla="*/ 8882 w 8882"/>
                  <a:gd name="connsiteY96" fmla="*/ 18026 h 738291"/>
                  <a:gd name="connsiteX97" fmla="*/ 4441 w 8882"/>
                  <a:gd name="connsiteY97" fmla="*/ 22467 h 738291"/>
                  <a:gd name="connsiteX98" fmla="*/ 4441 w 8882"/>
                  <a:gd name="connsiteY98" fmla="*/ 22467 h 73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8882" h="738291">
                    <a:moveTo>
                      <a:pt x="4441" y="738291"/>
                    </a:moveTo>
                    <a:cubicBezTo>
                      <a:pt x="1959" y="738291"/>
                      <a:pt x="0" y="736332"/>
                      <a:pt x="0" y="733850"/>
                    </a:cubicBezTo>
                    <a:lnTo>
                      <a:pt x="0" y="698059"/>
                    </a:lnTo>
                    <a:cubicBezTo>
                      <a:pt x="0" y="695577"/>
                      <a:pt x="1959" y="693618"/>
                      <a:pt x="4441" y="693618"/>
                    </a:cubicBezTo>
                    <a:lnTo>
                      <a:pt x="4441" y="693618"/>
                    </a:lnTo>
                    <a:cubicBezTo>
                      <a:pt x="6923" y="693618"/>
                      <a:pt x="8882" y="695577"/>
                      <a:pt x="8882" y="698059"/>
                    </a:cubicBezTo>
                    <a:lnTo>
                      <a:pt x="8882" y="733850"/>
                    </a:lnTo>
                    <a:cubicBezTo>
                      <a:pt x="8882" y="736332"/>
                      <a:pt x="6923" y="738291"/>
                      <a:pt x="4441" y="738291"/>
                    </a:cubicBezTo>
                    <a:lnTo>
                      <a:pt x="4441" y="738291"/>
                    </a:lnTo>
                    <a:close/>
                    <a:moveTo>
                      <a:pt x="4441" y="666709"/>
                    </a:moveTo>
                    <a:cubicBezTo>
                      <a:pt x="1959" y="666709"/>
                      <a:pt x="0" y="664750"/>
                      <a:pt x="0" y="662268"/>
                    </a:cubicBezTo>
                    <a:lnTo>
                      <a:pt x="0" y="626477"/>
                    </a:lnTo>
                    <a:cubicBezTo>
                      <a:pt x="0" y="623995"/>
                      <a:pt x="1959" y="622035"/>
                      <a:pt x="4441" y="622035"/>
                    </a:cubicBezTo>
                    <a:lnTo>
                      <a:pt x="4441" y="622035"/>
                    </a:lnTo>
                    <a:cubicBezTo>
                      <a:pt x="6923" y="622035"/>
                      <a:pt x="8882" y="623995"/>
                      <a:pt x="8882" y="626477"/>
                    </a:cubicBezTo>
                    <a:lnTo>
                      <a:pt x="8882" y="662268"/>
                    </a:lnTo>
                    <a:cubicBezTo>
                      <a:pt x="8882" y="664750"/>
                      <a:pt x="6923" y="666709"/>
                      <a:pt x="4441" y="666709"/>
                    </a:cubicBezTo>
                    <a:lnTo>
                      <a:pt x="4441" y="666709"/>
                    </a:lnTo>
                    <a:close/>
                    <a:moveTo>
                      <a:pt x="4441" y="595127"/>
                    </a:moveTo>
                    <a:cubicBezTo>
                      <a:pt x="1959" y="595127"/>
                      <a:pt x="0" y="593167"/>
                      <a:pt x="0" y="590685"/>
                    </a:cubicBezTo>
                    <a:lnTo>
                      <a:pt x="0" y="554894"/>
                    </a:lnTo>
                    <a:cubicBezTo>
                      <a:pt x="0" y="552412"/>
                      <a:pt x="1959" y="550453"/>
                      <a:pt x="4441" y="550453"/>
                    </a:cubicBezTo>
                    <a:lnTo>
                      <a:pt x="4441" y="550453"/>
                    </a:lnTo>
                    <a:cubicBezTo>
                      <a:pt x="6923" y="550453"/>
                      <a:pt x="8882" y="552412"/>
                      <a:pt x="8882" y="554894"/>
                    </a:cubicBezTo>
                    <a:lnTo>
                      <a:pt x="8882" y="590685"/>
                    </a:lnTo>
                    <a:cubicBezTo>
                      <a:pt x="8882" y="593167"/>
                      <a:pt x="6923" y="595127"/>
                      <a:pt x="4441" y="595127"/>
                    </a:cubicBezTo>
                    <a:lnTo>
                      <a:pt x="4441" y="595127"/>
                    </a:lnTo>
                    <a:close/>
                    <a:moveTo>
                      <a:pt x="4441" y="523544"/>
                    </a:moveTo>
                    <a:cubicBezTo>
                      <a:pt x="1959" y="523544"/>
                      <a:pt x="0" y="521585"/>
                      <a:pt x="0" y="519103"/>
                    </a:cubicBezTo>
                    <a:lnTo>
                      <a:pt x="0" y="483312"/>
                    </a:lnTo>
                    <a:cubicBezTo>
                      <a:pt x="0" y="480830"/>
                      <a:pt x="1959" y="478870"/>
                      <a:pt x="4441" y="478870"/>
                    </a:cubicBezTo>
                    <a:lnTo>
                      <a:pt x="4441" y="478870"/>
                    </a:lnTo>
                    <a:cubicBezTo>
                      <a:pt x="6923" y="478870"/>
                      <a:pt x="8882" y="480830"/>
                      <a:pt x="8882" y="483312"/>
                    </a:cubicBezTo>
                    <a:lnTo>
                      <a:pt x="8882" y="519103"/>
                    </a:lnTo>
                    <a:cubicBezTo>
                      <a:pt x="8882" y="521585"/>
                      <a:pt x="6923" y="523544"/>
                      <a:pt x="4441" y="523544"/>
                    </a:cubicBezTo>
                    <a:lnTo>
                      <a:pt x="4441" y="523544"/>
                    </a:lnTo>
                    <a:close/>
                    <a:moveTo>
                      <a:pt x="4441" y="451962"/>
                    </a:moveTo>
                    <a:cubicBezTo>
                      <a:pt x="1959" y="451962"/>
                      <a:pt x="0" y="450003"/>
                      <a:pt x="0" y="447521"/>
                    </a:cubicBezTo>
                    <a:lnTo>
                      <a:pt x="0" y="411729"/>
                    </a:lnTo>
                    <a:cubicBezTo>
                      <a:pt x="0" y="409247"/>
                      <a:pt x="1959" y="407288"/>
                      <a:pt x="4441" y="407288"/>
                    </a:cubicBezTo>
                    <a:lnTo>
                      <a:pt x="4441" y="407288"/>
                    </a:lnTo>
                    <a:cubicBezTo>
                      <a:pt x="6923" y="407288"/>
                      <a:pt x="8882" y="409247"/>
                      <a:pt x="8882" y="411729"/>
                    </a:cubicBezTo>
                    <a:lnTo>
                      <a:pt x="8882" y="447521"/>
                    </a:lnTo>
                    <a:cubicBezTo>
                      <a:pt x="8882" y="450003"/>
                      <a:pt x="6923" y="451962"/>
                      <a:pt x="4441" y="451962"/>
                    </a:cubicBezTo>
                    <a:lnTo>
                      <a:pt x="4441" y="451962"/>
                    </a:lnTo>
                    <a:close/>
                    <a:moveTo>
                      <a:pt x="4441" y="380379"/>
                    </a:moveTo>
                    <a:cubicBezTo>
                      <a:pt x="1959" y="380379"/>
                      <a:pt x="0" y="378420"/>
                      <a:pt x="0" y="375938"/>
                    </a:cubicBezTo>
                    <a:lnTo>
                      <a:pt x="0" y="340147"/>
                    </a:lnTo>
                    <a:cubicBezTo>
                      <a:pt x="0" y="337665"/>
                      <a:pt x="1959" y="335706"/>
                      <a:pt x="4441" y="335706"/>
                    </a:cubicBezTo>
                    <a:lnTo>
                      <a:pt x="4441" y="335706"/>
                    </a:lnTo>
                    <a:cubicBezTo>
                      <a:pt x="6923" y="335706"/>
                      <a:pt x="8882" y="337665"/>
                      <a:pt x="8882" y="340147"/>
                    </a:cubicBezTo>
                    <a:lnTo>
                      <a:pt x="8882" y="375938"/>
                    </a:lnTo>
                    <a:cubicBezTo>
                      <a:pt x="8882" y="378420"/>
                      <a:pt x="6923" y="380379"/>
                      <a:pt x="4441" y="380379"/>
                    </a:cubicBezTo>
                    <a:lnTo>
                      <a:pt x="4441" y="380379"/>
                    </a:lnTo>
                    <a:close/>
                    <a:moveTo>
                      <a:pt x="4441" y="308797"/>
                    </a:moveTo>
                    <a:cubicBezTo>
                      <a:pt x="1959" y="308797"/>
                      <a:pt x="0" y="306838"/>
                      <a:pt x="0" y="304356"/>
                    </a:cubicBezTo>
                    <a:lnTo>
                      <a:pt x="0" y="268565"/>
                    </a:lnTo>
                    <a:cubicBezTo>
                      <a:pt x="0" y="266083"/>
                      <a:pt x="1959" y="264123"/>
                      <a:pt x="4441" y="264123"/>
                    </a:cubicBezTo>
                    <a:lnTo>
                      <a:pt x="4441" y="264123"/>
                    </a:lnTo>
                    <a:cubicBezTo>
                      <a:pt x="6923" y="264123"/>
                      <a:pt x="8882" y="266083"/>
                      <a:pt x="8882" y="268565"/>
                    </a:cubicBezTo>
                    <a:lnTo>
                      <a:pt x="8882" y="304356"/>
                    </a:lnTo>
                    <a:cubicBezTo>
                      <a:pt x="8882" y="306838"/>
                      <a:pt x="6923" y="308797"/>
                      <a:pt x="4441" y="308797"/>
                    </a:cubicBezTo>
                    <a:lnTo>
                      <a:pt x="4441" y="308797"/>
                    </a:lnTo>
                    <a:close/>
                    <a:moveTo>
                      <a:pt x="4441" y="237215"/>
                    </a:moveTo>
                    <a:cubicBezTo>
                      <a:pt x="1959" y="237215"/>
                      <a:pt x="0" y="235255"/>
                      <a:pt x="0" y="232773"/>
                    </a:cubicBezTo>
                    <a:lnTo>
                      <a:pt x="0" y="196982"/>
                    </a:lnTo>
                    <a:cubicBezTo>
                      <a:pt x="0" y="194500"/>
                      <a:pt x="1959" y="192541"/>
                      <a:pt x="4441" y="192541"/>
                    </a:cubicBezTo>
                    <a:lnTo>
                      <a:pt x="4441" y="192541"/>
                    </a:lnTo>
                    <a:cubicBezTo>
                      <a:pt x="6923" y="192541"/>
                      <a:pt x="8882" y="194500"/>
                      <a:pt x="8882" y="196982"/>
                    </a:cubicBezTo>
                    <a:lnTo>
                      <a:pt x="8882" y="232773"/>
                    </a:lnTo>
                    <a:cubicBezTo>
                      <a:pt x="8882" y="235255"/>
                      <a:pt x="6923" y="237215"/>
                      <a:pt x="4441" y="237215"/>
                    </a:cubicBezTo>
                    <a:lnTo>
                      <a:pt x="4441" y="237215"/>
                    </a:lnTo>
                    <a:close/>
                    <a:moveTo>
                      <a:pt x="4441" y="165632"/>
                    </a:moveTo>
                    <a:cubicBezTo>
                      <a:pt x="1959" y="165632"/>
                      <a:pt x="0" y="163673"/>
                      <a:pt x="0" y="161191"/>
                    </a:cubicBezTo>
                    <a:lnTo>
                      <a:pt x="0" y="125400"/>
                    </a:lnTo>
                    <a:cubicBezTo>
                      <a:pt x="0" y="122918"/>
                      <a:pt x="1959" y="120959"/>
                      <a:pt x="4441" y="120959"/>
                    </a:cubicBezTo>
                    <a:lnTo>
                      <a:pt x="4441" y="120959"/>
                    </a:lnTo>
                    <a:cubicBezTo>
                      <a:pt x="6923" y="120959"/>
                      <a:pt x="8882" y="122918"/>
                      <a:pt x="8882" y="125400"/>
                    </a:cubicBezTo>
                    <a:lnTo>
                      <a:pt x="8882" y="161191"/>
                    </a:lnTo>
                    <a:cubicBezTo>
                      <a:pt x="8882" y="163673"/>
                      <a:pt x="6923" y="165632"/>
                      <a:pt x="4441" y="165632"/>
                    </a:cubicBezTo>
                    <a:lnTo>
                      <a:pt x="4441" y="165632"/>
                    </a:lnTo>
                    <a:close/>
                    <a:moveTo>
                      <a:pt x="4441" y="94050"/>
                    </a:moveTo>
                    <a:cubicBezTo>
                      <a:pt x="1959" y="94050"/>
                      <a:pt x="0" y="92091"/>
                      <a:pt x="0" y="89609"/>
                    </a:cubicBezTo>
                    <a:lnTo>
                      <a:pt x="0" y="53818"/>
                    </a:lnTo>
                    <a:cubicBezTo>
                      <a:pt x="0" y="51336"/>
                      <a:pt x="1959" y="49376"/>
                      <a:pt x="4441" y="49376"/>
                    </a:cubicBezTo>
                    <a:lnTo>
                      <a:pt x="4441" y="49376"/>
                    </a:lnTo>
                    <a:cubicBezTo>
                      <a:pt x="6923" y="49376"/>
                      <a:pt x="8882" y="51336"/>
                      <a:pt x="8882" y="53818"/>
                    </a:cubicBezTo>
                    <a:lnTo>
                      <a:pt x="8882" y="89609"/>
                    </a:lnTo>
                    <a:cubicBezTo>
                      <a:pt x="8882" y="92091"/>
                      <a:pt x="6923" y="94050"/>
                      <a:pt x="4441" y="94050"/>
                    </a:cubicBezTo>
                    <a:lnTo>
                      <a:pt x="4441" y="94050"/>
                    </a:lnTo>
                    <a:close/>
                    <a:moveTo>
                      <a:pt x="4441" y="22467"/>
                    </a:moveTo>
                    <a:cubicBezTo>
                      <a:pt x="1959" y="22467"/>
                      <a:pt x="0" y="20508"/>
                      <a:pt x="0" y="18026"/>
                    </a:cubicBezTo>
                    <a:lnTo>
                      <a:pt x="0" y="4441"/>
                    </a:lnTo>
                    <a:cubicBezTo>
                      <a:pt x="0" y="1959"/>
                      <a:pt x="1959" y="0"/>
                      <a:pt x="4441" y="0"/>
                    </a:cubicBezTo>
                    <a:lnTo>
                      <a:pt x="4441" y="0"/>
                    </a:lnTo>
                    <a:cubicBezTo>
                      <a:pt x="6923" y="0"/>
                      <a:pt x="8882" y="1959"/>
                      <a:pt x="8882" y="4441"/>
                    </a:cubicBezTo>
                    <a:lnTo>
                      <a:pt x="8882" y="18026"/>
                    </a:lnTo>
                    <a:cubicBezTo>
                      <a:pt x="8882" y="20508"/>
                      <a:pt x="6923" y="22467"/>
                      <a:pt x="4441" y="22467"/>
                    </a:cubicBezTo>
                    <a:lnTo>
                      <a:pt x="4441" y="2246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16A72B19-98C9-2A4A-5F8A-8BB09A878904}"/>
                  </a:ext>
                </a:extLst>
              </p:cNvPr>
              <p:cNvSpPr/>
              <p:nvPr/>
            </p:nvSpPr>
            <p:spPr>
              <a:xfrm>
                <a:off x="2659739" y="4072229"/>
                <a:ext cx="8882" cy="760497"/>
              </a:xfrm>
              <a:custGeom>
                <a:avLst/>
                <a:gdLst>
                  <a:gd name="connsiteX0" fmla="*/ 4441 w 8882"/>
                  <a:gd name="connsiteY0" fmla="*/ 760497 h 760497"/>
                  <a:gd name="connsiteX1" fmla="*/ 0 w 8882"/>
                  <a:gd name="connsiteY1" fmla="*/ 756056 h 760497"/>
                  <a:gd name="connsiteX2" fmla="*/ 0 w 8882"/>
                  <a:gd name="connsiteY2" fmla="*/ 720265 h 760497"/>
                  <a:gd name="connsiteX3" fmla="*/ 4441 w 8882"/>
                  <a:gd name="connsiteY3" fmla="*/ 715824 h 760497"/>
                  <a:gd name="connsiteX4" fmla="*/ 4441 w 8882"/>
                  <a:gd name="connsiteY4" fmla="*/ 715824 h 760497"/>
                  <a:gd name="connsiteX5" fmla="*/ 8882 w 8882"/>
                  <a:gd name="connsiteY5" fmla="*/ 720265 h 760497"/>
                  <a:gd name="connsiteX6" fmla="*/ 8882 w 8882"/>
                  <a:gd name="connsiteY6" fmla="*/ 756056 h 760497"/>
                  <a:gd name="connsiteX7" fmla="*/ 4441 w 8882"/>
                  <a:gd name="connsiteY7" fmla="*/ 760497 h 760497"/>
                  <a:gd name="connsiteX8" fmla="*/ 4441 w 8882"/>
                  <a:gd name="connsiteY8" fmla="*/ 760497 h 760497"/>
                  <a:gd name="connsiteX9" fmla="*/ 4441 w 8882"/>
                  <a:gd name="connsiteY9" fmla="*/ 688915 h 760497"/>
                  <a:gd name="connsiteX10" fmla="*/ 0 w 8882"/>
                  <a:gd name="connsiteY10" fmla="*/ 684474 h 760497"/>
                  <a:gd name="connsiteX11" fmla="*/ 0 w 8882"/>
                  <a:gd name="connsiteY11" fmla="*/ 648683 h 760497"/>
                  <a:gd name="connsiteX12" fmla="*/ 4441 w 8882"/>
                  <a:gd name="connsiteY12" fmla="*/ 644241 h 760497"/>
                  <a:gd name="connsiteX13" fmla="*/ 4441 w 8882"/>
                  <a:gd name="connsiteY13" fmla="*/ 644241 h 760497"/>
                  <a:gd name="connsiteX14" fmla="*/ 8882 w 8882"/>
                  <a:gd name="connsiteY14" fmla="*/ 648683 h 760497"/>
                  <a:gd name="connsiteX15" fmla="*/ 8882 w 8882"/>
                  <a:gd name="connsiteY15" fmla="*/ 684474 h 760497"/>
                  <a:gd name="connsiteX16" fmla="*/ 4441 w 8882"/>
                  <a:gd name="connsiteY16" fmla="*/ 688915 h 760497"/>
                  <a:gd name="connsiteX17" fmla="*/ 4441 w 8882"/>
                  <a:gd name="connsiteY17" fmla="*/ 688915 h 760497"/>
                  <a:gd name="connsiteX18" fmla="*/ 4441 w 8882"/>
                  <a:gd name="connsiteY18" fmla="*/ 617333 h 760497"/>
                  <a:gd name="connsiteX19" fmla="*/ 0 w 8882"/>
                  <a:gd name="connsiteY19" fmla="*/ 612891 h 760497"/>
                  <a:gd name="connsiteX20" fmla="*/ 0 w 8882"/>
                  <a:gd name="connsiteY20" fmla="*/ 577100 h 760497"/>
                  <a:gd name="connsiteX21" fmla="*/ 4441 w 8882"/>
                  <a:gd name="connsiteY21" fmla="*/ 572659 h 760497"/>
                  <a:gd name="connsiteX22" fmla="*/ 4441 w 8882"/>
                  <a:gd name="connsiteY22" fmla="*/ 572659 h 760497"/>
                  <a:gd name="connsiteX23" fmla="*/ 8882 w 8882"/>
                  <a:gd name="connsiteY23" fmla="*/ 577100 h 760497"/>
                  <a:gd name="connsiteX24" fmla="*/ 8882 w 8882"/>
                  <a:gd name="connsiteY24" fmla="*/ 612891 h 760497"/>
                  <a:gd name="connsiteX25" fmla="*/ 4441 w 8882"/>
                  <a:gd name="connsiteY25" fmla="*/ 617333 h 760497"/>
                  <a:gd name="connsiteX26" fmla="*/ 4441 w 8882"/>
                  <a:gd name="connsiteY26" fmla="*/ 617333 h 760497"/>
                  <a:gd name="connsiteX27" fmla="*/ 4441 w 8882"/>
                  <a:gd name="connsiteY27" fmla="*/ 545750 h 760497"/>
                  <a:gd name="connsiteX28" fmla="*/ 0 w 8882"/>
                  <a:gd name="connsiteY28" fmla="*/ 541309 h 760497"/>
                  <a:gd name="connsiteX29" fmla="*/ 0 w 8882"/>
                  <a:gd name="connsiteY29" fmla="*/ 505518 h 760497"/>
                  <a:gd name="connsiteX30" fmla="*/ 4441 w 8882"/>
                  <a:gd name="connsiteY30" fmla="*/ 501077 h 760497"/>
                  <a:gd name="connsiteX31" fmla="*/ 4441 w 8882"/>
                  <a:gd name="connsiteY31" fmla="*/ 501077 h 760497"/>
                  <a:gd name="connsiteX32" fmla="*/ 8882 w 8882"/>
                  <a:gd name="connsiteY32" fmla="*/ 505518 h 760497"/>
                  <a:gd name="connsiteX33" fmla="*/ 8882 w 8882"/>
                  <a:gd name="connsiteY33" fmla="*/ 541309 h 760497"/>
                  <a:gd name="connsiteX34" fmla="*/ 4441 w 8882"/>
                  <a:gd name="connsiteY34" fmla="*/ 545750 h 760497"/>
                  <a:gd name="connsiteX35" fmla="*/ 4441 w 8882"/>
                  <a:gd name="connsiteY35" fmla="*/ 545750 h 760497"/>
                  <a:gd name="connsiteX36" fmla="*/ 4441 w 8882"/>
                  <a:gd name="connsiteY36" fmla="*/ 474168 h 760497"/>
                  <a:gd name="connsiteX37" fmla="*/ 0 w 8882"/>
                  <a:gd name="connsiteY37" fmla="*/ 469727 h 760497"/>
                  <a:gd name="connsiteX38" fmla="*/ 0 w 8882"/>
                  <a:gd name="connsiteY38" fmla="*/ 433936 h 760497"/>
                  <a:gd name="connsiteX39" fmla="*/ 4441 w 8882"/>
                  <a:gd name="connsiteY39" fmla="*/ 429494 h 760497"/>
                  <a:gd name="connsiteX40" fmla="*/ 4441 w 8882"/>
                  <a:gd name="connsiteY40" fmla="*/ 429494 h 760497"/>
                  <a:gd name="connsiteX41" fmla="*/ 8882 w 8882"/>
                  <a:gd name="connsiteY41" fmla="*/ 433936 h 760497"/>
                  <a:gd name="connsiteX42" fmla="*/ 8882 w 8882"/>
                  <a:gd name="connsiteY42" fmla="*/ 469727 h 760497"/>
                  <a:gd name="connsiteX43" fmla="*/ 4441 w 8882"/>
                  <a:gd name="connsiteY43" fmla="*/ 474168 h 760497"/>
                  <a:gd name="connsiteX44" fmla="*/ 4441 w 8882"/>
                  <a:gd name="connsiteY44" fmla="*/ 474168 h 760497"/>
                  <a:gd name="connsiteX45" fmla="*/ 4441 w 8882"/>
                  <a:gd name="connsiteY45" fmla="*/ 402585 h 760497"/>
                  <a:gd name="connsiteX46" fmla="*/ 0 w 8882"/>
                  <a:gd name="connsiteY46" fmla="*/ 398144 h 760497"/>
                  <a:gd name="connsiteX47" fmla="*/ 0 w 8882"/>
                  <a:gd name="connsiteY47" fmla="*/ 362353 h 760497"/>
                  <a:gd name="connsiteX48" fmla="*/ 4441 w 8882"/>
                  <a:gd name="connsiteY48" fmla="*/ 357912 h 760497"/>
                  <a:gd name="connsiteX49" fmla="*/ 4441 w 8882"/>
                  <a:gd name="connsiteY49" fmla="*/ 357912 h 760497"/>
                  <a:gd name="connsiteX50" fmla="*/ 8882 w 8882"/>
                  <a:gd name="connsiteY50" fmla="*/ 362353 h 760497"/>
                  <a:gd name="connsiteX51" fmla="*/ 8882 w 8882"/>
                  <a:gd name="connsiteY51" fmla="*/ 398144 h 760497"/>
                  <a:gd name="connsiteX52" fmla="*/ 4441 w 8882"/>
                  <a:gd name="connsiteY52" fmla="*/ 402585 h 760497"/>
                  <a:gd name="connsiteX53" fmla="*/ 4441 w 8882"/>
                  <a:gd name="connsiteY53" fmla="*/ 402585 h 760497"/>
                  <a:gd name="connsiteX54" fmla="*/ 4441 w 8882"/>
                  <a:gd name="connsiteY54" fmla="*/ 331003 h 760497"/>
                  <a:gd name="connsiteX55" fmla="*/ 0 w 8882"/>
                  <a:gd name="connsiteY55" fmla="*/ 326562 h 760497"/>
                  <a:gd name="connsiteX56" fmla="*/ 0 w 8882"/>
                  <a:gd name="connsiteY56" fmla="*/ 290771 h 760497"/>
                  <a:gd name="connsiteX57" fmla="*/ 4441 w 8882"/>
                  <a:gd name="connsiteY57" fmla="*/ 286329 h 760497"/>
                  <a:gd name="connsiteX58" fmla="*/ 4441 w 8882"/>
                  <a:gd name="connsiteY58" fmla="*/ 286329 h 760497"/>
                  <a:gd name="connsiteX59" fmla="*/ 8882 w 8882"/>
                  <a:gd name="connsiteY59" fmla="*/ 290771 h 760497"/>
                  <a:gd name="connsiteX60" fmla="*/ 8882 w 8882"/>
                  <a:gd name="connsiteY60" fmla="*/ 326562 h 760497"/>
                  <a:gd name="connsiteX61" fmla="*/ 4441 w 8882"/>
                  <a:gd name="connsiteY61" fmla="*/ 331003 h 760497"/>
                  <a:gd name="connsiteX62" fmla="*/ 4441 w 8882"/>
                  <a:gd name="connsiteY62" fmla="*/ 331003 h 760497"/>
                  <a:gd name="connsiteX63" fmla="*/ 4441 w 8882"/>
                  <a:gd name="connsiteY63" fmla="*/ 259421 h 760497"/>
                  <a:gd name="connsiteX64" fmla="*/ 0 w 8882"/>
                  <a:gd name="connsiteY64" fmla="*/ 254980 h 760497"/>
                  <a:gd name="connsiteX65" fmla="*/ 0 w 8882"/>
                  <a:gd name="connsiteY65" fmla="*/ 219188 h 760497"/>
                  <a:gd name="connsiteX66" fmla="*/ 4441 w 8882"/>
                  <a:gd name="connsiteY66" fmla="*/ 214747 h 760497"/>
                  <a:gd name="connsiteX67" fmla="*/ 4441 w 8882"/>
                  <a:gd name="connsiteY67" fmla="*/ 214747 h 760497"/>
                  <a:gd name="connsiteX68" fmla="*/ 8882 w 8882"/>
                  <a:gd name="connsiteY68" fmla="*/ 219188 h 760497"/>
                  <a:gd name="connsiteX69" fmla="*/ 8882 w 8882"/>
                  <a:gd name="connsiteY69" fmla="*/ 254980 h 760497"/>
                  <a:gd name="connsiteX70" fmla="*/ 4441 w 8882"/>
                  <a:gd name="connsiteY70" fmla="*/ 259421 h 760497"/>
                  <a:gd name="connsiteX71" fmla="*/ 4441 w 8882"/>
                  <a:gd name="connsiteY71" fmla="*/ 259421 h 760497"/>
                  <a:gd name="connsiteX72" fmla="*/ 4441 w 8882"/>
                  <a:gd name="connsiteY72" fmla="*/ 187838 h 760497"/>
                  <a:gd name="connsiteX73" fmla="*/ 0 w 8882"/>
                  <a:gd name="connsiteY73" fmla="*/ 183397 h 760497"/>
                  <a:gd name="connsiteX74" fmla="*/ 0 w 8882"/>
                  <a:gd name="connsiteY74" fmla="*/ 147606 h 760497"/>
                  <a:gd name="connsiteX75" fmla="*/ 4441 w 8882"/>
                  <a:gd name="connsiteY75" fmla="*/ 143165 h 760497"/>
                  <a:gd name="connsiteX76" fmla="*/ 4441 w 8882"/>
                  <a:gd name="connsiteY76" fmla="*/ 143165 h 760497"/>
                  <a:gd name="connsiteX77" fmla="*/ 8882 w 8882"/>
                  <a:gd name="connsiteY77" fmla="*/ 147606 h 760497"/>
                  <a:gd name="connsiteX78" fmla="*/ 8882 w 8882"/>
                  <a:gd name="connsiteY78" fmla="*/ 183397 h 760497"/>
                  <a:gd name="connsiteX79" fmla="*/ 4441 w 8882"/>
                  <a:gd name="connsiteY79" fmla="*/ 187838 h 760497"/>
                  <a:gd name="connsiteX80" fmla="*/ 4441 w 8882"/>
                  <a:gd name="connsiteY80" fmla="*/ 187838 h 760497"/>
                  <a:gd name="connsiteX81" fmla="*/ 4441 w 8882"/>
                  <a:gd name="connsiteY81" fmla="*/ 116256 h 760497"/>
                  <a:gd name="connsiteX82" fmla="*/ 0 w 8882"/>
                  <a:gd name="connsiteY82" fmla="*/ 111815 h 760497"/>
                  <a:gd name="connsiteX83" fmla="*/ 0 w 8882"/>
                  <a:gd name="connsiteY83" fmla="*/ 76024 h 760497"/>
                  <a:gd name="connsiteX84" fmla="*/ 4441 w 8882"/>
                  <a:gd name="connsiteY84" fmla="*/ 71582 h 760497"/>
                  <a:gd name="connsiteX85" fmla="*/ 4441 w 8882"/>
                  <a:gd name="connsiteY85" fmla="*/ 71582 h 760497"/>
                  <a:gd name="connsiteX86" fmla="*/ 8882 w 8882"/>
                  <a:gd name="connsiteY86" fmla="*/ 76024 h 760497"/>
                  <a:gd name="connsiteX87" fmla="*/ 8882 w 8882"/>
                  <a:gd name="connsiteY87" fmla="*/ 111815 h 760497"/>
                  <a:gd name="connsiteX88" fmla="*/ 4441 w 8882"/>
                  <a:gd name="connsiteY88" fmla="*/ 116256 h 760497"/>
                  <a:gd name="connsiteX89" fmla="*/ 4441 w 8882"/>
                  <a:gd name="connsiteY89" fmla="*/ 44674 h 760497"/>
                  <a:gd name="connsiteX90" fmla="*/ 0 w 8882"/>
                  <a:gd name="connsiteY90" fmla="*/ 40232 h 760497"/>
                  <a:gd name="connsiteX91" fmla="*/ 0 w 8882"/>
                  <a:gd name="connsiteY91" fmla="*/ 4441 h 760497"/>
                  <a:gd name="connsiteX92" fmla="*/ 4441 w 8882"/>
                  <a:gd name="connsiteY92" fmla="*/ 0 h 760497"/>
                  <a:gd name="connsiteX93" fmla="*/ 8882 w 8882"/>
                  <a:gd name="connsiteY93" fmla="*/ 4441 h 760497"/>
                  <a:gd name="connsiteX94" fmla="*/ 8882 w 8882"/>
                  <a:gd name="connsiteY94" fmla="*/ 40232 h 760497"/>
                  <a:gd name="connsiteX95" fmla="*/ 4441 w 8882"/>
                  <a:gd name="connsiteY95" fmla="*/ 44674 h 76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882" h="760497">
                    <a:moveTo>
                      <a:pt x="4441" y="760497"/>
                    </a:moveTo>
                    <a:cubicBezTo>
                      <a:pt x="1959" y="760497"/>
                      <a:pt x="0" y="758538"/>
                      <a:pt x="0" y="756056"/>
                    </a:cubicBezTo>
                    <a:lnTo>
                      <a:pt x="0" y="720265"/>
                    </a:lnTo>
                    <a:cubicBezTo>
                      <a:pt x="0" y="717783"/>
                      <a:pt x="1959" y="715824"/>
                      <a:pt x="4441" y="715824"/>
                    </a:cubicBezTo>
                    <a:lnTo>
                      <a:pt x="4441" y="715824"/>
                    </a:lnTo>
                    <a:cubicBezTo>
                      <a:pt x="6923" y="715824"/>
                      <a:pt x="8882" y="717783"/>
                      <a:pt x="8882" y="720265"/>
                    </a:cubicBezTo>
                    <a:lnTo>
                      <a:pt x="8882" y="756056"/>
                    </a:lnTo>
                    <a:cubicBezTo>
                      <a:pt x="8882" y="758538"/>
                      <a:pt x="6923" y="760497"/>
                      <a:pt x="4441" y="760497"/>
                    </a:cubicBezTo>
                    <a:lnTo>
                      <a:pt x="4441" y="760497"/>
                    </a:lnTo>
                    <a:close/>
                    <a:moveTo>
                      <a:pt x="4441" y="688915"/>
                    </a:moveTo>
                    <a:cubicBezTo>
                      <a:pt x="1959" y="688915"/>
                      <a:pt x="0" y="686956"/>
                      <a:pt x="0" y="684474"/>
                    </a:cubicBezTo>
                    <a:lnTo>
                      <a:pt x="0" y="648683"/>
                    </a:lnTo>
                    <a:cubicBezTo>
                      <a:pt x="0" y="646201"/>
                      <a:pt x="1959" y="644241"/>
                      <a:pt x="4441" y="644241"/>
                    </a:cubicBezTo>
                    <a:lnTo>
                      <a:pt x="4441" y="644241"/>
                    </a:lnTo>
                    <a:cubicBezTo>
                      <a:pt x="6923" y="644241"/>
                      <a:pt x="8882" y="646201"/>
                      <a:pt x="8882" y="648683"/>
                    </a:cubicBezTo>
                    <a:lnTo>
                      <a:pt x="8882" y="684474"/>
                    </a:lnTo>
                    <a:cubicBezTo>
                      <a:pt x="8882" y="686956"/>
                      <a:pt x="6923" y="688915"/>
                      <a:pt x="4441" y="688915"/>
                    </a:cubicBezTo>
                    <a:lnTo>
                      <a:pt x="4441" y="688915"/>
                    </a:lnTo>
                    <a:close/>
                    <a:moveTo>
                      <a:pt x="4441" y="617333"/>
                    </a:moveTo>
                    <a:cubicBezTo>
                      <a:pt x="1959" y="617333"/>
                      <a:pt x="0" y="615373"/>
                      <a:pt x="0" y="612891"/>
                    </a:cubicBezTo>
                    <a:lnTo>
                      <a:pt x="0" y="577100"/>
                    </a:lnTo>
                    <a:cubicBezTo>
                      <a:pt x="0" y="574618"/>
                      <a:pt x="1959" y="572659"/>
                      <a:pt x="4441" y="572659"/>
                    </a:cubicBezTo>
                    <a:lnTo>
                      <a:pt x="4441" y="572659"/>
                    </a:lnTo>
                    <a:cubicBezTo>
                      <a:pt x="6923" y="572659"/>
                      <a:pt x="8882" y="574618"/>
                      <a:pt x="8882" y="577100"/>
                    </a:cubicBezTo>
                    <a:lnTo>
                      <a:pt x="8882" y="612891"/>
                    </a:lnTo>
                    <a:cubicBezTo>
                      <a:pt x="8882" y="615373"/>
                      <a:pt x="6923" y="617333"/>
                      <a:pt x="4441" y="617333"/>
                    </a:cubicBezTo>
                    <a:lnTo>
                      <a:pt x="4441" y="617333"/>
                    </a:lnTo>
                    <a:close/>
                    <a:moveTo>
                      <a:pt x="4441" y="545750"/>
                    </a:moveTo>
                    <a:cubicBezTo>
                      <a:pt x="1959" y="545750"/>
                      <a:pt x="0" y="543791"/>
                      <a:pt x="0" y="541309"/>
                    </a:cubicBezTo>
                    <a:lnTo>
                      <a:pt x="0" y="505518"/>
                    </a:lnTo>
                    <a:cubicBezTo>
                      <a:pt x="0" y="503036"/>
                      <a:pt x="1959" y="501077"/>
                      <a:pt x="4441" y="501077"/>
                    </a:cubicBezTo>
                    <a:lnTo>
                      <a:pt x="4441" y="501077"/>
                    </a:lnTo>
                    <a:cubicBezTo>
                      <a:pt x="6923" y="501077"/>
                      <a:pt x="8882" y="503036"/>
                      <a:pt x="8882" y="505518"/>
                    </a:cubicBezTo>
                    <a:lnTo>
                      <a:pt x="8882" y="541309"/>
                    </a:lnTo>
                    <a:cubicBezTo>
                      <a:pt x="8882" y="543791"/>
                      <a:pt x="6923" y="545750"/>
                      <a:pt x="4441" y="545750"/>
                    </a:cubicBezTo>
                    <a:lnTo>
                      <a:pt x="4441" y="545750"/>
                    </a:lnTo>
                    <a:close/>
                    <a:moveTo>
                      <a:pt x="4441" y="474168"/>
                    </a:moveTo>
                    <a:cubicBezTo>
                      <a:pt x="1959" y="474168"/>
                      <a:pt x="0" y="472208"/>
                      <a:pt x="0" y="469727"/>
                    </a:cubicBezTo>
                    <a:lnTo>
                      <a:pt x="0" y="433936"/>
                    </a:lnTo>
                    <a:cubicBezTo>
                      <a:pt x="0" y="431454"/>
                      <a:pt x="1959" y="429494"/>
                      <a:pt x="4441" y="429494"/>
                    </a:cubicBezTo>
                    <a:lnTo>
                      <a:pt x="4441" y="429494"/>
                    </a:lnTo>
                    <a:cubicBezTo>
                      <a:pt x="6923" y="429494"/>
                      <a:pt x="8882" y="431454"/>
                      <a:pt x="8882" y="433936"/>
                    </a:cubicBezTo>
                    <a:lnTo>
                      <a:pt x="8882" y="469727"/>
                    </a:lnTo>
                    <a:cubicBezTo>
                      <a:pt x="8882" y="472208"/>
                      <a:pt x="6923" y="474168"/>
                      <a:pt x="4441" y="474168"/>
                    </a:cubicBezTo>
                    <a:lnTo>
                      <a:pt x="4441" y="474168"/>
                    </a:lnTo>
                    <a:close/>
                    <a:moveTo>
                      <a:pt x="4441" y="402585"/>
                    </a:moveTo>
                    <a:cubicBezTo>
                      <a:pt x="1959" y="402585"/>
                      <a:pt x="0" y="400626"/>
                      <a:pt x="0" y="398144"/>
                    </a:cubicBezTo>
                    <a:lnTo>
                      <a:pt x="0" y="362353"/>
                    </a:lnTo>
                    <a:cubicBezTo>
                      <a:pt x="0" y="359871"/>
                      <a:pt x="1959" y="357912"/>
                      <a:pt x="4441" y="357912"/>
                    </a:cubicBezTo>
                    <a:lnTo>
                      <a:pt x="4441" y="357912"/>
                    </a:lnTo>
                    <a:cubicBezTo>
                      <a:pt x="6923" y="357912"/>
                      <a:pt x="8882" y="359871"/>
                      <a:pt x="8882" y="362353"/>
                    </a:cubicBezTo>
                    <a:lnTo>
                      <a:pt x="8882" y="398144"/>
                    </a:lnTo>
                    <a:cubicBezTo>
                      <a:pt x="8882" y="400626"/>
                      <a:pt x="6923" y="402585"/>
                      <a:pt x="4441" y="402585"/>
                    </a:cubicBezTo>
                    <a:lnTo>
                      <a:pt x="4441" y="402585"/>
                    </a:lnTo>
                    <a:close/>
                    <a:moveTo>
                      <a:pt x="4441" y="331003"/>
                    </a:moveTo>
                    <a:cubicBezTo>
                      <a:pt x="1959" y="331003"/>
                      <a:pt x="0" y="329044"/>
                      <a:pt x="0" y="326562"/>
                    </a:cubicBezTo>
                    <a:lnTo>
                      <a:pt x="0" y="290771"/>
                    </a:lnTo>
                    <a:cubicBezTo>
                      <a:pt x="0" y="288289"/>
                      <a:pt x="1959" y="286329"/>
                      <a:pt x="4441" y="286329"/>
                    </a:cubicBezTo>
                    <a:lnTo>
                      <a:pt x="4441" y="286329"/>
                    </a:lnTo>
                    <a:cubicBezTo>
                      <a:pt x="6923" y="286329"/>
                      <a:pt x="8882" y="288289"/>
                      <a:pt x="8882" y="290771"/>
                    </a:cubicBezTo>
                    <a:lnTo>
                      <a:pt x="8882" y="326562"/>
                    </a:lnTo>
                    <a:cubicBezTo>
                      <a:pt x="8882" y="329044"/>
                      <a:pt x="6923" y="331003"/>
                      <a:pt x="4441" y="331003"/>
                    </a:cubicBezTo>
                    <a:lnTo>
                      <a:pt x="4441" y="331003"/>
                    </a:lnTo>
                    <a:close/>
                    <a:moveTo>
                      <a:pt x="4441" y="259421"/>
                    </a:moveTo>
                    <a:cubicBezTo>
                      <a:pt x="1959" y="259421"/>
                      <a:pt x="0" y="257461"/>
                      <a:pt x="0" y="254980"/>
                    </a:cubicBezTo>
                    <a:lnTo>
                      <a:pt x="0" y="219188"/>
                    </a:lnTo>
                    <a:cubicBezTo>
                      <a:pt x="0" y="216706"/>
                      <a:pt x="1959" y="214747"/>
                      <a:pt x="4441" y="214747"/>
                    </a:cubicBezTo>
                    <a:lnTo>
                      <a:pt x="4441" y="214747"/>
                    </a:lnTo>
                    <a:cubicBezTo>
                      <a:pt x="6923" y="214747"/>
                      <a:pt x="8882" y="216706"/>
                      <a:pt x="8882" y="219188"/>
                    </a:cubicBezTo>
                    <a:lnTo>
                      <a:pt x="8882" y="254980"/>
                    </a:lnTo>
                    <a:cubicBezTo>
                      <a:pt x="8882" y="257461"/>
                      <a:pt x="6923" y="259421"/>
                      <a:pt x="4441" y="259421"/>
                    </a:cubicBezTo>
                    <a:lnTo>
                      <a:pt x="4441" y="259421"/>
                    </a:lnTo>
                    <a:close/>
                    <a:moveTo>
                      <a:pt x="4441" y="187838"/>
                    </a:moveTo>
                    <a:cubicBezTo>
                      <a:pt x="1959" y="187838"/>
                      <a:pt x="0" y="185879"/>
                      <a:pt x="0" y="183397"/>
                    </a:cubicBezTo>
                    <a:lnTo>
                      <a:pt x="0" y="147606"/>
                    </a:lnTo>
                    <a:cubicBezTo>
                      <a:pt x="0" y="145124"/>
                      <a:pt x="1959" y="143165"/>
                      <a:pt x="4441" y="143165"/>
                    </a:cubicBezTo>
                    <a:lnTo>
                      <a:pt x="4441" y="143165"/>
                    </a:lnTo>
                    <a:cubicBezTo>
                      <a:pt x="6923" y="143165"/>
                      <a:pt x="8882" y="145124"/>
                      <a:pt x="8882" y="147606"/>
                    </a:cubicBezTo>
                    <a:lnTo>
                      <a:pt x="8882" y="183397"/>
                    </a:lnTo>
                    <a:cubicBezTo>
                      <a:pt x="8882" y="185879"/>
                      <a:pt x="6923" y="187838"/>
                      <a:pt x="4441" y="187838"/>
                    </a:cubicBezTo>
                    <a:lnTo>
                      <a:pt x="4441" y="187838"/>
                    </a:lnTo>
                    <a:close/>
                    <a:moveTo>
                      <a:pt x="4441" y="116256"/>
                    </a:moveTo>
                    <a:cubicBezTo>
                      <a:pt x="1959" y="116256"/>
                      <a:pt x="0" y="114297"/>
                      <a:pt x="0" y="111815"/>
                    </a:cubicBezTo>
                    <a:lnTo>
                      <a:pt x="0" y="76024"/>
                    </a:lnTo>
                    <a:cubicBezTo>
                      <a:pt x="0" y="73542"/>
                      <a:pt x="1959" y="71582"/>
                      <a:pt x="4441" y="71582"/>
                    </a:cubicBezTo>
                    <a:lnTo>
                      <a:pt x="4441" y="71582"/>
                    </a:lnTo>
                    <a:cubicBezTo>
                      <a:pt x="6923" y="71582"/>
                      <a:pt x="8882" y="73542"/>
                      <a:pt x="8882" y="76024"/>
                    </a:cubicBezTo>
                    <a:lnTo>
                      <a:pt x="8882" y="111815"/>
                    </a:lnTo>
                    <a:cubicBezTo>
                      <a:pt x="8882" y="114297"/>
                      <a:pt x="6792" y="116387"/>
                      <a:pt x="4441" y="116256"/>
                    </a:cubicBezTo>
                    <a:close/>
                    <a:moveTo>
                      <a:pt x="4441" y="44674"/>
                    </a:moveTo>
                    <a:cubicBezTo>
                      <a:pt x="1959" y="44674"/>
                      <a:pt x="0" y="42714"/>
                      <a:pt x="0" y="40232"/>
                    </a:cubicBezTo>
                    <a:lnTo>
                      <a:pt x="0" y="4441"/>
                    </a:lnTo>
                    <a:cubicBezTo>
                      <a:pt x="0" y="1959"/>
                      <a:pt x="1959" y="0"/>
                      <a:pt x="4441" y="0"/>
                    </a:cubicBezTo>
                    <a:cubicBezTo>
                      <a:pt x="6923" y="0"/>
                      <a:pt x="8882" y="1959"/>
                      <a:pt x="8882" y="4441"/>
                    </a:cubicBezTo>
                    <a:lnTo>
                      <a:pt x="8882" y="40232"/>
                    </a:lnTo>
                    <a:cubicBezTo>
                      <a:pt x="8882" y="42714"/>
                      <a:pt x="6923" y="44543"/>
                      <a:pt x="4441" y="4467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7B95F293-574E-3C5B-BCA1-2F1493C26B25}"/>
                  </a:ext>
                </a:extLst>
              </p:cNvPr>
              <p:cNvSpPr/>
              <p:nvPr/>
            </p:nvSpPr>
            <p:spPr>
              <a:xfrm>
                <a:off x="1008381" y="4823844"/>
                <a:ext cx="1722156" cy="8882"/>
              </a:xfrm>
              <a:custGeom>
                <a:avLst/>
                <a:gdLst>
                  <a:gd name="connsiteX0" fmla="*/ 1717716 w 1722156"/>
                  <a:gd name="connsiteY0" fmla="*/ 8883 h 8882"/>
                  <a:gd name="connsiteX1" fmla="*/ 4441 w 1722156"/>
                  <a:gd name="connsiteY1" fmla="*/ 8883 h 8882"/>
                  <a:gd name="connsiteX2" fmla="*/ 0 w 1722156"/>
                  <a:gd name="connsiteY2" fmla="*/ 4441 h 8882"/>
                  <a:gd name="connsiteX3" fmla="*/ 4441 w 1722156"/>
                  <a:gd name="connsiteY3" fmla="*/ 0 h 8882"/>
                  <a:gd name="connsiteX4" fmla="*/ 1717716 w 1722156"/>
                  <a:gd name="connsiteY4" fmla="*/ 0 h 8882"/>
                  <a:gd name="connsiteX5" fmla="*/ 1722157 w 1722156"/>
                  <a:gd name="connsiteY5" fmla="*/ 4441 h 8882"/>
                  <a:gd name="connsiteX6" fmla="*/ 1717716 w 1722156"/>
                  <a:gd name="connsiteY6" fmla="*/ 8883 h 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2156" h="8882">
                    <a:moveTo>
                      <a:pt x="1717716" y="8883"/>
                    </a:moveTo>
                    <a:lnTo>
                      <a:pt x="4441" y="8883"/>
                    </a:lnTo>
                    <a:cubicBezTo>
                      <a:pt x="1959" y="8883"/>
                      <a:pt x="0" y="6923"/>
                      <a:pt x="0" y="4441"/>
                    </a:cubicBezTo>
                    <a:cubicBezTo>
                      <a:pt x="0" y="1959"/>
                      <a:pt x="1959" y="0"/>
                      <a:pt x="4441" y="0"/>
                    </a:cubicBezTo>
                    <a:lnTo>
                      <a:pt x="1717716" y="0"/>
                    </a:lnTo>
                    <a:cubicBezTo>
                      <a:pt x="1720197" y="0"/>
                      <a:pt x="1722157" y="1959"/>
                      <a:pt x="1722157" y="4441"/>
                    </a:cubicBezTo>
                    <a:cubicBezTo>
                      <a:pt x="1722157" y="6923"/>
                      <a:pt x="1720197" y="8883"/>
                      <a:pt x="1717716" y="888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56" name="Graphic 717">
              <a:extLst>
                <a:ext uri="{FF2B5EF4-FFF2-40B4-BE49-F238E27FC236}">
                  <a16:creationId xmlns:a16="http://schemas.microsoft.com/office/drawing/2014/main" id="{DBC88D61-C87C-3DC5-0059-DBFA1F4628E6}"/>
                </a:ext>
              </a:extLst>
            </p:cNvPr>
            <p:cNvGrpSpPr/>
            <p:nvPr/>
          </p:nvGrpSpPr>
          <p:grpSpPr>
            <a:xfrm>
              <a:off x="814665" y="4153478"/>
              <a:ext cx="477564" cy="240741"/>
              <a:chOff x="814665" y="4153478"/>
              <a:chExt cx="477564" cy="240741"/>
            </a:xfrm>
            <a:grpFill/>
          </p:grpSpPr>
          <p:sp>
            <p:nvSpPr>
              <p:cNvPr id="59" name="Freeform: Shape 58">
                <a:extLst>
                  <a:ext uri="{FF2B5EF4-FFF2-40B4-BE49-F238E27FC236}">
                    <a16:creationId xmlns:a16="http://schemas.microsoft.com/office/drawing/2014/main" id="{2A758970-1DD5-88C1-A68F-1A53468D2F0A}"/>
                  </a:ext>
                </a:extLst>
              </p:cNvPr>
              <p:cNvSpPr/>
              <p:nvPr/>
            </p:nvSpPr>
            <p:spPr>
              <a:xfrm>
                <a:off x="814795" y="4153478"/>
                <a:ext cx="334268" cy="10711"/>
              </a:xfrm>
              <a:custGeom>
                <a:avLst/>
                <a:gdLst>
                  <a:gd name="connsiteX0" fmla="*/ 329828 w 334268"/>
                  <a:gd name="connsiteY0" fmla="*/ 10711 h 10711"/>
                  <a:gd name="connsiteX1" fmla="*/ 329828 w 334268"/>
                  <a:gd name="connsiteY1" fmla="*/ 10711 h 10711"/>
                  <a:gd name="connsiteX2" fmla="*/ 4441 w 334268"/>
                  <a:gd name="connsiteY2" fmla="*/ 8882 h 10711"/>
                  <a:gd name="connsiteX3" fmla="*/ 0 w 334268"/>
                  <a:gd name="connsiteY3" fmla="*/ 4441 h 10711"/>
                  <a:gd name="connsiteX4" fmla="*/ 4441 w 334268"/>
                  <a:gd name="connsiteY4" fmla="*/ 0 h 10711"/>
                  <a:gd name="connsiteX5" fmla="*/ 4441 w 334268"/>
                  <a:gd name="connsiteY5" fmla="*/ 0 h 10711"/>
                  <a:gd name="connsiteX6" fmla="*/ 329828 w 334268"/>
                  <a:gd name="connsiteY6" fmla="*/ 1829 h 10711"/>
                  <a:gd name="connsiteX7" fmla="*/ 334269 w 334268"/>
                  <a:gd name="connsiteY7" fmla="*/ 6270 h 10711"/>
                  <a:gd name="connsiteX8" fmla="*/ 329828 w 334268"/>
                  <a:gd name="connsiteY8" fmla="*/ 10711 h 1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268" h="10711">
                    <a:moveTo>
                      <a:pt x="329828" y="10711"/>
                    </a:moveTo>
                    <a:lnTo>
                      <a:pt x="329828" y="10711"/>
                    </a:lnTo>
                    <a:lnTo>
                      <a:pt x="4441" y="8882"/>
                    </a:lnTo>
                    <a:cubicBezTo>
                      <a:pt x="1959" y="8882"/>
                      <a:pt x="0" y="6793"/>
                      <a:pt x="0" y="4441"/>
                    </a:cubicBezTo>
                    <a:cubicBezTo>
                      <a:pt x="0" y="1959"/>
                      <a:pt x="1959" y="0"/>
                      <a:pt x="4441" y="0"/>
                    </a:cubicBezTo>
                    <a:lnTo>
                      <a:pt x="4441" y="0"/>
                    </a:lnTo>
                    <a:lnTo>
                      <a:pt x="329828" y="1829"/>
                    </a:lnTo>
                    <a:cubicBezTo>
                      <a:pt x="332309" y="1829"/>
                      <a:pt x="334269" y="3919"/>
                      <a:pt x="334269" y="6270"/>
                    </a:cubicBezTo>
                    <a:cubicBezTo>
                      <a:pt x="334269" y="8752"/>
                      <a:pt x="332309" y="10711"/>
                      <a:pt x="329828" y="1071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60AEF821-FF0F-5E1A-14BC-C2A4B41DB802}"/>
                  </a:ext>
                </a:extLst>
              </p:cNvPr>
              <p:cNvSpPr/>
              <p:nvPr/>
            </p:nvSpPr>
            <p:spPr>
              <a:xfrm>
                <a:off x="814665" y="4268558"/>
                <a:ext cx="477564" cy="10711"/>
              </a:xfrm>
              <a:custGeom>
                <a:avLst/>
                <a:gdLst>
                  <a:gd name="connsiteX0" fmla="*/ 473123 w 477564"/>
                  <a:gd name="connsiteY0" fmla="*/ 10711 h 10711"/>
                  <a:gd name="connsiteX1" fmla="*/ 473123 w 477564"/>
                  <a:gd name="connsiteY1" fmla="*/ 10711 h 10711"/>
                  <a:gd name="connsiteX2" fmla="*/ 4441 w 477564"/>
                  <a:gd name="connsiteY2" fmla="*/ 8882 h 10711"/>
                  <a:gd name="connsiteX3" fmla="*/ 0 w 477564"/>
                  <a:gd name="connsiteY3" fmla="*/ 4441 h 10711"/>
                  <a:gd name="connsiteX4" fmla="*/ 4441 w 477564"/>
                  <a:gd name="connsiteY4" fmla="*/ 0 h 10711"/>
                  <a:gd name="connsiteX5" fmla="*/ 4441 w 477564"/>
                  <a:gd name="connsiteY5" fmla="*/ 0 h 10711"/>
                  <a:gd name="connsiteX6" fmla="*/ 473123 w 477564"/>
                  <a:gd name="connsiteY6" fmla="*/ 1829 h 10711"/>
                  <a:gd name="connsiteX7" fmla="*/ 477564 w 477564"/>
                  <a:gd name="connsiteY7" fmla="*/ 6270 h 10711"/>
                  <a:gd name="connsiteX8" fmla="*/ 473123 w 477564"/>
                  <a:gd name="connsiteY8" fmla="*/ 10711 h 1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64" h="10711">
                    <a:moveTo>
                      <a:pt x="473123" y="10711"/>
                    </a:moveTo>
                    <a:lnTo>
                      <a:pt x="473123" y="10711"/>
                    </a:lnTo>
                    <a:lnTo>
                      <a:pt x="4441" y="8882"/>
                    </a:lnTo>
                    <a:cubicBezTo>
                      <a:pt x="1959" y="8882"/>
                      <a:pt x="0" y="6923"/>
                      <a:pt x="0" y="4441"/>
                    </a:cubicBezTo>
                    <a:cubicBezTo>
                      <a:pt x="0" y="1959"/>
                      <a:pt x="1959" y="0"/>
                      <a:pt x="4441" y="0"/>
                    </a:cubicBezTo>
                    <a:lnTo>
                      <a:pt x="4441" y="0"/>
                    </a:lnTo>
                    <a:lnTo>
                      <a:pt x="473123" y="1829"/>
                    </a:lnTo>
                    <a:cubicBezTo>
                      <a:pt x="475605" y="1829"/>
                      <a:pt x="477564" y="3788"/>
                      <a:pt x="477564" y="6270"/>
                    </a:cubicBezTo>
                    <a:cubicBezTo>
                      <a:pt x="477564" y="8752"/>
                      <a:pt x="475605" y="10711"/>
                      <a:pt x="473123" y="1071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7EFAB33D-E07C-B3E0-888F-EF28FBC20906}"/>
                  </a:ext>
                </a:extLst>
              </p:cNvPr>
              <p:cNvSpPr/>
              <p:nvPr/>
            </p:nvSpPr>
            <p:spPr>
              <a:xfrm>
                <a:off x="814795" y="4383508"/>
                <a:ext cx="366141" cy="10711"/>
              </a:xfrm>
              <a:custGeom>
                <a:avLst/>
                <a:gdLst>
                  <a:gd name="connsiteX0" fmla="*/ 361700 w 366141"/>
                  <a:gd name="connsiteY0" fmla="*/ 10711 h 10711"/>
                  <a:gd name="connsiteX1" fmla="*/ 361700 w 366141"/>
                  <a:gd name="connsiteY1" fmla="*/ 10711 h 10711"/>
                  <a:gd name="connsiteX2" fmla="*/ 4441 w 366141"/>
                  <a:gd name="connsiteY2" fmla="*/ 8882 h 10711"/>
                  <a:gd name="connsiteX3" fmla="*/ 0 w 366141"/>
                  <a:gd name="connsiteY3" fmla="*/ 4441 h 10711"/>
                  <a:gd name="connsiteX4" fmla="*/ 4441 w 366141"/>
                  <a:gd name="connsiteY4" fmla="*/ 0 h 10711"/>
                  <a:gd name="connsiteX5" fmla="*/ 4441 w 366141"/>
                  <a:gd name="connsiteY5" fmla="*/ 0 h 10711"/>
                  <a:gd name="connsiteX6" fmla="*/ 361700 w 366141"/>
                  <a:gd name="connsiteY6" fmla="*/ 1829 h 10711"/>
                  <a:gd name="connsiteX7" fmla="*/ 366141 w 366141"/>
                  <a:gd name="connsiteY7" fmla="*/ 6270 h 10711"/>
                  <a:gd name="connsiteX8" fmla="*/ 361700 w 366141"/>
                  <a:gd name="connsiteY8" fmla="*/ 10711 h 1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141" h="10711">
                    <a:moveTo>
                      <a:pt x="361700" y="10711"/>
                    </a:moveTo>
                    <a:lnTo>
                      <a:pt x="361700" y="10711"/>
                    </a:lnTo>
                    <a:cubicBezTo>
                      <a:pt x="361700" y="10711"/>
                      <a:pt x="4441" y="8882"/>
                      <a:pt x="4441" y="8882"/>
                    </a:cubicBezTo>
                    <a:cubicBezTo>
                      <a:pt x="1959" y="8882"/>
                      <a:pt x="0" y="6792"/>
                      <a:pt x="0" y="4441"/>
                    </a:cubicBezTo>
                    <a:cubicBezTo>
                      <a:pt x="0" y="1959"/>
                      <a:pt x="1959" y="0"/>
                      <a:pt x="4441" y="0"/>
                    </a:cubicBezTo>
                    <a:lnTo>
                      <a:pt x="4441" y="0"/>
                    </a:lnTo>
                    <a:cubicBezTo>
                      <a:pt x="4441" y="0"/>
                      <a:pt x="361700" y="1829"/>
                      <a:pt x="361700" y="1829"/>
                    </a:cubicBezTo>
                    <a:cubicBezTo>
                      <a:pt x="364182" y="1829"/>
                      <a:pt x="366141" y="3919"/>
                      <a:pt x="366141" y="6270"/>
                    </a:cubicBezTo>
                    <a:cubicBezTo>
                      <a:pt x="366141" y="8752"/>
                      <a:pt x="364182" y="10711"/>
                      <a:pt x="361700" y="1071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sp>
          <p:nvSpPr>
            <p:cNvPr id="57" name="Freeform: Shape 56">
              <a:extLst>
                <a:ext uri="{FF2B5EF4-FFF2-40B4-BE49-F238E27FC236}">
                  <a16:creationId xmlns:a16="http://schemas.microsoft.com/office/drawing/2014/main" id="{06DE9FE3-5189-2ADC-91E7-26E3BFEB2C49}"/>
                </a:ext>
              </a:extLst>
            </p:cNvPr>
            <p:cNvSpPr/>
            <p:nvPr/>
          </p:nvSpPr>
          <p:spPr>
            <a:xfrm>
              <a:off x="2689130" y="3948470"/>
              <a:ext cx="297563" cy="10115"/>
            </a:xfrm>
            <a:custGeom>
              <a:avLst/>
              <a:gdLst>
                <a:gd name="connsiteX0" fmla="*/ 292991 w 297563"/>
                <a:gd name="connsiteY0" fmla="*/ 9985 h 10115"/>
                <a:gd name="connsiteX1" fmla="*/ 292991 w 297563"/>
                <a:gd name="connsiteY1" fmla="*/ 9985 h 10115"/>
                <a:gd name="connsiteX2" fmla="*/ 4441 w 297563"/>
                <a:gd name="connsiteY2" fmla="*/ 8939 h 10115"/>
                <a:gd name="connsiteX3" fmla="*/ 4441 w 297563"/>
                <a:gd name="connsiteY3" fmla="*/ 8939 h 10115"/>
                <a:gd name="connsiteX4" fmla="*/ 0 w 297563"/>
                <a:gd name="connsiteY4" fmla="*/ 4498 h 10115"/>
                <a:gd name="connsiteX5" fmla="*/ 4441 w 297563"/>
                <a:gd name="connsiteY5" fmla="*/ 57 h 10115"/>
                <a:gd name="connsiteX6" fmla="*/ 293122 w 297563"/>
                <a:gd name="connsiteY6" fmla="*/ 1102 h 10115"/>
                <a:gd name="connsiteX7" fmla="*/ 297563 w 297563"/>
                <a:gd name="connsiteY7" fmla="*/ 5674 h 10115"/>
                <a:gd name="connsiteX8" fmla="*/ 293122 w 297563"/>
                <a:gd name="connsiteY8" fmla="*/ 10115 h 1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563" h="10115">
                  <a:moveTo>
                    <a:pt x="292991" y="9985"/>
                  </a:moveTo>
                  <a:lnTo>
                    <a:pt x="292991" y="9985"/>
                  </a:lnTo>
                  <a:cubicBezTo>
                    <a:pt x="197243" y="8678"/>
                    <a:pt x="97707" y="8678"/>
                    <a:pt x="4441" y="8939"/>
                  </a:cubicBezTo>
                  <a:lnTo>
                    <a:pt x="4441" y="8939"/>
                  </a:lnTo>
                  <a:cubicBezTo>
                    <a:pt x="1959" y="8939"/>
                    <a:pt x="0" y="6980"/>
                    <a:pt x="0" y="4498"/>
                  </a:cubicBezTo>
                  <a:cubicBezTo>
                    <a:pt x="0" y="2016"/>
                    <a:pt x="1959" y="57"/>
                    <a:pt x="4441" y="57"/>
                  </a:cubicBezTo>
                  <a:cubicBezTo>
                    <a:pt x="97838" y="-73"/>
                    <a:pt x="197505" y="-73"/>
                    <a:pt x="293122" y="1102"/>
                  </a:cubicBezTo>
                  <a:cubicBezTo>
                    <a:pt x="295604" y="1102"/>
                    <a:pt x="297563" y="3192"/>
                    <a:pt x="297563" y="5674"/>
                  </a:cubicBezTo>
                  <a:cubicBezTo>
                    <a:pt x="297563" y="8156"/>
                    <a:pt x="295473" y="10115"/>
                    <a:pt x="293122" y="1011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FEADA32C-99B3-5210-2DBF-A9E12201BA8B}"/>
                </a:ext>
              </a:extLst>
            </p:cNvPr>
            <p:cNvSpPr/>
            <p:nvPr/>
          </p:nvSpPr>
          <p:spPr>
            <a:xfrm>
              <a:off x="2765415" y="4068645"/>
              <a:ext cx="221408" cy="10115"/>
            </a:xfrm>
            <a:custGeom>
              <a:avLst/>
              <a:gdLst>
                <a:gd name="connsiteX0" fmla="*/ 216706 w 221408"/>
                <a:gd name="connsiteY0" fmla="*/ 9985 h 10115"/>
                <a:gd name="connsiteX1" fmla="*/ 216706 w 221408"/>
                <a:gd name="connsiteY1" fmla="*/ 9985 h 10115"/>
                <a:gd name="connsiteX2" fmla="*/ 4441 w 221408"/>
                <a:gd name="connsiteY2" fmla="*/ 8940 h 10115"/>
                <a:gd name="connsiteX3" fmla="*/ 4441 w 221408"/>
                <a:gd name="connsiteY3" fmla="*/ 8940 h 10115"/>
                <a:gd name="connsiteX4" fmla="*/ 0 w 221408"/>
                <a:gd name="connsiteY4" fmla="*/ 4498 h 10115"/>
                <a:gd name="connsiteX5" fmla="*/ 4441 w 221408"/>
                <a:gd name="connsiteY5" fmla="*/ 57 h 10115"/>
                <a:gd name="connsiteX6" fmla="*/ 216968 w 221408"/>
                <a:gd name="connsiteY6" fmla="*/ 1102 h 10115"/>
                <a:gd name="connsiteX7" fmla="*/ 221409 w 221408"/>
                <a:gd name="connsiteY7" fmla="*/ 5674 h 10115"/>
                <a:gd name="connsiteX8" fmla="*/ 216968 w 221408"/>
                <a:gd name="connsiteY8" fmla="*/ 10115 h 1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408" h="10115">
                  <a:moveTo>
                    <a:pt x="216706" y="9985"/>
                  </a:moveTo>
                  <a:lnTo>
                    <a:pt x="216706" y="9985"/>
                  </a:lnTo>
                  <a:cubicBezTo>
                    <a:pt x="146300" y="8678"/>
                    <a:pt x="73150" y="8678"/>
                    <a:pt x="4441" y="8940"/>
                  </a:cubicBezTo>
                  <a:lnTo>
                    <a:pt x="4441" y="8940"/>
                  </a:lnTo>
                  <a:cubicBezTo>
                    <a:pt x="1959" y="8940"/>
                    <a:pt x="0" y="6980"/>
                    <a:pt x="0" y="4498"/>
                  </a:cubicBezTo>
                  <a:cubicBezTo>
                    <a:pt x="0" y="2017"/>
                    <a:pt x="1959" y="57"/>
                    <a:pt x="4441" y="57"/>
                  </a:cubicBezTo>
                  <a:cubicBezTo>
                    <a:pt x="73150" y="-73"/>
                    <a:pt x="146430" y="-73"/>
                    <a:pt x="216968" y="1102"/>
                  </a:cubicBezTo>
                  <a:cubicBezTo>
                    <a:pt x="219450" y="1102"/>
                    <a:pt x="221409" y="3192"/>
                    <a:pt x="221409" y="5674"/>
                  </a:cubicBezTo>
                  <a:cubicBezTo>
                    <a:pt x="221409" y="8156"/>
                    <a:pt x="219319" y="10115"/>
                    <a:pt x="216968" y="1011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80" name="Graphic 717">
            <a:extLst>
              <a:ext uri="{FF2B5EF4-FFF2-40B4-BE49-F238E27FC236}">
                <a16:creationId xmlns:a16="http://schemas.microsoft.com/office/drawing/2014/main" id="{1E00714C-0357-B5CC-7612-05B27A380D76}"/>
              </a:ext>
            </a:extLst>
          </p:cNvPr>
          <p:cNvGrpSpPr/>
          <p:nvPr userDrawn="1"/>
        </p:nvGrpSpPr>
        <p:grpSpPr>
          <a:xfrm>
            <a:off x="6488041" y="1600701"/>
            <a:ext cx="672661" cy="2974402"/>
            <a:chOff x="308624" y="3248119"/>
            <a:chExt cx="757231" cy="2796935"/>
          </a:xfrm>
          <a:noFill/>
        </p:grpSpPr>
        <p:sp>
          <p:nvSpPr>
            <p:cNvPr id="81" name="Freeform: Shape 80">
              <a:extLst>
                <a:ext uri="{FF2B5EF4-FFF2-40B4-BE49-F238E27FC236}">
                  <a16:creationId xmlns:a16="http://schemas.microsoft.com/office/drawing/2014/main" id="{AE1B1CBB-BCB2-D534-64E8-0664F2375A69}"/>
                </a:ext>
              </a:extLst>
            </p:cNvPr>
            <p:cNvSpPr/>
            <p:nvPr userDrawn="1"/>
          </p:nvSpPr>
          <p:spPr>
            <a:xfrm>
              <a:off x="308624" y="3248119"/>
              <a:ext cx="733849" cy="2764805"/>
            </a:xfrm>
            <a:custGeom>
              <a:avLst/>
              <a:gdLst>
                <a:gd name="connsiteX0" fmla="*/ 729147 w 733849"/>
                <a:gd name="connsiteY0" fmla="*/ 2764804 h 2764803"/>
                <a:gd name="connsiteX1" fmla="*/ 691397 w 733849"/>
                <a:gd name="connsiteY1" fmla="*/ 2764804 h 2764803"/>
                <a:gd name="connsiteX2" fmla="*/ 686694 w 733849"/>
                <a:gd name="connsiteY2" fmla="*/ 2758403 h 2764803"/>
                <a:gd name="connsiteX3" fmla="*/ 691397 w 733849"/>
                <a:gd name="connsiteY3" fmla="*/ 2752003 h 2764803"/>
                <a:gd name="connsiteX4" fmla="*/ 729147 w 733849"/>
                <a:gd name="connsiteY4" fmla="*/ 2752003 h 2764803"/>
                <a:gd name="connsiteX5" fmla="*/ 733850 w 733849"/>
                <a:gd name="connsiteY5" fmla="*/ 2758403 h 2764803"/>
                <a:gd name="connsiteX6" fmla="*/ 729147 w 733849"/>
                <a:gd name="connsiteY6" fmla="*/ 2764804 h 2764803"/>
                <a:gd name="connsiteX7" fmla="*/ 653777 w 733849"/>
                <a:gd name="connsiteY7" fmla="*/ 2764804 h 2764803"/>
                <a:gd name="connsiteX8" fmla="*/ 616026 w 733849"/>
                <a:gd name="connsiteY8" fmla="*/ 2764804 h 2764803"/>
                <a:gd name="connsiteX9" fmla="*/ 611324 w 733849"/>
                <a:gd name="connsiteY9" fmla="*/ 2758403 h 2764803"/>
                <a:gd name="connsiteX10" fmla="*/ 616026 w 733849"/>
                <a:gd name="connsiteY10" fmla="*/ 2752003 h 2764803"/>
                <a:gd name="connsiteX11" fmla="*/ 653777 w 733849"/>
                <a:gd name="connsiteY11" fmla="*/ 2752003 h 2764803"/>
                <a:gd name="connsiteX12" fmla="*/ 658479 w 733849"/>
                <a:gd name="connsiteY12" fmla="*/ 2758403 h 2764803"/>
                <a:gd name="connsiteX13" fmla="*/ 653777 w 733849"/>
                <a:gd name="connsiteY13" fmla="*/ 2764804 h 2764803"/>
                <a:gd name="connsiteX14" fmla="*/ 578406 w 733849"/>
                <a:gd name="connsiteY14" fmla="*/ 2764804 h 2764803"/>
                <a:gd name="connsiteX15" fmla="*/ 540656 w 733849"/>
                <a:gd name="connsiteY15" fmla="*/ 2764804 h 2764803"/>
                <a:gd name="connsiteX16" fmla="*/ 535953 w 733849"/>
                <a:gd name="connsiteY16" fmla="*/ 2758403 h 2764803"/>
                <a:gd name="connsiteX17" fmla="*/ 540656 w 733849"/>
                <a:gd name="connsiteY17" fmla="*/ 2752003 h 2764803"/>
                <a:gd name="connsiteX18" fmla="*/ 578406 w 733849"/>
                <a:gd name="connsiteY18" fmla="*/ 2752003 h 2764803"/>
                <a:gd name="connsiteX19" fmla="*/ 583109 w 733849"/>
                <a:gd name="connsiteY19" fmla="*/ 2758403 h 2764803"/>
                <a:gd name="connsiteX20" fmla="*/ 578406 w 733849"/>
                <a:gd name="connsiteY20" fmla="*/ 2764804 h 2764803"/>
                <a:gd name="connsiteX21" fmla="*/ 503036 w 733849"/>
                <a:gd name="connsiteY21" fmla="*/ 2764804 h 2764803"/>
                <a:gd name="connsiteX22" fmla="*/ 465285 w 733849"/>
                <a:gd name="connsiteY22" fmla="*/ 2764804 h 2764803"/>
                <a:gd name="connsiteX23" fmla="*/ 460583 w 733849"/>
                <a:gd name="connsiteY23" fmla="*/ 2758403 h 2764803"/>
                <a:gd name="connsiteX24" fmla="*/ 465285 w 733849"/>
                <a:gd name="connsiteY24" fmla="*/ 2752003 h 2764803"/>
                <a:gd name="connsiteX25" fmla="*/ 503036 w 733849"/>
                <a:gd name="connsiteY25" fmla="*/ 2752003 h 2764803"/>
                <a:gd name="connsiteX26" fmla="*/ 507738 w 733849"/>
                <a:gd name="connsiteY26" fmla="*/ 2758403 h 2764803"/>
                <a:gd name="connsiteX27" fmla="*/ 503036 w 733849"/>
                <a:gd name="connsiteY27" fmla="*/ 2764804 h 2764803"/>
                <a:gd name="connsiteX28" fmla="*/ 427665 w 733849"/>
                <a:gd name="connsiteY28" fmla="*/ 2764804 h 2764803"/>
                <a:gd name="connsiteX29" fmla="*/ 389915 w 733849"/>
                <a:gd name="connsiteY29" fmla="*/ 2764804 h 2764803"/>
                <a:gd name="connsiteX30" fmla="*/ 385212 w 733849"/>
                <a:gd name="connsiteY30" fmla="*/ 2758403 h 2764803"/>
                <a:gd name="connsiteX31" fmla="*/ 389915 w 733849"/>
                <a:gd name="connsiteY31" fmla="*/ 2752003 h 2764803"/>
                <a:gd name="connsiteX32" fmla="*/ 427665 w 733849"/>
                <a:gd name="connsiteY32" fmla="*/ 2752003 h 2764803"/>
                <a:gd name="connsiteX33" fmla="*/ 432368 w 733849"/>
                <a:gd name="connsiteY33" fmla="*/ 2758403 h 2764803"/>
                <a:gd name="connsiteX34" fmla="*/ 427665 w 733849"/>
                <a:gd name="connsiteY34" fmla="*/ 2764804 h 2764803"/>
                <a:gd name="connsiteX35" fmla="*/ 352295 w 733849"/>
                <a:gd name="connsiteY35" fmla="*/ 2764804 h 2764803"/>
                <a:gd name="connsiteX36" fmla="*/ 314544 w 733849"/>
                <a:gd name="connsiteY36" fmla="*/ 2764804 h 2764803"/>
                <a:gd name="connsiteX37" fmla="*/ 309842 w 733849"/>
                <a:gd name="connsiteY37" fmla="*/ 2758403 h 2764803"/>
                <a:gd name="connsiteX38" fmla="*/ 314544 w 733849"/>
                <a:gd name="connsiteY38" fmla="*/ 2752003 h 2764803"/>
                <a:gd name="connsiteX39" fmla="*/ 352295 w 733849"/>
                <a:gd name="connsiteY39" fmla="*/ 2752003 h 2764803"/>
                <a:gd name="connsiteX40" fmla="*/ 356997 w 733849"/>
                <a:gd name="connsiteY40" fmla="*/ 2758403 h 2764803"/>
                <a:gd name="connsiteX41" fmla="*/ 352295 w 733849"/>
                <a:gd name="connsiteY41" fmla="*/ 2764804 h 2764803"/>
                <a:gd name="connsiteX42" fmla="*/ 276924 w 733849"/>
                <a:gd name="connsiteY42" fmla="*/ 2764804 h 2764803"/>
                <a:gd name="connsiteX43" fmla="*/ 239174 w 733849"/>
                <a:gd name="connsiteY43" fmla="*/ 2764804 h 2764803"/>
                <a:gd name="connsiteX44" fmla="*/ 234471 w 733849"/>
                <a:gd name="connsiteY44" fmla="*/ 2758403 h 2764803"/>
                <a:gd name="connsiteX45" fmla="*/ 239174 w 733849"/>
                <a:gd name="connsiteY45" fmla="*/ 2752003 h 2764803"/>
                <a:gd name="connsiteX46" fmla="*/ 276924 w 733849"/>
                <a:gd name="connsiteY46" fmla="*/ 2752003 h 2764803"/>
                <a:gd name="connsiteX47" fmla="*/ 281627 w 733849"/>
                <a:gd name="connsiteY47" fmla="*/ 2758403 h 2764803"/>
                <a:gd name="connsiteX48" fmla="*/ 276924 w 733849"/>
                <a:gd name="connsiteY48" fmla="*/ 2764804 h 2764803"/>
                <a:gd name="connsiteX49" fmla="*/ 201554 w 733849"/>
                <a:gd name="connsiteY49" fmla="*/ 2764804 h 2764803"/>
                <a:gd name="connsiteX50" fmla="*/ 163803 w 733849"/>
                <a:gd name="connsiteY50" fmla="*/ 2764804 h 2764803"/>
                <a:gd name="connsiteX51" fmla="*/ 159101 w 733849"/>
                <a:gd name="connsiteY51" fmla="*/ 2758403 h 2764803"/>
                <a:gd name="connsiteX52" fmla="*/ 163803 w 733849"/>
                <a:gd name="connsiteY52" fmla="*/ 2752003 h 2764803"/>
                <a:gd name="connsiteX53" fmla="*/ 201554 w 733849"/>
                <a:gd name="connsiteY53" fmla="*/ 2752003 h 2764803"/>
                <a:gd name="connsiteX54" fmla="*/ 206256 w 733849"/>
                <a:gd name="connsiteY54" fmla="*/ 2758403 h 2764803"/>
                <a:gd name="connsiteX55" fmla="*/ 201554 w 733849"/>
                <a:gd name="connsiteY55" fmla="*/ 2764804 h 2764803"/>
                <a:gd name="connsiteX56" fmla="*/ 126184 w 733849"/>
                <a:gd name="connsiteY56" fmla="*/ 2764804 h 2764803"/>
                <a:gd name="connsiteX57" fmla="*/ 88433 w 733849"/>
                <a:gd name="connsiteY57" fmla="*/ 2764804 h 2764803"/>
                <a:gd name="connsiteX58" fmla="*/ 83730 w 733849"/>
                <a:gd name="connsiteY58" fmla="*/ 2758403 h 2764803"/>
                <a:gd name="connsiteX59" fmla="*/ 88433 w 733849"/>
                <a:gd name="connsiteY59" fmla="*/ 2752003 h 2764803"/>
                <a:gd name="connsiteX60" fmla="*/ 126184 w 733849"/>
                <a:gd name="connsiteY60" fmla="*/ 2752003 h 2764803"/>
                <a:gd name="connsiteX61" fmla="*/ 130886 w 733849"/>
                <a:gd name="connsiteY61" fmla="*/ 2758403 h 2764803"/>
                <a:gd name="connsiteX62" fmla="*/ 126184 w 733849"/>
                <a:gd name="connsiteY62" fmla="*/ 2764804 h 2764803"/>
                <a:gd name="connsiteX63" fmla="*/ 50813 w 733849"/>
                <a:gd name="connsiteY63" fmla="*/ 2764804 h 2764803"/>
                <a:gd name="connsiteX64" fmla="*/ 13062 w 733849"/>
                <a:gd name="connsiteY64" fmla="*/ 2764804 h 2764803"/>
                <a:gd name="connsiteX65" fmla="*/ 8360 w 733849"/>
                <a:gd name="connsiteY65" fmla="*/ 2758403 h 2764803"/>
                <a:gd name="connsiteX66" fmla="*/ 13062 w 733849"/>
                <a:gd name="connsiteY66" fmla="*/ 2752003 h 2764803"/>
                <a:gd name="connsiteX67" fmla="*/ 50813 w 733849"/>
                <a:gd name="connsiteY67" fmla="*/ 2752003 h 2764803"/>
                <a:gd name="connsiteX68" fmla="*/ 55516 w 733849"/>
                <a:gd name="connsiteY68" fmla="*/ 2758403 h 2764803"/>
                <a:gd name="connsiteX69" fmla="*/ 50813 w 733849"/>
                <a:gd name="connsiteY69" fmla="*/ 2764804 h 2764803"/>
                <a:gd name="connsiteX70" fmla="*/ 11495 w 733849"/>
                <a:gd name="connsiteY70" fmla="*/ 2715167 h 2764803"/>
                <a:gd name="connsiteX71" fmla="*/ 6792 w 733849"/>
                <a:gd name="connsiteY71" fmla="*/ 2708766 h 2764803"/>
                <a:gd name="connsiteX72" fmla="*/ 6792 w 733849"/>
                <a:gd name="connsiteY72" fmla="*/ 2657169 h 2764803"/>
                <a:gd name="connsiteX73" fmla="*/ 11364 w 733849"/>
                <a:gd name="connsiteY73" fmla="*/ 2650638 h 2764803"/>
                <a:gd name="connsiteX74" fmla="*/ 11364 w 733849"/>
                <a:gd name="connsiteY74" fmla="*/ 2650638 h 2764803"/>
                <a:gd name="connsiteX75" fmla="*/ 16067 w 733849"/>
                <a:gd name="connsiteY75" fmla="*/ 2657039 h 2764803"/>
                <a:gd name="connsiteX76" fmla="*/ 16067 w 733849"/>
                <a:gd name="connsiteY76" fmla="*/ 2708635 h 2764803"/>
                <a:gd name="connsiteX77" fmla="*/ 11495 w 733849"/>
                <a:gd name="connsiteY77" fmla="*/ 2715167 h 2764803"/>
                <a:gd name="connsiteX78" fmla="*/ 11495 w 733849"/>
                <a:gd name="connsiteY78" fmla="*/ 2715167 h 2764803"/>
                <a:gd name="connsiteX79" fmla="*/ 11234 w 733849"/>
                <a:gd name="connsiteY79" fmla="*/ 2611842 h 2764803"/>
                <a:gd name="connsiteX80" fmla="*/ 6531 w 733849"/>
                <a:gd name="connsiteY80" fmla="*/ 2605442 h 2764803"/>
                <a:gd name="connsiteX81" fmla="*/ 6531 w 733849"/>
                <a:gd name="connsiteY81" fmla="*/ 2553845 h 2764803"/>
                <a:gd name="connsiteX82" fmla="*/ 11103 w 733849"/>
                <a:gd name="connsiteY82" fmla="*/ 2547314 h 2764803"/>
                <a:gd name="connsiteX83" fmla="*/ 11103 w 733849"/>
                <a:gd name="connsiteY83" fmla="*/ 2547314 h 2764803"/>
                <a:gd name="connsiteX84" fmla="*/ 15806 w 733849"/>
                <a:gd name="connsiteY84" fmla="*/ 2553714 h 2764803"/>
                <a:gd name="connsiteX85" fmla="*/ 15806 w 733849"/>
                <a:gd name="connsiteY85" fmla="*/ 2605311 h 2764803"/>
                <a:gd name="connsiteX86" fmla="*/ 11234 w 733849"/>
                <a:gd name="connsiteY86" fmla="*/ 2611842 h 2764803"/>
                <a:gd name="connsiteX87" fmla="*/ 11234 w 733849"/>
                <a:gd name="connsiteY87" fmla="*/ 2611842 h 2764803"/>
                <a:gd name="connsiteX88" fmla="*/ 10972 w 733849"/>
                <a:gd name="connsiteY88" fmla="*/ 2508518 h 2764803"/>
                <a:gd name="connsiteX89" fmla="*/ 6270 w 733849"/>
                <a:gd name="connsiteY89" fmla="*/ 2502118 h 2764803"/>
                <a:gd name="connsiteX90" fmla="*/ 6270 w 733849"/>
                <a:gd name="connsiteY90" fmla="*/ 2450521 h 2764803"/>
                <a:gd name="connsiteX91" fmla="*/ 10842 w 733849"/>
                <a:gd name="connsiteY91" fmla="*/ 2443990 h 2764803"/>
                <a:gd name="connsiteX92" fmla="*/ 10842 w 733849"/>
                <a:gd name="connsiteY92" fmla="*/ 2443990 h 2764803"/>
                <a:gd name="connsiteX93" fmla="*/ 15544 w 733849"/>
                <a:gd name="connsiteY93" fmla="*/ 2450390 h 2764803"/>
                <a:gd name="connsiteX94" fmla="*/ 15544 w 733849"/>
                <a:gd name="connsiteY94" fmla="*/ 2501987 h 2764803"/>
                <a:gd name="connsiteX95" fmla="*/ 10972 w 733849"/>
                <a:gd name="connsiteY95" fmla="*/ 2508518 h 2764803"/>
                <a:gd name="connsiteX96" fmla="*/ 10972 w 733849"/>
                <a:gd name="connsiteY96" fmla="*/ 2508518 h 2764803"/>
                <a:gd name="connsiteX97" fmla="*/ 10711 w 733849"/>
                <a:gd name="connsiteY97" fmla="*/ 2405194 h 2764803"/>
                <a:gd name="connsiteX98" fmla="*/ 6009 w 733849"/>
                <a:gd name="connsiteY98" fmla="*/ 2398794 h 2764803"/>
                <a:gd name="connsiteX99" fmla="*/ 6009 w 733849"/>
                <a:gd name="connsiteY99" fmla="*/ 2347197 h 2764803"/>
                <a:gd name="connsiteX100" fmla="*/ 10581 w 733849"/>
                <a:gd name="connsiteY100" fmla="*/ 2340665 h 2764803"/>
                <a:gd name="connsiteX101" fmla="*/ 10581 w 733849"/>
                <a:gd name="connsiteY101" fmla="*/ 2340665 h 2764803"/>
                <a:gd name="connsiteX102" fmla="*/ 15283 w 733849"/>
                <a:gd name="connsiteY102" fmla="*/ 2347066 h 2764803"/>
                <a:gd name="connsiteX103" fmla="*/ 15283 w 733849"/>
                <a:gd name="connsiteY103" fmla="*/ 2398663 h 2764803"/>
                <a:gd name="connsiteX104" fmla="*/ 10711 w 733849"/>
                <a:gd name="connsiteY104" fmla="*/ 2405194 h 2764803"/>
                <a:gd name="connsiteX105" fmla="*/ 10711 w 733849"/>
                <a:gd name="connsiteY105" fmla="*/ 2405194 h 2764803"/>
                <a:gd name="connsiteX106" fmla="*/ 10450 w 733849"/>
                <a:gd name="connsiteY106" fmla="*/ 2301870 h 2764803"/>
                <a:gd name="connsiteX107" fmla="*/ 5747 w 733849"/>
                <a:gd name="connsiteY107" fmla="*/ 2295469 h 2764803"/>
                <a:gd name="connsiteX108" fmla="*/ 5747 w 733849"/>
                <a:gd name="connsiteY108" fmla="*/ 2243872 h 2764803"/>
                <a:gd name="connsiteX109" fmla="*/ 10319 w 733849"/>
                <a:gd name="connsiteY109" fmla="*/ 2237341 h 2764803"/>
                <a:gd name="connsiteX110" fmla="*/ 10319 w 733849"/>
                <a:gd name="connsiteY110" fmla="*/ 2237341 h 2764803"/>
                <a:gd name="connsiteX111" fmla="*/ 15022 w 733849"/>
                <a:gd name="connsiteY111" fmla="*/ 2243742 h 2764803"/>
                <a:gd name="connsiteX112" fmla="*/ 15022 w 733849"/>
                <a:gd name="connsiteY112" fmla="*/ 2295339 h 2764803"/>
                <a:gd name="connsiteX113" fmla="*/ 10450 w 733849"/>
                <a:gd name="connsiteY113" fmla="*/ 2301870 h 2764803"/>
                <a:gd name="connsiteX114" fmla="*/ 10450 w 733849"/>
                <a:gd name="connsiteY114" fmla="*/ 2301870 h 2764803"/>
                <a:gd name="connsiteX115" fmla="*/ 10189 w 733849"/>
                <a:gd name="connsiteY115" fmla="*/ 2198546 h 2764803"/>
                <a:gd name="connsiteX116" fmla="*/ 5486 w 733849"/>
                <a:gd name="connsiteY116" fmla="*/ 2192145 h 2764803"/>
                <a:gd name="connsiteX117" fmla="*/ 5486 w 733849"/>
                <a:gd name="connsiteY117" fmla="*/ 2140548 h 2764803"/>
                <a:gd name="connsiteX118" fmla="*/ 10058 w 733849"/>
                <a:gd name="connsiteY118" fmla="*/ 2134017 h 2764803"/>
                <a:gd name="connsiteX119" fmla="*/ 10058 w 733849"/>
                <a:gd name="connsiteY119" fmla="*/ 2134017 h 2764803"/>
                <a:gd name="connsiteX120" fmla="*/ 14761 w 733849"/>
                <a:gd name="connsiteY120" fmla="*/ 2140418 h 2764803"/>
                <a:gd name="connsiteX121" fmla="*/ 14761 w 733849"/>
                <a:gd name="connsiteY121" fmla="*/ 2192014 h 2764803"/>
                <a:gd name="connsiteX122" fmla="*/ 10189 w 733849"/>
                <a:gd name="connsiteY122" fmla="*/ 2198546 h 2764803"/>
                <a:gd name="connsiteX123" fmla="*/ 10189 w 733849"/>
                <a:gd name="connsiteY123" fmla="*/ 2198546 h 2764803"/>
                <a:gd name="connsiteX124" fmla="*/ 9927 w 733849"/>
                <a:gd name="connsiteY124" fmla="*/ 2095222 h 2764803"/>
                <a:gd name="connsiteX125" fmla="*/ 5225 w 733849"/>
                <a:gd name="connsiteY125" fmla="*/ 2088821 h 2764803"/>
                <a:gd name="connsiteX126" fmla="*/ 5225 w 733849"/>
                <a:gd name="connsiteY126" fmla="*/ 2037224 h 2764803"/>
                <a:gd name="connsiteX127" fmla="*/ 9797 w 733849"/>
                <a:gd name="connsiteY127" fmla="*/ 2030693 h 2764803"/>
                <a:gd name="connsiteX128" fmla="*/ 9797 w 733849"/>
                <a:gd name="connsiteY128" fmla="*/ 2030693 h 2764803"/>
                <a:gd name="connsiteX129" fmla="*/ 14499 w 733849"/>
                <a:gd name="connsiteY129" fmla="*/ 2037093 h 2764803"/>
                <a:gd name="connsiteX130" fmla="*/ 14499 w 733849"/>
                <a:gd name="connsiteY130" fmla="*/ 2088690 h 2764803"/>
                <a:gd name="connsiteX131" fmla="*/ 9927 w 733849"/>
                <a:gd name="connsiteY131" fmla="*/ 2095222 h 2764803"/>
                <a:gd name="connsiteX132" fmla="*/ 9927 w 733849"/>
                <a:gd name="connsiteY132" fmla="*/ 2095222 h 2764803"/>
                <a:gd name="connsiteX133" fmla="*/ 9666 w 733849"/>
                <a:gd name="connsiteY133" fmla="*/ 1991897 h 2764803"/>
                <a:gd name="connsiteX134" fmla="*/ 4964 w 733849"/>
                <a:gd name="connsiteY134" fmla="*/ 1985497 h 2764803"/>
                <a:gd name="connsiteX135" fmla="*/ 4964 w 733849"/>
                <a:gd name="connsiteY135" fmla="*/ 1933900 h 2764803"/>
                <a:gd name="connsiteX136" fmla="*/ 9536 w 733849"/>
                <a:gd name="connsiteY136" fmla="*/ 1927369 h 2764803"/>
                <a:gd name="connsiteX137" fmla="*/ 9536 w 733849"/>
                <a:gd name="connsiteY137" fmla="*/ 1927369 h 2764803"/>
                <a:gd name="connsiteX138" fmla="*/ 14238 w 733849"/>
                <a:gd name="connsiteY138" fmla="*/ 1933769 h 2764803"/>
                <a:gd name="connsiteX139" fmla="*/ 14238 w 733849"/>
                <a:gd name="connsiteY139" fmla="*/ 1985366 h 2764803"/>
                <a:gd name="connsiteX140" fmla="*/ 9666 w 733849"/>
                <a:gd name="connsiteY140" fmla="*/ 1991897 h 2764803"/>
                <a:gd name="connsiteX141" fmla="*/ 9666 w 733849"/>
                <a:gd name="connsiteY141" fmla="*/ 1991897 h 2764803"/>
                <a:gd name="connsiteX142" fmla="*/ 9405 w 733849"/>
                <a:gd name="connsiteY142" fmla="*/ 1888573 h 2764803"/>
                <a:gd name="connsiteX143" fmla="*/ 4702 w 733849"/>
                <a:gd name="connsiteY143" fmla="*/ 1882172 h 2764803"/>
                <a:gd name="connsiteX144" fmla="*/ 4702 w 733849"/>
                <a:gd name="connsiteY144" fmla="*/ 1830576 h 2764803"/>
                <a:gd name="connsiteX145" fmla="*/ 9274 w 733849"/>
                <a:gd name="connsiteY145" fmla="*/ 1824044 h 2764803"/>
                <a:gd name="connsiteX146" fmla="*/ 9274 w 733849"/>
                <a:gd name="connsiteY146" fmla="*/ 1824044 h 2764803"/>
                <a:gd name="connsiteX147" fmla="*/ 13977 w 733849"/>
                <a:gd name="connsiteY147" fmla="*/ 1830445 h 2764803"/>
                <a:gd name="connsiteX148" fmla="*/ 13977 w 733849"/>
                <a:gd name="connsiteY148" fmla="*/ 1882042 h 2764803"/>
                <a:gd name="connsiteX149" fmla="*/ 9405 w 733849"/>
                <a:gd name="connsiteY149" fmla="*/ 1888573 h 2764803"/>
                <a:gd name="connsiteX150" fmla="*/ 9405 w 733849"/>
                <a:gd name="connsiteY150" fmla="*/ 1888573 h 2764803"/>
                <a:gd name="connsiteX151" fmla="*/ 9144 w 733849"/>
                <a:gd name="connsiteY151" fmla="*/ 1785249 h 2764803"/>
                <a:gd name="connsiteX152" fmla="*/ 4441 w 733849"/>
                <a:gd name="connsiteY152" fmla="*/ 1778848 h 2764803"/>
                <a:gd name="connsiteX153" fmla="*/ 4441 w 733849"/>
                <a:gd name="connsiteY153" fmla="*/ 1727251 h 2764803"/>
                <a:gd name="connsiteX154" fmla="*/ 9013 w 733849"/>
                <a:gd name="connsiteY154" fmla="*/ 1720720 h 2764803"/>
                <a:gd name="connsiteX155" fmla="*/ 9013 w 733849"/>
                <a:gd name="connsiteY155" fmla="*/ 1720720 h 2764803"/>
                <a:gd name="connsiteX156" fmla="*/ 13716 w 733849"/>
                <a:gd name="connsiteY156" fmla="*/ 1727121 h 2764803"/>
                <a:gd name="connsiteX157" fmla="*/ 13716 w 733849"/>
                <a:gd name="connsiteY157" fmla="*/ 1778718 h 2764803"/>
                <a:gd name="connsiteX158" fmla="*/ 9144 w 733849"/>
                <a:gd name="connsiteY158" fmla="*/ 1785249 h 2764803"/>
                <a:gd name="connsiteX159" fmla="*/ 9144 w 733849"/>
                <a:gd name="connsiteY159" fmla="*/ 1785249 h 2764803"/>
                <a:gd name="connsiteX160" fmla="*/ 8882 w 733849"/>
                <a:gd name="connsiteY160" fmla="*/ 1681925 h 2764803"/>
                <a:gd name="connsiteX161" fmla="*/ 4180 w 733849"/>
                <a:gd name="connsiteY161" fmla="*/ 1675524 h 2764803"/>
                <a:gd name="connsiteX162" fmla="*/ 4180 w 733849"/>
                <a:gd name="connsiteY162" fmla="*/ 1623927 h 2764803"/>
                <a:gd name="connsiteX163" fmla="*/ 8752 w 733849"/>
                <a:gd name="connsiteY163" fmla="*/ 1617396 h 2764803"/>
                <a:gd name="connsiteX164" fmla="*/ 8752 w 733849"/>
                <a:gd name="connsiteY164" fmla="*/ 1617396 h 2764803"/>
                <a:gd name="connsiteX165" fmla="*/ 13454 w 733849"/>
                <a:gd name="connsiteY165" fmla="*/ 1623797 h 2764803"/>
                <a:gd name="connsiteX166" fmla="*/ 13454 w 733849"/>
                <a:gd name="connsiteY166" fmla="*/ 1675393 h 2764803"/>
                <a:gd name="connsiteX167" fmla="*/ 8882 w 733849"/>
                <a:gd name="connsiteY167" fmla="*/ 1681925 h 2764803"/>
                <a:gd name="connsiteX168" fmla="*/ 8882 w 733849"/>
                <a:gd name="connsiteY168" fmla="*/ 1681925 h 2764803"/>
                <a:gd name="connsiteX169" fmla="*/ 8621 w 733849"/>
                <a:gd name="connsiteY169" fmla="*/ 1578600 h 2764803"/>
                <a:gd name="connsiteX170" fmla="*/ 3919 w 733849"/>
                <a:gd name="connsiteY170" fmla="*/ 1572200 h 2764803"/>
                <a:gd name="connsiteX171" fmla="*/ 3919 w 733849"/>
                <a:gd name="connsiteY171" fmla="*/ 1520603 h 2764803"/>
                <a:gd name="connsiteX172" fmla="*/ 8491 w 733849"/>
                <a:gd name="connsiteY172" fmla="*/ 1514072 h 2764803"/>
                <a:gd name="connsiteX173" fmla="*/ 8491 w 733849"/>
                <a:gd name="connsiteY173" fmla="*/ 1514072 h 2764803"/>
                <a:gd name="connsiteX174" fmla="*/ 13193 w 733849"/>
                <a:gd name="connsiteY174" fmla="*/ 1520472 h 2764803"/>
                <a:gd name="connsiteX175" fmla="*/ 13193 w 733849"/>
                <a:gd name="connsiteY175" fmla="*/ 1572069 h 2764803"/>
                <a:gd name="connsiteX176" fmla="*/ 8621 w 733849"/>
                <a:gd name="connsiteY176" fmla="*/ 1578600 h 2764803"/>
                <a:gd name="connsiteX177" fmla="*/ 8621 w 733849"/>
                <a:gd name="connsiteY177" fmla="*/ 1578600 h 2764803"/>
                <a:gd name="connsiteX178" fmla="*/ 8360 w 733849"/>
                <a:gd name="connsiteY178" fmla="*/ 1475276 h 2764803"/>
                <a:gd name="connsiteX179" fmla="*/ 3658 w 733849"/>
                <a:gd name="connsiteY179" fmla="*/ 1468876 h 2764803"/>
                <a:gd name="connsiteX180" fmla="*/ 3658 w 733849"/>
                <a:gd name="connsiteY180" fmla="*/ 1417279 h 2764803"/>
                <a:gd name="connsiteX181" fmla="*/ 8229 w 733849"/>
                <a:gd name="connsiteY181" fmla="*/ 1410748 h 2764803"/>
                <a:gd name="connsiteX182" fmla="*/ 8229 w 733849"/>
                <a:gd name="connsiteY182" fmla="*/ 1410748 h 2764803"/>
                <a:gd name="connsiteX183" fmla="*/ 12932 w 733849"/>
                <a:gd name="connsiteY183" fmla="*/ 1417148 h 2764803"/>
                <a:gd name="connsiteX184" fmla="*/ 12932 w 733849"/>
                <a:gd name="connsiteY184" fmla="*/ 1468745 h 2764803"/>
                <a:gd name="connsiteX185" fmla="*/ 8360 w 733849"/>
                <a:gd name="connsiteY185" fmla="*/ 1475276 h 2764803"/>
                <a:gd name="connsiteX186" fmla="*/ 8360 w 733849"/>
                <a:gd name="connsiteY186" fmla="*/ 1475276 h 2764803"/>
                <a:gd name="connsiteX187" fmla="*/ 8099 w 733849"/>
                <a:gd name="connsiteY187" fmla="*/ 1371952 h 2764803"/>
                <a:gd name="connsiteX188" fmla="*/ 3396 w 733849"/>
                <a:gd name="connsiteY188" fmla="*/ 1365551 h 2764803"/>
                <a:gd name="connsiteX189" fmla="*/ 3396 w 733849"/>
                <a:gd name="connsiteY189" fmla="*/ 1313955 h 2764803"/>
                <a:gd name="connsiteX190" fmla="*/ 7968 w 733849"/>
                <a:gd name="connsiteY190" fmla="*/ 1307423 h 2764803"/>
                <a:gd name="connsiteX191" fmla="*/ 7968 w 733849"/>
                <a:gd name="connsiteY191" fmla="*/ 1307423 h 2764803"/>
                <a:gd name="connsiteX192" fmla="*/ 12671 w 733849"/>
                <a:gd name="connsiteY192" fmla="*/ 1313824 h 2764803"/>
                <a:gd name="connsiteX193" fmla="*/ 12671 w 733849"/>
                <a:gd name="connsiteY193" fmla="*/ 1365421 h 2764803"/>
                <a:gd name="connsiteX194" fmla="*/ 8099 w 733849"/>
                <a:gd name="connsiteY194" fmla="*/ 1371952 h 2764803"/>
                <a:gd name="connsiteX195" fmla="*/ 8099 w 733849"/>
                <a:gd name="connsiteY195" fmla="*/ 1371952 h 2764803"/>
                <a:gd name="connsiteX196" fmla="*/ 7837 w 733849"/>
                <a:gd name="connsiteY196" fmla="*/ 1268628 h 2764803"/>
                <a:gd name="connsiteX197" fmla="*/ 3135 w 733849"/>
                <a:gd name="connsiteY197" fmla="*/ 1262227 h 2764803"/>
                <a:gd name="connsiteX198" fmla="*/ 3135 w 733849"/>
                <a:gd name="connsiteY198" fmla="*/ 1210630 h 2764803"/>
                <a:gd name="connsiteX199" fmla="*/ 7707 w 733849"/>
                <a:gd name="connsiteY199" fmla="*/ 1204099 h 2764803"/>
                <a:gd name="connsiteX200" fmla="*/ 7707 w 733849"/>
                <a:gd name="connsiteY200" fmla="*/ 1204099 h 2764803"/>
                <a:gd name="connsiteX201" fmla="*/ 12409 w 733849"/>
                <a:gd name="connsiteY201" fmla="*/ 1210500 h 2764803"/>
                <a:gd name="connsiteX202" fmla="*/ 12409 w 733849"/>
                <a:gd name="connsiteY202" fmla="*/ 1262097 h 2764803"/>
                <a:gd name="connsiteX203" fmla="*/ 7837 w 733849"/>
                <a:gd name="connsiteY203" fmla="*/ 1268628 h 2764803"/>
                <a:gd name="connsiteX204" fmla="*/ 7837 w 733849"/>
                <a:gd name="connsiteY204" fmla="*/ 1268628 h 2764803"/>
                <a:gd name="connsiteX205" fmla="*/ 7576 w 733849"/>
                <a:gd name="connsiteY205" fmla="*/ 1165304 h 2764803"/>
                <a:gd name="connsiteX206" fmla="*/ 2874 w 733849"/>
                <a:gd name="connsiteY206" fmla="*/ 1158903 h 2764803"/>
                <a:gd name="connsiteX207" fmla="*/ 2874 w 733849"/>
                <a:gd name="connsiteY207" fmla="*/ 1107306 h 2764803"/>
                <a:gd name="connsiteX208" fmla="*/ 7446 w 733849"/>
                <a:gd name="connsiteY208" fmla="*/ 1100775 h 2764803"/>
                <a:gd name="connsiteX209" fmla="*/ 7446 w 733849"/>
                <a:gd name="connsiteY209" fmla="*/ 1100775 h 2764803"/>
                <a:gd name="connsiteX210" fmla="*/ 12148 w 733849"/>
                <a:gd name="connsiteY210" fmla="*/ 1107176 h 2764803"/>
                <a:gd name="connsiteX211" fmla="*/ 12148 w 733849"/>
                <a:gd name="connsiteY211" fmla="*/ 1158772 h 2764803"/>
                <a:gd name="connsiteX212" fmla="*/ 7576 w 733849"/>
                <a:gd name="connsiteY212" fmla="*/ 1165304 h 2764803"/>
                <a:gd name="connsiteX213" fmla="*/ 7576 w 733849"/>
                <a:gd name="connsiteY213" fmla="*/ 1165304 h 2764803"/>
                <a:gd name="connsiteX214" fmla="*/ 7315 w 733849"/>
                <a:gd name="connsiteY214" fmla="*/ 1061979 h 2764803"/>
                <a:gd name="connsiteX215" fmla="*/ 2613 w 733849"/>
                <a:gd name="connsiteY215" fmla="*/ 1055579 h 2764803"/>
                <a:gd name="connsiteX216" fmla="*/ 2613 w 733849"/>
                <a:gd name="connsiteY216" fmla="*/ 1003982 h 2764803"/>
                <a:gd name="connsiteX217" fmla="*/ 7184 w 733849"/>
                <a:gd name="connsiteY217" fmla="*/ 997451 h 2764803"/>
                <a:gd name="connsiteX218" fmla="*/ 11887 w 733849"/>
                <a:gd name="connsiteY218" fmla="*/ 1003851 h 2764803"/>
                <a:gd name="connsiteX219" fmla="*/ 11887 w 733849"/>
                <a:gd name="connsiteY219" fmla="*/ 1055448 h 2764803"/>
                <a:gd name="connsiteX220" fmla="*/ 7315 w 733849"/>
                <a:gd name="connsiteY220" fmla="*/ 1061979 h 2764803"/>
                <a:gd name="connsiteX221" fmla="*/ 7315 w 733849"/>
                <a:gd name="connsiteY221" fmla="*/ 1061979 h 2764803"/>
                <a:gd name="connsiteX222" fmla="*/ 7054 w 733849"/>
                <a:gd name="connsiteY222" fmla="*/ 958655 h 2764803"/>
                <a:gd name="connsiteX223" fmla="*/ 2351 w 733849"/>
                <a:gd name="connsiteY223" fmla="*/ 952255 h 2764803"/>
                <a:gd name="connsiteX224" fmla="*/ 2351 w 733849"/>
                <a:gd name="connsiteY224" fmla="*/ 900658 h 2764803"/>
                <a:gd name="connsiteX225" fmla="*/ 6923 w 733849"/>
                <a:gd name="connsiteY225" fmla="*/ 894127 h 2764803"/>
                <a:gd name="connsiteX226" fmla="*/ 6923 w 733849"/>
                <a:gd name="connsiteY226" fmla="*/ 894127 h 2764803"/>
                <a:gd name="connsiteX227" fmla="*/ 11626 w 733849"/>
                <a:gd name="connsiteY227" fmla="*/ 900527 h 2764803"/>
                <a:gd name="connsiteX228" fmla="*/ 11626 w 733849"/>
                <a:gd name="connsiteY228" fmla="*/ 952124 h 2764803"/>
                <a:gd name="connsiteX229" fmla="*/ 7054 w 733849"/>
                <a:gd name="connsiteY229" fmla="*/ 958655 h 2764803"/>
                <a:gd name="connsiteX230" fmla="*/ 7054 w 733849"/>
                <a:gd name="connsiteY230" fmla="*/ 958655 h 2764803"/>
                <a:gd name="connsiteX231" fmla="*/ 6792 w 733849"/>
                <a:gd name="connsiteY231" fmla="*/ 855331 h 2764803"/>
                <a:gd name="connsiteX232" fmla="*/ 2090 w 733849"/>
                <a:gd name="connsiteY232" fmla="*/ 848930 h 2764803"/>
                <a:gd name="connsiteX233" fmla="*/ 2090 w 733849"/>
                <a:gd name="connsiteY233" fmla="*/ 797334 h 2764803"/>
                <a:gd name="connsiteX234" fmla="*/ 6662 w 733849"/>
                <a:gd name="connsiteY234" fmla="*/ 790802 h 2764803"/>
                <a:gd name="connsiteX235" fmla="*/ 6662 w 733849"/>
                <a:gd name="connsiteY235" fmla="*/ 790802 h 2764803"/>
                <a:gd name="connsiteX236" fmla="*/ 11364 w 733849"/>
                <a:gd name="connsiteY236" fmla="*/ 797203 h 2764803"/>
                <a:gd name="connsiteX237" fmla="*/ 11364 w 733849"/>
                <a:gd name="connsiteY237" fmla="*/ 848800 h 2764803"/>
                <a:gd name="connsiteX238" fmla="*/ 6792 w 733849"/>
                <a:gd name="connsiteY238" fmla="*/ 855331 h 2764803"/>
                <a:gd name="connsiteX239" fmla="*/ 6792 w 733849"/>
                <a:gd name="connsiteY239" fmla="*/ 855331 h 2764803"/>
                <a:gd name="connsiteX240" fmla="*/ 6531 w 733849"/>
                <a:gd name="connsiteY240" fmla="*/ 752007 h 2764803"/>
                <a:gd name="connsiteX241" fmla="*/ 1829 w 733849"/>
                <a:gd name="connsiteY241" fmla="*/ 745606 h 2764803"/>
                <a:gd name="connsiteX242" fmla="*/ 1829 w 733849"/>
                <a:gd name="connsiteY242" fmla="*/ 694009 h 2764803"/>
                <a:gd name="connsiteX243" fmla="*/ 6401 w 733849"/>
                <a:gd name="connsiteY243" fmla="*/ 687478 h 2764803"/>
                <a:gd name="connsiteX244" fmla="*/ 6401 w 733849"/>
                <a:gd name="connsiteY244" fmla="*/ 687478 h 2764803"/>
                <a:gd name="connsiteX245" fmla="*/ 11103 w 733849"/>
                <a:gd name="connsiteY245" fmla="*/ 693879 h 2764803"/>
                <a:gd name="connsiteX246" fmla="*/ 11103 w 733849"/>
                <a:gd name="connsiteY246" fmla="*/ 745476 h 2764803"/>
                <a:gd name="connsiteX247" fmla="*/ 6531 w 733849"/>
                <a:gd name="connsiteY247" fmla="*/ 752007 h 2764803"/>
                <a:gd name="connsiteX248" fmla="*/ 6531 w 733849"/>
                <a:gd name="connsiteY248" fmla="*/ 752007 h 2764803"/>
                <a:gd name="connsiteX249" fmla="*/ 6270 w 733849"/>
                <a:gd name="connsiteY249" fmla="*/ 648683 h 2764803"/>
                <a:gd name="connsiteX250" fmla="*/ 1568 w 733849"/>
                <a:gd name="connsiteY250" fmla="*/ 642282 h 2764803"/>
                <a:gd name="connsiteX251" fmla="*/ 1568 w 733849"/>
                <a:gd name="connsiteY251" fmla="*/ 590685 h 2764803"/>
                <a:gd name="connsiteX252" fmla="*/ 6139 w 733849"/>
                <a:gd name="connsiteY252" fmla="*/ 584154 h 2764803"/>
                <a:gd name="connsiteX253" fmla="*/ 10842 w 733849"/>
                <a:gd name="connsiteY253" fmla="*/ 590555 h 2764803"/>
                <a:gd name="connsiteX254" fmla="*/ 10842 w 733849"/>
                <a:gd name="connsiteY254" fmla="*/ 642151 h 2764803"/>
                <a:gd name="connsiteX255" fmla="*/ 6270 w 733849"/>
                <a:gd name="connsiteY255" fmla="*/ 648683 h 2764803"/>
                <a:gd name="connsiteX256" fmla="*/ 6270 w 733849"/>
                <a:gd name="connsiteY256" fmla="*/ 648683 h 2764803"/>
                <a:gd name="connsiteX257" fmla="*/ 6009 w 733849"/>
                <a:gd name="connsiteY257" fmla="*/ 545359 h 2764803"/>
                <a:gd name="connsiteX258" fmla="*/ 1306 w 733849"/>
                <a:gd name="connsiteY258" fmla="*/ 538958 h 2764803"/>
                <a:gd name="connsiteX259" fmla="*/ 1306 w 733849"/>
                <a:gd name="connsiteY259" fmla="*/ 487361 h 2764803"/>
                <a:gd name="connsiteX260" fmla="*/ 5878 w 733849"/>
                <a:gd name="connsiteY260" fmla="*/ 480830 h 2764803"/>
                <a:gd name="connsiteX261" fmla="*/ 5878 w 733849"/>
                <a:gd name="connsiteY261" fmla="*/ 480830 h 2764803"/>
                <a:gd name="connsiteX262" fmla="*/ 10581 w 733849"/>
                <a:gd name="connsiteY262" fmla="*/ 487230 h 2764803"/>
                <a:gd name="connsiteX263" fmla="*/ 10581 w 733849"/>
                <a:gd name="connsiteY263" fmla="*/ 538827 h 2764803"/>
                <a:gd name="connsiteX264" fmla="*/ 6009 w 733849"/>
                <a:gd name="connsiteY264" fmla="*/ 545359 h 2764803"/>
                <a:gd name="connsiteX265" fmla="*/ 6009 w 733849"/>
                <a:gd name="connsiteY265" fmla="*/ 545359 h 2764803"/>
                <a:gd name="connsiteX266" fmla="*/ 5747 w 733849"/>
                <a:gd name="connsiteY266" fmla="*/ 442034 h 2764803"/>
                <a:gd name="connsiteX267" fmla="*/ 1045 w 733849"/>
                <a:gd name="connsiteY267" fmla="*/ 435634 h 2764803"/>
                <a:gd name="connsiteX268" fmla="*/ 1045 w 733849"/>
                <a:gd name="connsiteY268" fmla="*/ 384037 h 2764803"/>
                <a:gd name="connsiteX269" fmla="*/ 5617 w 733849"/>
                <a:gd name="connsiteY269" fmla="*/ 377506 h 2764803"/>
                <a:gd name="connsiteX270" fmla="*/ 5617 w 733849"/>
                <a:gd name="connsiteY270" fmla="*/ 377506 h 2764803"/>
                <a:gd name="connsiteX271" fmla="*/ 10319 w 733849"/>
                <a:gd name="connsiteY271" fmla="*/ 383906 h 2764803"/>
                <a:gd name="connsiteX272" fmla="*/ 10319 w 733849"/>
                <a:gd name="connsiteY272" fmla="*/ 435503 h 2764803"/>
                <a:gd name="connsiteX273" fmla="*/ 5747 w 733849"/>
                <a:gd name="connsiteY273" fmla="*/ 442034 h 2764803"/>
                <a:gd name="connsiteX274" fmla="*/ 5747 w 733849"/>
                <a:gd name="connsiteY274" fmla="*/ 442034 h 2764803"/>
                <a:gd name="connsiteX275" fmla="*/ 5486 w 733849"/>
                <a:gd name="connsiteY275" fmla="*/ 338710 h 2764803"/>
                <a:gd name="connsiteX276" fmla="*/ 784 w 733849"/>
                <a:gd name="connsiteY276" fmla="*/ 332309 h 2764803"/>
                <a:gd name="connsiteX277" fmla="*/ 784 w 733849"/>
                <a:gd name="connsiteY277" fmla="*/ 280713 h 2764803"/>
                <a:gd name="connsiteX278" fmla="*/ 5356 w 733849"/>
                <a:gd name="connsiteY278" fmla="*/ 274181 h 2764803"/>
                <a:gd name="connsiteX279" fmla="*/ 5356 w 733849"/>
                <a:gd name="connsiteY279" fmla="*/ 274181 h 2764803"/>
                <a:gd name="connsiteX280" fmla="*/ 10058 w 733849"/>
                <a:gd name="connsiteY280" fmla="*/ 280582 h 2764803"/>
                <a:gd name="connsiteX281" fmla="*/ 10058 w 733849"/>
                <a:gd name="connsiteY281" fmla="*/ 332179 h 2764803"/>
                <a:gd name="connsiteX282" fmla="*/ 5486 w 733849"/>
                <a:gd name="connsiteY282" fmla="*/ 338710 h 2764803"/>
                <a:gd name="connsiteX283" fmla="*/ 5486 w 733849"/>
                <a:gd name="connsiteY283" fmla="*/ 338710 h 2764803"/>
                <a:gd name="connsiteX284" fmla="*/ 5225 w 733849"/>
                <a:gd name="connsiteY284" fmla="*/ 235386 h 2764803"/>
                <a:gd name="connsiteX285" fmla="*/ 523 w 733849"/>
                <a:gd name="connsiteY285" fmla="*/ 228985 h 2764803"/>
                <a:gd name="connsiteX286" fmla="*/ 523 w 733849"/>
                <a:gd name="connsiteY286" fmla="*/ 177388 h 2764803"/>
                <a:gd name="connsiteX287" fmla="*/ 5094 w 733849"/>
                <a:gd name="connsiteY287" fmla="*/ 170857 h 2764803"/>
                <a:gd name="connsiteX288" fmla="*/ 5094 w 733849"/>
                <a:gd name="connsiteY288" fmla="*/ 170857 h 2764803"/>
                <a:gd name="connsiteX289" fmla="*/ 9797 w 733849"/>
                <a:gd name="connsiteY289" fmla="*/ 177258 h 2764803"/>
                <a:gd name="connsiteX290" fmla="*/ 9797 w 733849"/>
                <a:gd name="connsiteY290" fmla="*/ 228855 h 2764803"/>
                <a:gd name="connsiteX291" fmla="*/ 5225 w 733849"/>
                <a:gd name="connsiteY291" fmla="*/ 235386 h 2764803"/>
                <a:gd name="connsiteX292" fmla="*/ 5225 w 733849"/>
                <a:gd name="connsiteY292" fmla="*/ 235386 h 2764803"/>
                <a:gd name="connsiteX293" fmla="*/ 4964 w 733849"/>
                <a:gd name="connsiteY293" fmla="*/ 132062 h 2764803"/>
                <a:gd name="connsiteX294" fmla="*/ 261 w 733849"/>
                <a:gd name="connsiteY294" fmla="*/ 125661 h 2764803"/>
                <a:gd name="connsiteX295" fmla="*/ 261 w 733849"/>
                <a:gd name="connsiteY295" fmla="*/ 74064 h 2764803"/>
                <a:gd name="connsiteX296" fmla="*/ 4833 w 733849"/>
                <a:gd name="connsiteY296" fmla="*/ 67533 h 2764803"/>
                <a:gd name="connsiteX297" fmla="*/ 4833 w 733849"/>
                <a:gd name="connsiteY297" fmla="*/ 67533 h 2764803"/>
                <a:gd name="connsiteX298" fmla="*/ 9536 w 733849"/>
                <a:gd name="connsiteY298" fmla="*/ 73934 h 2764803"/>
                <a:gd name="connsiteX299" fmla="*/ 9536 w 733849"/>
                <a:gd name="connsiteY299" fmla="*/ 125530 h 2764803"/>
                <a:gd name="connsiteX300" fmla="*/ 4964 w 733849"/>
                <a:gd name="connsiteY300" fmla="*/ 132062 h 2764803"/>
                <a:gd name="connsiteX301" fmla="*/ 4964 w 733849"/>
                <a:gd name="connsiteY301" fmla="*/ 132062 h 2764803"/>
                <a:gd name="connsiteX302" fmla="*/ 4702 w 733849"/>
                <a:gd name="connsiteY302" fmla="*/ 28738 h 2764803"/>
                <a:gd name="connsiteX303" fmla="*/ 0 w 733849"/>
                <a:gd name="connsiteY303" fmla="*/ 22337 h 2764803"/>
                <a:gd name="connsiteX304" fmla="*/ 0 w 733849"/>
                <a:gd name="connsiteY304" fmla="*/ 6531 h 2764803"/>
                <a:gd name="connsiteX305" fmla="*/ 4702 w 733849"/>
                <a:gd name="connsiteY305" fmla="*/ 0 h 2764803"/>
                <a:gd name="connsiteX306" fmla="*/ 4702 w 733849"/>
                <a:gd name="connsiteY306" fmla="*/ 0 h 2764803"/>
                <a:gd name="connsiteX307" fmla="*/ 9405 w 733849"/>
                <a:gd name="connsiteY307" fmla="*/ 6401 h 2764803"/>
                <a:gd name="connsiteX308" fmla="*/ 9405 w 733849"/>
                <a:gd name="connsiteY308" fmla="*/ 22206 h 2764803"/>
                <a:gd name="connsiteX309" fmla="*/ 4702 w 733849"/>
                <a:gd name="connsiteY309" fmla="*/ 28738 h 2764803"/>
                <a:gd name="connsiteX310" fmla="*/ 4702 w 733849"/>
                <a:gd name="connsiteY310" fmla="*/ 28738 h 276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Lst>
              <a:rect l="l" t="t" r="r" b="b"/>
              <a:pathLst>
                <a:path w="733849" h="2764803">
                  <a:moveTo>
                    <a:pt x="729147" y="2764804"/>
                  </a:moveTo>
                  <a:lnTo>
                    <a:pt x="691397" y="2764804"/>
                  </a:lnTo>
                  <a:cubicBezTo>
                    <a:pt x="688784" y="2764804"/>
                    <a:pt x="686694" y="2761930"/>
                    <a:pt x="686694" y="2758403"/>
                  </a:cubicBezTo>
                  <a:cubicBezTo>
                    <a:pt x="686694" y="2754877"/>
                    <a:pt x="688784" y="2752003"/>
                    <a:pt x="691397" y="2752003"/>
                  </a:cubicBezTo>
                  <a:lnTo>
                    <a:pt x="729147" y="2752003"/>
                  </a:lnTo>
                  <a:cubicBezTo>
                    <a:pt x="731760" y="2752003"/>
                    <a:pt x="733850" y="2754877"/>
                    <a:pt x="733850" y="2758403"/>
                  </a:cubicBezTo>
                  <a:cubicBezTo>
                    <a:pt x="733850" y="2761930"/>
                    <a:pt x="731760" y="2764804"/>
                    <a:pt x="729147" y="2764804"/>
                  </a:cubicBezTo>
                  <a:close/>
                  <a:moveTo>
                    <a:pt x="653777" y="2764804"/>
                  </a:moveTo>
                  <a:lnTo>
                    <a:pt x="616026" y="2764804"/>
                  </a:lnTo>
                  <a:cubicBezTo>
                    <a:pt x="613414" y="2764804"/>
                    <a:pt x="611324" y="2761930"/>
                    <a:pt x="611324" y="2758403"/>
                  </a:cubicBezTo>
                  <a:cubicBezTo>
                    <a:pt x="611324" y="2754877"/>
                    <a:pt x="613414" y="2752003"/>
                    <a:pt x="616026" y="2752003"/>
                  </a:cubicBezTo>
                  <a:lnTo>
                    <a:pt x="653777" y="2752003"/>
                  </a:lnTo>
                  <a:cubicBezTo>
                    <a:pt x="656389" y="2752003"/>
                    <a:pt x="658479" y="2754877"/>
                    <a:pt x="658479" y="2758403"/>
                  </a:cubicBezTo>
                  <a:cubicBezTo>
                    <a:pt x="658479" y="2761930"/>
                    <a:pt x="656389" y="2764804"/>
                    <a:pt x="653777" y="2764804"/>
                  </a:cubicBezTo>
                  <a:close/>
                  <a:moveTo>
                    <a:pt x="578406" y="2764804"/>
                  </a:moveTo>
                  <a:lnTo>
                    <a:pt x="540656" y="2764804"/>
                  </a:lnTo>
                  <a:cubicBezTo>
                    <a:pt x="538043" y="2764804"/>
                    <a:pt x="535953" y="2761930"/>
                    <a:pt x="535953" y="2758403"/>
                  </a:cubicBezTo>
                  <a:cubicBezTo>
                    <a:pt x="535953" y="2754877"/>
                    <a:pt x="538043" y="2752003"/>
                    <a:pt x="540656" y="2752003"/>
                  </a:cubicBezTo>
                  <a:lnTo>
                    <a:pt x="578406" y="2752003"/>
                  </a:lnTo>
                  <a:cubicBezTo>
                    <a:pt x="581019" y="2752003"/>
                    <a:pt x="583109" y="2754877"/>
                    <a:pt x="583109" y="2758403"/>
                  </a:cubicBezTo>
                  <a:cubicBezTo>
                    <a:pt x="583109" y="2761930"/>
                    <a:pt x="581019" y="2764804"/>
                    <a:pt x="578406" y="2764804"/>
                  </a:cubicBezTo>
                  <a:close/>
                  <a:moveTo>
                    <a:pt x="503036" y="2764804"/>
                  </a:moveTo>
                  <a:lnTo>
                    <a:pt x="465285" y="2764804"/>
                  </a:lnTo>
                  <a:cubicBezTo>
                    <a:pt x="462673" y="2764804"/>
                    <a:pt x="460583" y="2761930"/>
                    <a:pt x="460583" y="2758403"/>
                  </a:cubicBezTo>
                  <a:cubicBezTo>
                    <a:pt x="460583" y="2754877"/>
                    <a:pt x="462673" y="2752003"/>
                    <a:pt x="465285" y="2752003"/>
                  </a:cubicBezTo>
                  <a:lnTo>
                    <a:pt x="503036" y="2752003"/>
                  </a:lnTo>
                  <a:cubicBezTo>
                    <a:pt x="505648" y="2752003"/>
                    <a:pt x="507738" y="2754877"/>
                    <a:pt x="507738" y="2758403"/>
                  </a:cubicBezTo>
                  <a:cubicBezTo>
                    <a:pt x="507738" y="2761930"/>
                    <a:pt x="505648" y="2764804"/>
                    <a:pt x="503036" y="2764804"/>
                  </a:cubicBezTo>
                  <a:close/>
                  <a:moveTo>
                    <a:pt x="427665" y="2764804"/>
                  </a:moveTo>
                  <a:lnTo>
                    <a:pt x="389915" y="2764804"/>
                  </a:lnTo>
                  <a:cubicBezTo>
                    <a:pt x="387302" y="2764804"/>
                    <a:pt x="385212" y="2761930"/>
                    <a:pt x="385212" y="2758403"/>
                  </a:cubicBezTo>
                  <a:cubicBezTo>
                    <a:pt x="385212" y="2754877"/>
                    <a:pt x="387302" y="2752003"/>
                    <a:pt x="389915" y="2752003"/>
                  </a:cubicBezTo>
                  <a:lnTo>
                    <a:pt x="427665" y="2752003"/>
                  </a:lnTo>
                  <a:cubicBezTo>
                    <a:pt x="430278" y="2752003"/>
                    <a:pt x="432368" y="2754877"/>
                    <a:pt x="432368" y="2758403"/>
                  </a:cubicBezTo>
                  <a:cubicBezTo>
                    <a:pt x="432368" y="2761930"/>
                    <a:pt x="430278" y="2764804"/>
                    <a:pt x="427665" y="2764804"/>
                  </a:cubicBezTo>
                  <a:close/>
                  <a:moveTo>
                    <a:pt x="352295" y="2764804"/>
                  </a:moveTo>
                  <a:lnTo>
                    <a:pt x="314544" y="2764804"/>
                  </a:lnTo>
                  <a:cubicBezTo>
                    <a:pt x="311932" y="2764804"/>
                    <a:pt x="309842" y="2761930"/>
                    <a:pt x="309842" y="2758403"/>
                  </a:cubicBezTo>
                  <a:cubicBezTo>
                    <a:pt x="309842" y="2754877"/>
                    <a:pt x="311932" y="2752003"/>
                    <a:pt x="314544" y="2752003"/>
                  </a:cubicBezTo>
                  <a:lnTo>
                    <a:pt x="352295" y="2752003"/>
                  </a:lnTo>
                  <a:cubicBezTo>
                    <a:pt x="354907" y="2752003"/>
                    <a:pt x="356997" y="2754877"/>
                    <a:pt x="356997" y="2758403"/>
                  </a:cubicBezTo>
                  <a:cubicBezTo>
                    <a:pt x="356997" y="2761930"/>
                    <a:pt x="354907" y="2764804"/>
                    <a:pt x="352295" y="2764804"/>
                  </a:cubicBezTo>
                  <a:close/>
                  <a:moveTo>
                    <a:pt x="276924" y="2764804"/>
                  </a:moveTo>
                  <a:lnTo>
                    <a:pt x="239174" y="2764804"/>
                  </a:lnTo>
                  <a:cubicBezTo>
                    <a:pt x="236561" y="2764804"/>
                    <a:pt x="234471" y="2761930"/>
                    <a:pt x="234471" y="2758403"/>
                  </a:cubicBezTo>
                  <a:cubicBezTo>
                    <a:pt x="234471" y="2754877"/>
                    <a:pt x="236561" y="2752003"/>
                    <a:pt x="239174" y="2752003"/>
                  </a:cubicBezTo>
                  <a:lnTo>
                    <a:pt x="276924" y="2752003"/>
                  </a:lnTo>
                  <a:cubicBezTo>
                    <a:pt x="279537" y="2752003"/>
                    <a:pt x="281627" y="2754877"/>
                    <a:pt x="281627" y="2758403"/>
                  </a:cubicBezTo>
                  <a:cubicBezTo>
                    <a:pt x="281627" y="2761930"/>
                    <a:pt x="279537" y="2764804"/>
                    <a:pt x="276924" y="2764804"/>
                  </a:cubicBezTo>
                  <a:close/>
                  <a:moveTo>
                    <a:pt x="201554" y="2764804"/>
                  </a:moveTo>
                  <a:lnTo>
                    <a:pt x="163803" y="2764804"/>
                  </a:lnTo>
                  <a:cubicBezTo>
                    <a:pt x="161191" y="2764804"/>
                    <a:pt x="159101" y="2761930"/>
                    <a:pt x="159101" y="2758403"/>
                  </a:cubicBezTo>
                  <a:cubicBezTo>
                    <a:pt x="159101" y="2754877"/>
                    <a:pt x="161191" y="2752003"/>
                    <a:pt x="163803" y="2752003"/>
                  </a:cubicBezTo>
                  <a:lnTo>
                    <a:pt x="201554" y="2752003"/>
                  </a:lnTo>
                  <a:cubicBezTo>
                    <a:pt x="204166" y="2752003"/>
                    <a:pt x="206256" y="2754877"/>
                    <a:pt x="206256" y="2758403"/>
                  </a:cubicBezTo>
                  <a:cubicBezTo>
                    <a:pt x="206256" y="2761930"/>
                    <a:pt x="204166" y="2764804"/>
                    <a:pt x="201554" y="2764804"/>
                  </a:cubicBezTo>
                  <a:close/>
                  <a:moveTo>
                    <a:pt x="126184" y="2764804"/>
                  </a:moveTo>
                  <a:lnTo>
                    <a:pt x="88433" y="2764804"/>
                  </a:lnTo>
                  <a:cubicBezTo>
                    <a:pt x="85820" y="2764804"/>
                    <a:pt x="83730" y="2761930"/>
                    <a:pt x="83730" y="2758403"/>
                  </a:cubicBezTo>
                  <a:cubicBezTo>
                    <a:pt x="83730" y="2754877"/>
                    <a:pt x="85820" y="2752003"/>
                    <a:pt x="88433" y="2752003"/>
                  </a:cubicBezTo>
                  <a:lnTo>
                    <a:pt x="126184" y="2752003"/>
                  </a:lnTo>
                  <a:cubicBezTo>
                    <a:pt x="128796" y="2752003"/>
                    <a:pt x="130886" y="2754877"/>
                    <a:pt x="130886" y="2758403"/>
                  </a:cubicBezTo>
                  <a:cubicBezTo>
                    <a:pt x="130886" y="2761930"/>
                    <a:pt x="128796" y="2764804"/>
                    <a:pt x="126184" y="2764804"/>
                  </a:cubicBezTo>
                  <a:close/>
                  <a:moveTo>
                    <a:pt x="50813" y="2764804"/>
                  </a:moveTo>
                  <a:lnTo>
                    <a:pt x="13062" y="2764804"/>
                  </a:lnTo>
                  <a:cubicBezTo>
                    <a:pt x="10450" y="2764804"/>
                    <a:pt x="8360" y="2761930"/>
                    <a:pt x="8360" y="2758403"/>
                  </a:cubicBezTo>
                  <a:cubicBezTo>
                    <a:pt x="8360" y="2754877"/>
                    <a:pt x="10450" y="2752003"/>
                    <a:pt x="13062" y="2752003"/>
                  </a:cubicBezTo>
                  <a:lnTo>
                    <a:pt x="50813" y="2752003"/>
                  </a:lnTo>
                  <a:cubicBezTo>
                    <a:pt x="53426" y="2752003"/>
                    <a:pt x="55516" y="2754877"/>
                    <a:pt x="55516" y="2758403"/>
                  </a:cubicBezTo>
                  <a:cubicBezTo>
                    <a:pt x="55516" y="2761930"/>
                    <a:pt x="53426" y="2764804"/>
                    <a:pt x="50813" y="2764804"/>
                  </a:cubicBezTo>
                  <a:close/>
                  <a:moveTo>
                    <a:pt x="11495" y="2715167"/>
                  </a:moveTo>
                  <a:cubicBezTo>
                    <a:pt x="8882" y="2715167"/>
                    <a:pt x="6792" y="2712293"/>
                    <a:pt x="6792" y="2708766"/>
                  </a:cubicBezTo>
                  <a:lnTo>
                    <a:pt x="6792" y="2657169"/>
                  </a:lnTo>
                  <a:cubicBezTo>
                    <a:pt x="6792" y="2653643"/>
                    <a:pt x="8752" y="2650769"/>
                    <a:pt x="11364" y="2650638"/>
                  </a:cubicBezTo>
                  <a:lnTo>
                    <a:pt x="11364" y="2650638"/>
                  </a:lnTo>
                  <a:cubicBezTo>
                    <a:pt x="13977" y="2650638"/>
                    <a:pt x="16067" y="2653512"/>
                    <a:pt x="16067" y="2657039"/>
                  </a:cubicBezTo>
                  <a:lnTo>
                    <a:pt x="16067" y="2708635"/>
                  </a:lnTo>
                  <a:cubicBezTo>
                    <a:pt x="16067" y="2712162"/>
                    <a:pt x="14107" y="2715036"/>
                    <a:pt x="11495" y="2715167"/>
                  </a:cubicBezTo>
                  <a:lnTo>
                    <a:pt x="11495" y="2715167"/>
                  </a:lnTo>
                  <a:close/>
                  <a:moveTo>
                    <a:pt x="11234" y="2611842"/>
                  </a:moveTo>
                  <a:cubicBezTo>
                    <a:pt x="8621" y="2611842"/>
                    <a:pt x="6531" y="2608969"/>
                    <a:pt x="6531" y="2605442"/>
                  </a:cubicBezTo>
                  <a:lnTo>
                    <a:pt x="6531" y="2553845"/>
                  </a:lnTo>
                  <a:cubicBezTo>
                    <a:pt x="6531" y="2550318"/>
                    <a:pt x="8491" y="2547445"/>
                    <a:pt x="11103" y="2547314"/>
                  </a:cubicBezTo>
                  <a:lnTo>
                    <a:pt x="11103" y="2547314"/>
                  </a:lnTo>
                  <a:cubicBezTo>
                    <a:pt x="13716" y="2547314"/>
                    <a:pt x="15806" y="2550188"/>
                    <a:pt x="15806" y="2553714"/>
                  </a:cubicBezTo>
                  <a:lnTo>
                    <a:pt x="15806" y="2605311"/>
                  </a:lnTo>
                  <a:cubicBezTo>
                    <a:pt x="15806" y="2608838"/>
                    <a:pt x="13846" y="2611712"/>
                    <a:pt x="11234" y="2611842"/>
                  </a:cubicBezTo>
                  <a:lnTo>
                    <a:pt x="11234" y="2611842"/>
                  </a:lnTo>
                  <a:close/>
                  <a:moveTo>
                    <a:pt x="10972" y="2508518"/>
                  </a:moveTo>
                  <a:cubicBezTo>
                    <a:pt x="8360" y="2508518"/>
                    <a:pt x="6270" y="2505644"/>
                    <a:pt x="6270" y="2502118"/>
                  </a:cubicBezTo>
                  <a:lnTo>
                    <a:pt x="6270" y="2450521"/>
                  </a:lnTo>
                  <a:cubicBezTo>
                    <a:pt x="6270" y="2446994"/>
                    <a:pt x="8229" y="2444120"/>
                    <a:pt x="10842" y="2443990"/>
                  </a:cubicBezTo>
                  <a:lnTo>
                    <a:pt x="10842" y="2443990"/>
                  </a:lnTo>
                  <a:cubicBezTo>
                    <a:pt x="13454" y="2443990"/>
                    <a:pt x="15544" y="2446863"/>
                    <a:pt x="15544" y="2450390"/>
                  </a:cubicBezTo>
                  <a:lnTo>
                    <a:pt x="15544" y="2501987"/>
                  </a:lnTo>
                  <a:cubicBezTo>
                    <a:pt x="15544" y="2505514"/>
                    <a:pt x="13585" y="2508387"/>
                    <a:pt x="10972" y="2508518"/>
                  </a:cubicBezTo>
                  <a:lnTo>
                    <a:pt x="10972" y="2508518"/>
                  </a:lnTo>
                  <a:close/>
                  <a:moveTo>
                    <a:pt x="10711" y="2405194"/>
                  </a:moveTo>
                  <a:cubicBezTo>
                    <a:pt x="8099" y="2405194"/>
                    <a:pt x="6009" y="2402320"/>
                    <a:pt x="6009" y="2398794"/>
                  </a:cubicBezTo>
                  <a:lnTo>
                    <a:pt x="6009" y="2347197"/>
                  </a:lnTo>
                  <a:cubicBezTo>
                    <a:pt x="6009" y="2343670"/>
                    <a:pt x="7968" y="2340796"/>
                    <a:pt x="10581" y="2340665"/>
                  </a:cubicBezTo>
                  <a:lnTo>
                    <a:pt x="10581" y="2340665"/>
                  </a:lnTo>
                  <a:cubicBezTo>
                    <a:pt x="13193" y="2340665"/>
                    <a:pt x="15283" y="2343539"/>
                    <a:pt x="15283" y="2347066"/>
                  </a:cubicBezTo>
                  <a:lnTo>
                    <a:pt x="15283" y="2398663"/>
                  </a:lnTo>
                  <a:cubicBezTo>
                    <a:pt x="15283" y="2402190"/>
                    <a:pt x="13324" y="2405063"/>
                    <a:pt x="10711" y="2405194"/>
                  </a:cubicBezTo>
                  <a:lnTo>
                    <a:pt x="10711" y="2405194"/>
                  </a:lnTo>
                  <a:close/>
                  <a:moveTo>
                    <a:pt x="10450" y="2301870"/>
                  </a:moveTo>
                  <a:cubicBezTo>
                    <a:pt x="7837" y="2301870"/>
                    <a:pt x="5747" y="2298996"/>
                    <a:pt x="5747" y="2295469"/>
                  </a:cubicBezTo>
                  <a:lnTo>
                    <a:pt x="5747" y="2243872"/>
                  </a:lnTo>
                  <a:cubicBezTo>
                    <a:pt x="5747" y="2240346"/>
                    <a:pt x="7707" y="2237472"/>
                    <a:pt x="10319" y="2237341"/>
                  </a:cubicBezTo>
                  <a:lnTo>
                    <a:pt x="10319" y="2237341"/>
                  </a:lnTo>
                  <a:cubicBezTo>
                    <a:pt x="12932" y="2237341"/>
                    <a:pt x="15022" y="2240215"/>
                    <a:pt x="15022" y="2243742"/>
                  </a:cubicBezTo>
                  <a:lnTo>
                    <a:pt x="15022" y="2295339"/>
                  </a:lnTo>
                  <a:cubicBezTo>
                    <a:pt x="15022" y="2298866"/>
                    <a:pt x="13062" y="2301739"/>
                    <a:pt x="10450" y="2301870"/>
                  </a:cubicBezTo>
                  <a:lnTo>
                    <a:pt x="10450" y="2301870"/>
                  </a:lnTo>
                  <a:close/>
                  <a:moveTo>
                    <a:pt x="10189" y="2198546"/>
                  </a:moveTo>
                  <a:cubicBezTo>
                    <a:pt x="7576" y="2198546"/>
                    <a:pt x="5486" y="2195672"/>
                    <a:pt x="5486" y="2192145"/>
                  </a:cubicBezTo>
                  <a:lnTo>
                    <a:pt x="5486" y="2140548"/>
                  </a:lnTo>
                  <a:cubicBezTo>
                    <a:pt x="5486" y="2137021"/>
                    <a:pt x="7446" y="2134148"/>
                    <a:pt x="10058" y="2134017"/>
                  </a:cubicBezTo>
                  <a:lnTo>
                    <a:pt x="10058" y="2134017"/>
                  </a:lnTo>
                  <a:cubicBezTo>
                    <a:pt x="12671" y="2134017"/>
                    <a:pt x="14761" y="2136891"/>
                    <a:pt x="14761" y="2140418"/>
                  </a:cubicBezTo>
                  <a:lnTo>
                    <a:pt x="14761" y="2192014"/>
                  </a:lnTo>
                  <a:cubicBezTo>
                    <a:pt x="14761" y="2195541"/>
                    <a:pt x="12801" y="2198415"/>
                    <a:pt x="10189" y="2198546"/>
                  </a:cubicBezTo>
                  <a:lnTo>
                    <a:pt x="10189" y="2198546"/>
                  </a:lnTo>
                  <a:close/>
                  <a:moveTo>
                    <a:pt x="9927" y="2095222"/>
                  </a:moveTo>
                  <a:cubicBezTo>
                    <a:pt x="7315" y="2095222"/>
                    <a:pt x="5225" y="2092348"/>
                    <a:pt x="5225" y="2088821"/>
                  </a:cubicBezTo>
                  <a:lnTo>
                    <a:pt x="5225" y="2037224"/>
                  </a:lnTo>
                  <a:cubicBezTo>
                    <a:pt x="5225" y="2033697"/>
                    <a:pt x="7184" y="2030823"/>
                    <a:pt x="9797" y="2030693"/>
                  </a:cubicBezTo>
                  <a:lnTo>
                    <a:pt x="9797" y="2030693"/>
                  </a:lnTo>
                  <a:cubicBezTo>
                    <a:pt x="12409" y="2030693"/>
                    <a:pt x="14499" y="2033567"/>
                    <a:pt x="14499" y="2037093"/>
                  </a:cubicBezTo>
                  <a:lnTo>
                    <a:pt x="14499" y="2088690"/>
                  </a:lnTo>
                  <a:cubicBezTo>
                    <a:pt x="14499" y="2092217"/>
                    <a:pt x="12540" y="2095091"/>
                    <a:pt x="9927" y="2095222"/>
                  </a:cubicBezTo>
                  <a:lnTo>
                    <a:pt x="9927" y="2095222"/>
                  </a:lnTo>
                  <a:close/>
                  <a:moveTo>
                    <a:pt x="9666" y="1991897"/>
                  </a:moveTo>
                  <a:cubicBezTo>
                    <a:pt x="7054" y="1991897"/>
                    <a:pt x="4964" y="1989023"/>
                    <a:pt x="4964" y="1985497"/>
                  </a:cubicBezTo>
                  <a:lnTo>
                    <a:pt x="4964" y="1933900"/>
                  </a:lnTo>
                  <a:cubicBezTo>
                    <a:pt x="4964" y="1930373"/>
                    <a:pt x="6923" y="1927499"/>
                    <a:pt x="9536" y="1927369"/>
                  </a:cubicBezTo>
                  <a:lnTo>
                    <a:pt x="9536" y="1927369"/>
                  </a:lnTo>
                  <a:cubicBezTo>
                    <a:pt x="12148" y="1927369"/>
                    <a:pt x="14238" y="1930242"/>
                    <a:pt x="14238" y="1933769"/>
                  </a:cubicBezTo>
                  <a:lnTo>
                    <a:pt x="14238" y="1985366"/>
                  </a:lnTo>
                  <a:cubicBezTo>
                    <a:pt x="14238" y="1988893"/>
                    <a:pt x="12279" y="1991767"/>
                    <a:pt x="9666" y="1991897"/>
                  </a:cubicBezTo>
                  <a:lnTo>
                    <a:pt x="9666" y="1991897"/>
                  </a:lnTo>
                  <a:close/>
                  <a:moveTo>
                    <a:pt x="9405" y="1888573"/>
                  </a:moveTo>
                  <a:cubicBezTo>
                    <a:pt x="6792" y="1888573"/>
                    <a:pt x="4702" y="1885699"/>
                    <a:pt x="4702" y="1882172"/>
                  </a:cubicBezTo>
                  <a:lnTo>
                    <a:pt x="4702" y="1830576"/>
                  </a:lnTo>
                  <a:cubicBezTo>
                    <a:pt x="4702" y="1827049"/>
                    <a:pt x="6662" y="1824175"/>
                    <a:pt x="9274" y="1824044"/>
                  </a:cubicBezTo>
                  <a:lnTo>
                    <a:pt x="9274" y="1824044"/>
                  </a:lnTo>
                  <a:cubicBezTo>
                    <a:pt x="11887" y="1824044"/>
                    <a:pt x="13977" y="1826918"/>
                    <a:pt x="13977" y="1830445"/>
                  </a:cubicBezTo>
                  <a:lnTo>
                    <a:pt x="13977" y="1882042"/>
                  </a:lnTo>
                  <a:cubicBezTo>
                    <a:pt x="13977" y="1885569"/>
                    <a:pt x="12017" y="1888442"/>
                    <a:pt x="9405" y="1888573"/>
                  </a:cubicBezTo>
                  <a:lnTo>
                    <a:pt x="9405" y="1888573"/>
                  </a:lnTo>
                  <a:close/>
                  <a:moveTo>
                    <a:pt x="9144" y="1785249"/>
                  </a:moveTo>
                  <a:cubicBezTo>
                    <a:pt x="6531" y="1785249"/>
                    <a:pt x="4441" y="1782375"/>
                    <a:pt x="4441" y="1778848"/>
                  </a:cubicBezTo>
                  <a:lnTo>
                    <a:pt x="4441" y="1727251"/>
                  </a:lnTo>
                  <a:cubicBezTo>
                    <a:pt x="4441" y="1723725"/>
                    <a:pt x="6401" y="1720851"/>
                    <a:pt x="9013" y="1720720"/>
                  </a:cubicBezTo>
                  <a:lnTo>
                    <a:pt x="9013" y="1720720"/>
                  </a:lnTo>
                  <a:cubicBezTo>
                    <a:pt x="11626" y="1720720"/>
                    <a:pt x="13716" y="1723594"/>
                    <a:pt x="13716" y="1727121"/>
                  </a:cubicBezTo>
                  <a:lnTo>
                    <a:pt x="13716" y="1778718"/>
                  </a:lnTo>
                  <a:cubicBezTo>
                    <a:pt x="13716" y="1782244"/>
                    <a:pt x="11756" y="1785118"/>
                    <a:pt x="9144" y="1785249"/>
                  </a:cubicBezTo>
                  <a:lnTo>
                    <a:pt x="9144" y="1785249"/>
                  </a:lnTo>
                  <a:close/>
                  <a:moveTo>
                    <a:pt x="8882" y="1681925"/>
                  </a:moveTo>
                  <a:cubicBezTo>
                    <a:pt x="6270" y="1681925"/>
                    <a:pt x="4180" y="1679051"/>
                    <a:pt x="4180" y="1675524"/>
                  </a:cubicBezTo>
                  <a:lnTo>
                    <a:pt x="4180" y="1623927"/>
                  </a:lnTo>
                  <a:cubicBezTo>
                    <a:pt x="4180" y="1620400"/>
                    <a:pt x="6139" y="1617527"/>
                    <a:pt x="8752" y="1617396"/>
                  </a:cubicBezTo>
                  <a:lnTo>
                    <a:pt x="8752" y="1617396"/>
                  </a:lnTo>
                  <a:cubicBezTo>
                    <a:pt x="11364" y="1617396"/>
                    <a:pt x="13454" y="1620270"/>
                    <a:pt x="13454" y="1623797"/>
                  </a:cubicBezTo>
                  <a:lnTo>
                    <a:pt x="13454" y="1675393"/>
                  </a:lnTo>
                  <a:cubicBezTo>
                    <a:pt x="13454" y="1678920"/>
                    <a:pt x="11495" y="1681794"/>
                    <a:pt x="8882" y="1681925"/>
                  </a:cubicBezTo>
                  <a:lnTo>
                    <a:pt x="8882" y="1681925"/>
                  </a:lnTo>
                  <a:close/>
                  <a:moveTo>
                    <a:pt x="8621" y="1578600"/>
                  </a:moveTo>
                  <a:cubicBezTo>
                    <a:pt x="6009" y="1578600"/>
                    <a:pt x="3919" y="1575727"/>
                    <a:pt x="3919" y="1572200"/>
                  </a:cubicBezTo>
                  <a:lnTo>
                    <a:pt x="3919" y="1520603"/>
                  </a:lnTo>
                  <a:cubicBezTo>
                    <a:pt x="3919" y="1517076"/>
                    <a:pt x="5878" y="1514202"/>
                    <a:pt x="8491" y="1514072"/>
                  </a:cubicBezTo>
                  <a:lnTo>
                    <a:pt x="8491" y="1514072"/>
                  </a:lnTo>
                  <a:cubicBezTo>
                    <a:pt x="11103" y="1514072"/>
                    <a:pt x="13193" y="1516945"/>
                    <a:pt x="13193" y="1520472"/>
                  </a:cubicBezTo>
                  <a:lnTo>
                    <a:pt x="13193" y="1572069"/>
                  </a:lnTo>
                  <a:cubicBezTo>
                    <a:pt x="13193" y="1575596"/>
                    <a:pt x="11234" y="1578470"/>
                    <a:pt x="8621" y="1578600"/>
                  </a:cubicBezTo>
                  <a:lnTo>
                    <a:pt x="8621" y="1578600"/>
                  </a:lnTo>
                  <a:close/>
                  <a:moveTo>
                    <a:pt x="8360" y="1475276"/>
                  </a:moveTo>
                  <a:cubicBezTo>
                    <a:pt x="5747" y="1475276"/>
                    <a:pt x="3658" y="1472403"/>
                    <a:pt x="3658" y="1468876"/>
                  </a:cubicBezTo>
                  <a:lnTo>
                    <a:pt x="3658" y="1417279"/>
                  </a:lnTo>
                  <a:cubicBezTo>
                    <a:pt x="3658" y="1413752"/>
                    <a:pt x="5617" y="1410878"/>
                    <a:pt x="8229" y="1410748"/>
                  </a:cubicBezTo>
                  <a:lnTo>
                    <a:pt x="8229" y="1410748"/>
                  </a:lnTo>
                  <a:cubicBezTo>
                    <a:pt x="10842" y="1410748"/>
                    <a:pt x="12932" y="1413621"/>
                    <a:pt x="12932" y="1417148"/>
                  </a:cubicBezTo>
                  <a:lnTo>
                    <a:pt x="12932" y="1468745"/>
                  </a:lnTo>
                  <a:cubicBezTo>
                    <a:pt x="12932" y="1472272"/>
                    <a:pt x="10972" y="1475146"/>
                    <a:pt x="8360" y="1475276"/>
                  </a:cubicBezTo>
                  <a:lnTo>
                    <a:pt x="8360" y="1475276"/>
                  </a:lnTo>
                  <a:close/>
                  <a:moveTo>
                    <a:pt x="8099" y="1371952"/>
                  </a:moveTo>
                  <a:cubicBezTo>
                    <a:pt x="5486" y="1371952"/>
                    <a:pt x="3396" y="1369078"/>
                    <a:pt x="3396" y="1365551"/>
                  </a:cubicBezTo>
                  <a:lnTo>
                    <a:pt x="3396" y="1313955"/>
                  </a:lnTo>
                  <a:cubicBezTo>
                    <a:pt x="3396" y="1310428"/>
                    <a:pt x="5356" y="1307554"/>
                    <a:pt x="7968" y="1307423"/>
                  </a:cubicBezTo>
                  <a:lnTo>
                    <a:pt x="7968" y="1307423"/>
                  </a:lnTo>
                  <a:cubicBezTo>
                    <a:pt x="10581" y="1307423"/>
                    <a:pt x="12671" y="1310297"/>
                    <a:pt x="12671" y="1313824"/>
                  </a:cubicBezTo>
                  <a:lnTo>
                    <a:pt x="12671" y="1365421"/>
                  </a:lnTo>
                  <a:cubicBezTo>
                    <a:pt x="12671" y="1368948"/>
                    <a:pt x="10711" y="1371821"/>
                    <a:pt x="8099" y="1371952"/>
                  </a:cubicBezTo>
                  <a:lnTo>
                    <a:pt x="8099" y="1371952"/>
                  </a:lnTo>
                  <a:close/>
                  <a:moveTo>
                    <a:pt x="7837" y="1268628"/>
                  </a:moveTo>
                  <a:cubicBezTo>
                    <a:pt x="5225" y="1268628"/>
                    <a:pt x="3135" y="1265754"/>
                    <a:pt x="3135" y="1262227"/>
                  </a:cubicBezTo>
                  <a:lnTo>
                    <a:pt x="3135" y="1210630"/>
                  </a:lnTo>
                  <a:cubicBezTo>
                    <a:pt x="3135" y="1207104"/>
                    <a:pt x="5094" y="1204230"/>
                    <a:pt x="7707" y="1204099"/>
                  </a:cubicBezTo>
                  <a:lnTo>
                    <a:pt x="7707" y="1204099"/>
                  </a:lnTo>
                  <a:cubicBezTo>
                    <a:pt x="10319" y="1204099"/>
                    <a:pt x="12409" y="1206973"/>
                    <a:pt x="12409" y="1210500"/>
                  </a:cubicBezTo>
                  <a:lnTo>
                    <a:pt x="12409" y="1262097"/>
                  </a:lnTo>
                  <a:cubicBezTo>
                    <a:pt x="12409" y="1265624"/>
                    <a:pt x="10450" y="1268497"/>
                    <a:pt x="7837" y="1268628"/>
                  </a:cubicBezTo>
                  <a:lnTo>
                    <a:pt x="7837" y="1268628"/>
                  </a:lnTo>
                  <a:close/>
                  <a:moveTo>
                    <a:pt x="7576" y="1165304"/>
                  </a:moveTo>
                  <a:cubicBezTo>
                    <a:pt x="4964" y="1165304"/>
                    <a:pt x="2874" y="1162430"/>
                    <a:pt x="2874" y="1158903"/>
                  </a:cubicBezTo>
                  <a:lnTo>
                    <a:pt x="2874" y="1107306"/>
                  </a:lnTo>
                  <a:cubicBezTo>
                    <a:pt x="2874" y="1103779"/>
                    <a:pt x="4833" y="1100906"/>
                    <a:pt x="7446" y="1100775"/>
                  </a:cubicBezTo>
                  <a:lnTo>
                    <a:pt x="7446" y="1100775"/>
                  </a:lnTo>
                  <a:cubicBezTo>
                    <a:pt x="10058" y="1100775"/>
                    <a:pt x="12148" y="1103649"/>
                    <a:pt x="12148" y="1107176"/>
                  </a:cubicBezTo>
                  <a:lnTo>
                    <a:pt x="12148" y="1158772"/>
                  </a:lnTo>
                  <a:cubicBezTo>
                    <a:pt x="12148" y="1162299"/>
                    <a:pt x="10189" y="1165173"/>
                    <a:pt x="7576" y="1165304"/>
                  </a:cubicBezTo>
                  <a:lnTo>
                    <a:pt x="7576" y="1165304"/>
                  </a:lnTo>
                  <a:close/>
                  <a:moveTo>
                    <a:pt x="7315" y="1061979"/>
                  </a:moveTo>
                  <a:cubicBezTo>
                    <a:pt x="4702" y="1061979"/>
                    <a:pt x="2613" y="1059106"/>
                    <a:pt x="2613" y="1055579"/>
                  </a:cubicBezTo>
                  <a:lnTo>
                    <a:pt x="2613" y="1003982"/>
                  </a:lnTo>
                  <a:cubicBezTo>
                    <a:pt x="2613" y="1000455"/>
                    <a:pt x="4572" y="997581"/>
                    <a:pt x="7184" y="997451"/>
                  </a:cubicBezTo>
                  <a:cubicBezTo>
                    <a:pt x="9666" y="997451"/>
                    <a:pt x="11887" y="1000325"/>
                    <a:pt x="11887" y="1003851"/>
                  </a:cubicBezTo>
                  <a:lnTo>
                    <a:pt x="11887" y="1055448"/>
                  </a:lnTo>
                  <a:cubicBezTo>
                    <a:pt x="11887" y="1058975"/>
                    <a:pt x="9927" y="1061849"/>
                    <a:pt x="7315" y="1061979"/>
                  </a:cubicBezTo>
                  <a:lnTo>
                    <a:pt x="7315" y="1061979"/>
                  </a:lnTo>
                  <a:close/>
                  <a:moveTo>
                    <a:pt x="7054" y="958655"/>
                  </a:moveTo>
                  <a:cubicBezTo>
                    <a:pt x="4441" y="958655"/>
                    <a:pt x="2351" y="955782"/>
                    <a:pt x="2351" y="952255"/>
                  </a:cubicBezTo>
                  <a:lnTo>
                    <a:pt x="2351" y="900658"/>
                  </a:lnTo>
                  <a:cubicBezTo>
                    <a:pt x="2351" y="897131"/>
                    <a:pt x="4311" y="894257"/>
                    <a:pt x="6923" y="894127"/>
                  </a:cubicBezTo>
                  <a:lnTo>
                    <a:pt x="6923" y="894127"/>
                  </a:lnTo>
                  <a:cubicBezTo>
                    <a:pt x="9536" y="894127"/>
                    <a:pt x="11626" y="897000"/>
                    <a:pt x="11626" y="900527"/>
                  </a:cubicBezTo>
                  <a:lnTo>
                    <a:pt x="11626" y="952124"/>
                  </a:lnTo>
                  <a:cubicBezTo>
                    <a:pt x="11626" y="955651"/>
                    <a:pt x="9666" y="958525"/>
                    <a:pt x="7054" y="958655"/>
                  </a:cubicBezTo>
                  <a:lnTo>
                    <a:pt x="7054" y="958655"/>
                  </a:lnTo>
                  <a:close/>
                  <a:moveTo>
                    <a:pt x="6792" y="855331"/>
                  </a:moveTo>
                  <a:cubicBezTo>
                    <a:pt x="4180" y="855331"/>
                    <a:pt x="2090" y="852457"/>
                    <a:pt x="2090" y="848930"/>
                  </a:cubicBezTo>
                  <a:lnTo>
                    <a:pt x="2090" y="797334"/>
                  </a:lnTo>
                  <a:cubicBezTo>
                    <a:pt x="2090" y="793807"/>
                    <a:pt x="4049" y="790933"/>
                    <a:pt x="6662" y="790802"/>
                  </a:cubicBezTo>
                  <a:lnTo>
                    <a:pt x="6662" y="790802"/>
                  </a:lnTo>
                  <a:cubicBezTo>
                    <a:pt x="9274" y="790802"/>
                    <a:pt x="11364" y="793676"/>
                    <a:pt x="11364" y="797203"/>
                  </a:cubicBezTo>
                  <a:lnTo>
                    <a:pt x="11364" y="848800"/>
                  </a:lnTo>
                  <a:cubicBezTo>
                    <a:pt x="11364" y="852327"/>
                    <a:pt x="9405" y="855201"/>
                    <a:pt x="6792" y="855331"/>
                  </a:cubicBezTo>
                  <a:lnTo>
                    <a:pt x="6792" y="855331"/>
                  </a:lnTo>
                  <a:close/>
                  <a:moveTo>
                    <a:pt x="6531" y="752007"/>
                  </a:moveTo>
                  <a:cubicBezTo>
                    <a:pt x="3919" y="752007"/>
                    <a:pt x="1829" y="749133"/>
                    <a:pt x="1829" y="745606"/>
                  </a:cubicBezTo>
                  <a:lnTo>
                    <a:pt x="1829" y="694009"/>
                  </a:lnTo>
                  <a:cubicBezTo>
                    <a:pt x="1829" y="690483"/>
                    <a:pt x="3788" y="687609"/>
                    <a:pt x="6401" y="687478"/>
                  </a:cubicBezTo>
                  <a:lnTo>
                    <a:pt x="6401" y="687478"/>
                  </a:lnTo>
                  <a:cubicBezTo>
                    <a:pt x="9013" y="687478"/>
                    <a:pt x="11103" y="690352"/>
                    <a:pt x="11103" y="693879"/>
                  </a:cubicBezTo>
                  <a:lnTo>
                    <a:pt x="11103" y="745476"/>
                  </a:lnTo>
                  <a:cubicBezTo>
                    <a:pt x="11103" y="749003"/>
                    <a:pt x="9144" y="751876"/>
                    <a:pt x="6531" y="752007"/>
                  </a:cubicBezTo>
                  <a:lnTo>
                    <a:pt x="6531" y="752007"/>
                  </a:lnTo>
                  <a:close/>
                  <a:moveTo>
                    <a:pt x="6270" y="648683"/>
                  </a:moveTo>
                  <a:cubicBezTo>
                    <a:pt x="3658" y="648683"/>
                    <a:pt x="1568" y="645809"/>
                    <a:pt x="1568" y="642282"/>
                  </a:cubicBezTo>
                  <a:lnTo>
                    <a:pt x="1568" y="590685"/>
                  </a:lnTo>
                  <a:cubicBezTo>
                    <a:pt x="1568" y="587158"/>
                    <a:pt x="3527" y="584285"/>
                    <a:pt x="6139" y="584154"/>
                  </a:cubicBezTo>
                  <a:cubicBezTo>
                    <a:pt x="8621" y="584023"/>
                    <a:pt x="10842" y="587028"/>
                    <a:pt x="10842" y="590555"/>
                  </a:cubicBezTo>
                  <a:lnTo>
                    <a:pt x="10842" y="642151"/>
                  </a:lnTo>
                  <a:cubicBezTo>
                    <a:pt x="10842" y="645678"/>
                    <a:pt x="8882" y="648552"/>
                    <a:pt x="6270" y="648683"/>
                  </a:cubicBezTo>
                  <a:lnTo>
                    <a:pt x="6270" y="648683"/>
                  </a:lnTo>
                  <a:close/>
                  <a:moveTo>
                    <a:pt x="6009" y="545359"/>
                  </a:moveTo>
                  <a:cubicBezTo>
                    <a:pt x="3396" y="545359"/>
                    <a:pt x="1306" y="542485"/>
                    <a:pt x="1306" y="538958"/>
                  </a:cubicBezTo>
                  <a:lnTo>
                    <a:pt x="1306" y="487361"/>
                  </a:lnTo>
                  <a:cubicBezTo>
                    <a:pt x="1306" y="483834"/>
                    <a:pt x="3266" y="480960"/>
                    <a:pt x="5878" y="480830"/>
                  </a:cubicBezTo>
                  <a:lnTo>
                    <a:pt x="5878" y="480830"/>
                  </a:lnTo>
                  <a:cubicBezTo>
                    <a:pt x="8491" y="480830"/>
                    <a:pt x="10581" y="483704"/>
                    <a:pt x="10581" y="487230"/>
                  </a:cubicBezTo>
                  <a:lnTo>
                    <a:pt x="10581" y="538827"/>
                  </a:lnTo>
                  <a:cubicBezTo>
                    <a:pt x="10581" y="542354"/>
                    <a:pt x="8621" y="545228"/>
                    <a:pt x="6009" y="545359"/>
                  </a:cubicBezTo>
                  <a:lnTo>
                    <a:pt x="6009" y="545359"/>
                  </a:lnTo>
                  <a:close/>
                  <a:moveTo>
                    <a:pt x="5747" y="442034"/>
                  </a:moveTo>
                  <a:cubicBezTo>
                    <a:pt x="3135" y="442034"/>
                    <a:pt x="1045" y="439161"/>
                    <a:pt x="1045" y="435634"/>
                  </a:cubicBezTo>
                  <a:lnTo>
                    <a:pt x="1045" y="384037"/>
                  </a:lnTo>
                  <a:cubicBezTo>
                    <a:pt x="1045" y="380510"/>
                    <a:pt x="3004" y="377636"/>
                    <a:pt x="5617" y="377506"/>
                  </a:cubicBezTo>
                  <a:lnTo>
                    <a:pt x="5617" y="377506"/>
                  </a:lnTo>
                  <a:cubicBezTo>
                    <a:pt x="8229" y="377506"/>
                    <a:pt x="10319" y="380379"/>
                    <a:pt x="10319" y="383906"/>
                  </a:cubicBezTo>
                  <a:lnTo>
                    <a:pt x="10319" y="435503"/>
                  </a:lnTo>
                  <a:cubicBezTo>
                    <a:pt x="10319" y="439030"/>
                    <a:pt x="8360" y="441904"/>
                    <a:pt x="5747" y="442034"/>
                  </a:cubicBezTo>
                  <a:lnTo>
                    <a:pt x="5747" y="442034"/>
                  </a:lnTo>
                  <a:close/>
                  <a:moveTo>
                    <a:pt x="5486" y="338710"/>
                  </a:moveTo>
                  <a:cubicBezTo>
                    <a:pt x="2874" y="338710"/>
                    <a:pt x="784" y="335836"/>
                    <a:pt x="784" y="332309"/>
                  </a:cubicBezTo>
                  <a:lnTo>
                    <a:pt x="784" y="280713"/>
                  </a:lnTo>
                  <a:cubicBezTo>
                    <a:pt x="784" y="277186"/>
                    <a:pt x="2743" y="274312"/>
                    <a:pt x="5356" y="274181"/>
                  </a:cubicBezTo>
                  <a:lnTo>
                    <a:pt x="5356" y="274181"/>
                  </a:lnTo>
                  <a:cubicBezTo>
                    <a:pt x="7968" y="274181"/>
                    <a:pt x="10058" y="277055"/>
                    <a:pt x="10058" y="280582"/>
                  </a:cubicBezTo>
                  <a:lnTo>
                    <a:pt x="10058" y="332179"/>
                  </a:lnTo>
                  <a:cubicBezTo>
                    <a:pt x="10058" y="335706"/>
                    <a:pt x="8099" y="338579"/>
                    <a:pt x="5486" y="338710"/>
                  </a:cubicBezTo>
                  <a:lnTo>
                    <a:pt x="5486" y="338710"/>
                  </a:lnTo>
                  <a:close/>
                  <a:moveTo>
                    <a:pt x="5225" y="235386"/>
                  </a:moveTo>
                  <a:cubicBezTo>
                    <a:pt x="2613" y="235386"/>
                    <a:pt x="523" y="232512"/>
                    <a:pt x="523" y="228985"/>
                  </a:cubicBezTo>
                  <a:lnTo>
                    <a:pt x="523" y="177388"/>
                  </a:lnTo>
                  <a:cubicBezTo>
                    <a:pt x="523" y="173862"/>
                    <a:pt x="2482" y="170988"/>
                    <a:pt x="5094" y="170857"/>
                  </a:cubicBezTo>
                  <a:lnTo>
                    <a:pt x="5094" y="170857"/>
                  </a:lnTo>
                  <a:cubicBezTo>
                    <a:pt x="7707" y="170857"/>
                    <a:pt x="9797" y="173731"/>
                    <a:pt x="9797" y="177258"/>
                  </a:cubicBezTo>
                  <a:lnTo>
                    <a:pt x="9797" y="228855"/>
                  </a:lnTo>
                  <a:cubicBezTo>
                    <a:pt x="9797" y="232381"/>
                    <a:pt x="7837" y="235255"/>
                    <a:pt x="5225" y="235386"/>
                  </a:cubicBezTo>
                  <a:lnTo>
                    <a:pt x="5225" y="235386"/>
                  </a:lnTo>
                  <a:close/>
                  <a:moveTo>
                    <a:pt x="4964" y="132062"/>
                  </a:moveTo>
                  <a:cubicBezTo>
                    <a:pt x="2351" y="132062"/>
                    <a:pt x="261" y="129188"/>
                    <a:pt x="261" y="125661"/>
                  </a:cubicBezTo>
                  <a:lnTo>
                    <a:pt x="261" y="74064"/>
                  </a:lnTo>
                  <a:cubicBezTo>
                    <a:pt x="261" y="70537"/>
                    <a:pt x="2221" y="67664"/>
                    <a:pt x="4833" y="67533"/>
                  </a:cubicBezTo>
                  <a:lnTo>
                    <a:pt x="4833" y="67533"/>
                  </a:lnTo>
                  <a:cubicBezTo>
                    <a:pt x="7446" y="67533"/>
                    <a:pt x="9536" y="70407"/>
                    <a:pt x="9536" y="73934"/>
                  </a:cubicBezTo>
                  <a:lnTo>
                    <a:pt x="9536" y="125530"/>
                  </a:lnTo>
                  <a:cubicBezTo>
                    <a:pt x="9536" y="129057"/>
                    <a:pt x="7576" y="131931"/>
                    <a:pt x="4964" y="132062"/>
                  </a:cubicBezTo>
                  <a:lnTo>
                    <a:pt x="4964" y="132062"/>
                  </a:lnTo>
                  <a:close/>
                  <a:moveTo>
                    <a:pt x="4702" y="28738"/>
                  </a:moveTo>
                  <a:cubicBezTo>
                    <a:pt x="2090" y="28738"/>
                    <a:pt x="0" y="25864"/>
                    <a:pt x="0" y="22337"/>
                  </a:cubicBezTo>
                  <a:lnTo>
                    <a:pt x="0" y="6531"/>
                  </a:lnTo>
                  <a:cubicBezTo>
                    <a:pt x="0" y="3004"/>
                    <a:pt x="2090" y="131"/>
                    <a:pt x="4702" y="0"/>
                  </a:cubicBezTo>
                  <a:lnTo>
                    <a:pt x="4702" y="0"/>
                  </a:lnTo>
                  <a:cubicBezTo>
                    <a:pt x="7315" y="0"/>
                    <a:pt x="9405" y="2874"/>
                    <a:pt x="9405" y="6401"/>
                  </a:cubicBezTo>
                  <a:lnTo>
                    <a:pt x="9405" y="22206"/>
                  </a:lnTo>
                  <a:cubicBezTo>
                    <a:pt x="9405" y="25733"/>
                    <a:pt x="7315" y="28607"/>
                    <a:pt x="4702" y="28738"/>
                  </a:cubicBezTo>
                  <a:lnTo>
                    <a:pt x="4702" y="28738"/>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82" name="Graphic 717">
              <a:extLst>
                <a:ext uri="{FF2B5EF4-FFF2-40B4-BE49-F238E27FC236}">
                  <a16:creationId xmlns:a16="http://schemas.microsoft.com/office/drawing/2014/main" id="{244B84BB-E908-DD07-5C42-D4D65858D441}"/>
                </a:ext>
              </a:extLst>
            </p:cNvPr>
            <p:cNvGrpSpPr/>
            <p:nvPr/>
          </p:nvGrpSpPr>
          <p:grpSpPr>
            <a:xfrm>
              <a:off x="1009687" y="5967986"/>
              <a:ext cx="56168" cy="77068"/>
              <a:chOff x="1009687" y="5967986"/>
              <a:chExt cx="56168" cy="77068"/>
            </a:xfrm>
            <a:grpFill/>
          </p:grpSpPr>
          <p:sp>
            <p:nvSpPr>
              <p:cNvPr id="83" name="Freeform: Shape 82">
                <a:extLst>
                  <a:ext uri="{FF2B5EF4-FFF2-40B4-BE49-F238E27FC236}">
                    <a16:creationId xmlns:a16="http://schemas.microsoft.com/office/drawing/2014/main" id="{93EFA3FE-5E4F-7224-87C1-9EAE7530EC7F}"/>
                  </a:ext>
                </a:extLst>
              </p:cNvPr>
              <p:cNvSpPr/>
              <p:nvPr/>
            </p:nvSpPr>
            <p:spPr>
              <a:xfrm>
                <a:off x="1014390" y="5974257"/>
                <a:ext cx="46763" cy="64267"/>
              </a:xfrm>
              <a:custGeom>
                <a:avLst/>
                <a:gdLst>
                  <a:gd name="connsiteX0" fmla="*/ 23382 w 46763"/>
                  <a:gd name="connsiteY0" fmla="*/ 64267 h 64267"/>
                  <a:gd name="connsiteX1" fmla="*/ 46764 w 46763"/>
                  <a:gd name="connsiteY1" fmla="*/ 32134 h 64267"/>
                  <a:gd name="connsiteX2" fmla="*/ 23382 w 46763"/>
                  <a:gd name="connsiteY2" fmla="*/ 0 h 64267"/>
                  <a:gd name="connsiteX3" fmla="*/ 0 w 46763"/>
                  <a:gd name="connsiteY3" fmla="*/ 32134 h 64267"/>
                  <a:gd name="connsiteX4" fmla="*/ 23382 w 46763"/>
                  <a:gd name="connsiteY4" fmla="*/ 64267 h 64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63" h="64267">
                    <a:moveTo>
                      <a:pt x="23382" y="64267"/>
                    </a:moveTo>
                    <a:cubicBezTo>
                      <a:pt x="36314" y="64267"/>
                      <a:pt x="46764" y="49899"/>
                      <a:pt x="46764" y="32134"/>
                    </a:cubicBezTo>
                    <a:cubicBezTo>
                      <a:pt x="46764" y="14369"/>
                      <a:pt x="36314" y="0"/>
                      <a:pt x="23382" y="0"/>
                    </a:cubicBezTo>
                    <a:cubicBezTo>
                      <a:pt x="10450" y="0"/>
                      <a:pt x="0" y="14369"/>
                      <a:pt x="0" y="32134"/>
                    </a:cubicBezTo>
                    <a:cubicBezTo>
                      <a:pt x="0" y="49899"/>
                      <a:pt x="10450" y="64267"/>
                      <a:pt x="23382" y="6426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BDBA277A-5A57-463D-6E5D-AEC160B72473}"/>
                  </a:ext>
                </a:extLst>
              </p:cNvPr>
              <p:cNvSpPr/>
              <p:nvPr/>
            </p:nvSpPr>
            <p:spPr>
              <a:xfrm>
                <a:off x="1009687" y="5967986"/>
                <a:ext cx="56168" cy="77068"/>
              </a:xfrm>
              <a:custGeom>
                <a:avLst/>
                <a:gdLst>
                  <a:gd name="connsiteX0" fmla="*/ 28084 w 56168"/>
                  <a:gd name="connsiteY0" fmla="*/ 77069 h 77068"/>
                  <a:gd name="connsiteX1" fmla="*/ 0 w 56168"/>
                  <a:gd name="connsiteY1" fmla="*/ 38534 h 77068"/>
                  <a:gd name="connsiteX2" fmla="*/ 28084 w 56168"/>
                  <a:gd name="connsiteY2" fmla="*/ 0 h 77068"/>
                  <a:gd name="connsiteX3" fmla="*/ 56169 w 56168"/>
                  <a:gd name="connsiteY3" fmla="*/ 38534 h 77068"/>
                  <a:gd name="connsiteX4" fmla="*/ 28084 w 56168"/>
                  <a:gd name="connsiteY4" fmla="*/ 77069 h 77068"/>
                  <a:gd name="connsiteX5" fmla="*/ 28084 w 56168"/>
                  <a:gd name="connsiteY5" fmla="*/ 12932 h 77068"/>
                  <a:gd name="connsiteX6" fmla="*/ 9405 w 56168"/>
                  <a:gd name="connsiteY6" fmla="*/ 38534 h 77068"/>
                  <a:gd name="connsiteX7" fmla="*/ 28084 w 56168"/>
                  <a:gd name="connsiteY7" fmla="*/ 64137 h 77068"/>
                  <a:gd name="connsiteX8" fmla="*/ 46764 w 56168"/>
                  <a:gd name="connsiteY8" fmla="*/ 38534 h 77068"/>
                  <a:gd name="connsiteX9" fmla="*/ 28084 w 56168"/>
                  <a:gd name="connsiteY9" fmla="*/ 12932 h 7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168" h="77068">
                    <a:moveTo>
                      <a:pt x="28084" y="77069"/>
                    </a:moveTo>
                    <a:cubicBezTo>
                      <a:pt x="12540" y="77069"/>
                      <a:pt x="0" y="59826"/>
                      <a:pt x="0" y="38534"/>
                    </a:cubicBezTo>
                    <a:cubicBezTo>
                      <a:pt x="0" y="17243"/>
                      <a:pt x="12671" y="0"/>
                      <a:pt x="28084" y="0"/>
                    </a:cubicBezTo>
                    <a:cubicBezTo>
                      <a:pt x="43498" y="0"/>
                      <a:pt x="56169" y="17243"/>
                      <a:pt x="56169" y="38534"/>
                    </a:cubicBezTo>
                    <a:cubicBezTo>
                      <a:pt x="56169" y="59826"/>
                      <a:pt x="43498" y="77069"/>
                      <a:pt x="28084" y="77069"/>
                    </a:cubicBezTo>
                    <a:close/>
                    <a:moveTo>
                      <a:pt x="28084" y="12932"/>
                    </a:moveTo>
                    <a:cubicBezTo>
                      <a:pt x="17765" y="12932"/>
                      <a:pt x="9405" y="24427"/>
                      <a:pt x="9405" y="38534"/>
                    </a:cubicBezTo>
                    <a:cubicBezTo>
                      <a:pt x="9405" y="52642"/>
                      <a:pt x="17765" y="64137"/>
                      <a:pt x="28084" y="64137"/>
                    </a:cubicBezTo>
                    <a:cubicBezTo>
                      <a:pt x="38404" y="64137"/>
                      <a:pt x="46764" y="52642"/>
                      <a:pt x="46764" y="38534"/>
                    </a:cubicBezTo>
                    <a:cubicBezTo>
                      <a:pt x="46764" y="24427"/>
                      <a:pt x="38404" y="12932"/>
                      <a:pt x="28084" y="1293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nvGrpSpPr>
          <p:cNvPr id="85" name="Graphic 717">
            <a:extLst>
              <a:ext uri="{FF2B5EF4-FFF2-40B4-BE49-F238E27FC236}">
                <a16:creationId xmlns:a16="http://schemas.microsoft.com/office/drawing/2014/main" id="{1F997F1F-9328-6D94-E175-6B25847F2610}"/>
              </a:ext>
            </a:extLst>
          </p:cNvPr>
          <p:cNvGrpSpPr/>
          <p:nvPr userDrawn="1"/>
        </p:nvGrpSpPr>
        <p:grpSpPr>
          <a:xfrm>
            <a:off x="8928746" y="3557108"/>
            <a:ext cx="1004337" cy="800801"/>
            <a:chOff x="2990351" y="4887328"/>
            <a:chExt cx="744430" cy="576577"/>
          </a:xfrm>
          <a:noFill/>
        </p:grpSpPr>
        <p:grpSp>
          <p:nvGrpSpPr>
            <p:cNvPr id="86" name="Graphic 717">
              <a:extLst>
                <a:ext uri="{FF2B5EF4-FFF2-40B4-BE49-F238E27FC236}">
                  <a16:creationId xmlns:a16="http://schemas.microsoft.com/office/drawing/2014/main" id="{D0965F58-1132-62A5-405A-6DD75D1D959B}"/>
                </a:ext>
              </a:extLst>
            </p:cNvPr>
            <p:cNvGrpSpPr/>
            <p:nvPr/>
          </p:nvGrpSpPr>
          <p:grpSpPr>
            <a:xfrm>
              <a:off x="3031628" y="4887328"/>
              <a:ext cx="605184" cy="576577"/>
              <a:chOff x="3031628" y="4887328"/>
              <a:chExt cx="605184" cy="576577"/>
            </a:xfrm>
            <a:grpFill/>
          </p:grpSpPr>
          <p:grpSp>
            <p:nvGrpSpPr>
              <p:cNvPr id="103" name="Graphic 717">
                <a:extLst>
                  <a:ext uri="{FF2B5EF4-FFF2-40B4-BE49-F238E27FC236}">
                    <a16:creationId xmlns:a16="http://schemas.microsoft.com/office/drawing/2014/main" id="{F02EBDA0-B5FE-9ED5-6A8D-DB848767F156}"/>
                  </a:ext>
                </a:extLst>
              </p:cNvPr>
              <p:cNvGrpSpPr/>
              <p:nvPr/>
            </p:nvGrpSpPr>
            <p:grpSpPr>
              <a:xfrm>
                <a:off x="3393528" y="5224142"/>
                <a:ext cx="243284" cy="239763"/>
                <a:chOff x="3393528" y="5224142"/>
                <a:chExt cx="243284" cy="239763"/>
              </a:xfrm>
              <a:grpFill/>
            </p:grpSpPr>
            <p:sp>
              <p:nvSpPr>
                <p:cNvPr id="105" name="Freeform: Shape 104">
                  <a:extLst>
                    <a:ext uri="{FF2B5EF4-FFF2-40B4-BE49-F238E27FC236}">
                      <a16:creationId xmlns:a16="http://schemas.microsoft.com/office/drawing/2014/main" id="{4EF07C04-AEEC-2273-084B-5464726C5450}"/>
                    </a:ext>
                  </a:extLst>
                </p:cNvPr>
                <p:cNvSpPr/>
                <p:nvPr/>
              </p:nvSpPr>
              <p:spPr>
                <a:xfrm>
                  <a:off x="3398422" y="5229565"/>
                  <a:ext cx="233166" cy="229377"/>
                </a:xfrm>
                <a:custGeom>
                  <a:avLst/>
                  <a:gdLst>
                    <a:gd name="connsiteX0" fmla="*/ 131 w 233166"/>
                    <a:gd name="connsiteY0" fmla="*/ 51466 h 229377"/>
                    <a:gd name="connsiteX1" fmla="*/ 108680 w 233166"/>
                    <a:gd name="connsiteY1" fmla="*/ 158317 h 229377"/>
                    <a:gd name="connsiteX2" fmla="*/ 167722 w 233166"/>
                    <a:gd name="connsiteY2" fmla="*/ 212265 h 229377"/>
                    <a:gd name="connsiteX3" fmla="*/ 205081 w 233166"/>
                    <a:gd name="connsiteY3" fmla="*/ 229377 h 229377"/>
                    <a:gd name="connsiteX4" fmla="*/ 233165 w 233166"/>
                    <a:gd name="connsiteY4" fmla="*/ 202468 h 229377"/>
                    <a:gd name="connsiteX5" fmla="*/ 216968 w 233166"/>
                    <a:gd name="connsiteY5" fmla="*/ 172556 h 229377"/>
                    <a:gd name="connsiteX6" fmla="*/ 36575 w 233166"/>
                    <a:gd name="connsiteY6" fmla="*/ 0 h 229377"/>
                    <a:gd name="connsiteX7" fmla="*/ 0 w 233166"/>
                    <a:gd name="connsiteY7" fmla="*/ 51597 h 22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166" h="229377">
                      <a:moveTo>
                        <a:pt x="131" y="51466"/>
                      </a:moveTo>
                      <a:cubicBezTo>
                        <a:pt x="36314" y="87127"/>
                        <a:pt x="72497" y="122657"/>
                        <a:pt x="108680" y="158317"/>
                      </a:cubicBezTo>
                      <a:cubicBezTo>
                        <a:pt x="127751" y="177127"/>
                        <a:pt x="146953" y="195937"/>
                        <a:pt x="167722" y="212265"/>
                      </a:cubicBezTo>
                      <a:cubicBezTo>
                        <a:pt x="178956" y="221017"/>
                        <a:pt x="191496" y="229377"/>
                        <a:pt x="205081" y="229377"/>
                      </a:cubicBezTo>
                      <a:cubicBezTo>
                        <a:pt x="218796" y="229377"/>
                        <a:pt x="233296" y="217882"/>
                        <a:pt x="233165" y="202468"/>
                      </a:cubicBezTo>
                      <a:cubicBezTo>
                        <a:pt x="233165" y="190451"/>
                        <a:pt x="224805" y="180785"/>
                        <a:pt x="216968" y="172556"/>
                      </a:cubicBezTo>
                      <a:cubicBezTo>
                        <a:pt x="159362" y="111815"/>
                        <a:pt x="99144" y="54209"/>
                        <a:pt x="36575" y="0"/>
                      </a:cubicBezTo>
                      <a:cubicBezTo>
                        <a:pt x="25080" y="16851"/>
                        <a:pt x="13585" y="33571"/>
                        <a:pt x="0" y="51597"/>
                      </a:cubicBezTo>
                      <a:close/>
                    </a:path>
                  </a:pathLst>
                </a:custGeom>
                <a:grpFill/>
                <a:ln w="26078" cap="flat">
                  <a:solidFill>
                    <a:schemeClr val="tx2">
                      <a:lumMod val="60000"/>
                      <a:lumOff val="40000"/>
                      <a:alpha val="54000"/>
                    </a:schemeClr>
                  </a:solid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E3641FB2-4992-0CD5-0BF7-A22C5FD4914F}"/>
                    </a:ext>
                  </a:extLst>
                </p:cNvPr>
                <p:cNvSpPr/>
                <p:nvPr/>
              </p:nvSpPr>
              <p:spPr>
                <a:xfrm>
                  <a:off x="3393528" y="5224142"/>
                  <a:ext cx="243284" cy="239763"/>
                </a:xfrm>
                <a:custGeom>
                  <a:avLst/>
                  <a:gdLst>
                    <a:gd name="connsiteX0" fmla="*/ 210106 w 243284"/>
                    <a:gd name="connsiteY0" fmla="*/ 239764 h 239763"/>
                    <a:gd name="connsiteX1" fmla="*/ 210106 w 243284"/>
                    <a:gd name="connsiteY1" fmla="*/ 239764 h 239763"/>
                    <a:gd name="connsiteX2" fmla="*/ 169612 w 243284"/>
                    <a:gd name="connsiteY2" fmla="*/ 221607 h 239763"/>
                    <a:gd name="connsiteX3" fmla="*/ 110048 w 243284"/>
                    <a:gd name="connsiteY3" fmla="*/ 167267 h 239763"/>
                    <a:gd name="connsiteX4" fmla="*/ 1498 w 243284"/>
                    <a:gd name="connsiteY4" fmla="*/ 60416 h 239763"/>
                    <a:gd name="connsiteX5" fmla="*/ 976 w 243284"/>
                    <a:gd name="connsiteY5" fmla="*/ 53754 h 239763"/>
                    <a:gd name="connsiteX6" fmla="*/ 37420 w 243284"/>
                    <a:gd name="connsiteY6" fmla="*/ 2288 h 239763"/>
                    <a:gd name="connsiteX7" fmla="*/ 40947 w 243284"/>
                    <a:gd name="connsiteY7" fmla="*/ 67 h 239763"/>
                    <a:gd name="connsiteX8" fmla="*/ 44865 w 243284"/>
                    <a:gd name="connsiteY8" fmla="*/ 1243 h 239763"/>
                    <a:gd name="connsiteX9" fmla="*/ 225650 w 243284"/>
                    <a:gd name="connsiteY9" fmla="*/ 174190 h 239763"/>
                    <a:gd name="connsiteX10" fmla="*/ 243285 w 243284"/>
                    <a:gd name="connsiteY10" fmla="*/ 207630 h 239763"/>
                    <a:gd name="connsiteX11" fmla="*/ 234141 w 243284"/>
                    <a:gd name="connsiteY11" fmla="*/ 229444 h 239763"/>
                    <a:gd name="connsiteX12" fmla="*/ 210236 w 243284"/>
                    <a:gd name="connsiteY12" fmla="*/ 239764 h 239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284" h="239763">
                      <a:moveTo>
                        <a:pt x="210106" y="239764"/>
                      </a:moveTo>
                      <a:lnTo>
                        <a:pt x="210106" y="239764"/>
                      </a:lnTo>
                      <a:cubicBezTo>
                        <a:pt x="194954" y="239764"/>
                        <a:pt x="181630" y="231012"/>
                        <a:pt x="169612" y="221607"/>
                      </a:cubicBezTo>
                      <a:cubicBezTo>
                        <a:pt x="148582" y="205148"/>
                        <a:pt x="128988" y="185816"/>
                        <a:pt x="110048" y="167267"/>
                      </a:cubicBezTo>
                      <a:lnTo>
                        <a:pt x="1498" y="60416"/>
                      </a:lnTo>
                      <a:cubicBezTo>
                        <a:pt x="-331" y="58587"/>
                        <a:pt x="-461" y="55844"/>
                        <a:pt x="976" y="53754"/>
                      </a:cubicBezTo>
                      <a:cubicBezTo>
                        <a:pt x="14560" y="35858"/>
                        <a:pt x="26186" y="18747"/>
                        <a:pt x="37420" y="2288"/>
                      </a:cubicBezTo>
                      <a:cubicBezTo>
                        <a:pt x="38204" y="1112"/>
                        <a:pt x="39510" y="328"/>
                        <a:pt x="40947" y="67"/>
                      </a:cubicBezTo>
                      <a:cubicBezTo>
                        <a:pt x="42384" y="-194"/>
                        <a:pt x="43821" y="328"/>
                        <a:pt x="44865" y="1243"/>
                      </a:cubicBezTo>
                      <a:cubicBezTo>
                        <a:pt x="107304" y="55322"/>
                        <a:pt x="168045" y="113580"/>
                        <a:pt x="225650" y="174190"/>
                      </a:cubicBezTo>
                      <a:cubicBezTo>
                        <a:pt x="234141" y="183073"/>
                        <a:pt x="243154" y="193784"/>
                        <a:pt x="243285" y="207630"/>
                      </a:cubicBezTo>
                      <a:cubicBezTo>
                        <a:pt x="243285" y="215598"/>
                        <a:pt x="240019" y="223436"/>
                        <a:pt x="234141" y="229444"/>
                      </a:cubicBezTo>
                      <a:cubicBezTo>
                        <a:pt x="227740" y="235845"/>
                        <a:pt x="218858" y="239764"/>
                        <a:pt x="210236" y="239764"/>
                      </a:cubicBezTo>
                      <a:close/>
                    </a:path>
                  </a:pathLst>
                </a:custGeom>
                <a:grpFill/>
                <a:ln w="26078" cap="flat">
                  <a:solidFill>
                    <a:schemeClr val="tx2">
                      <a:lumMod val="60000"/>
                      <a:lumOff val="40000"/>
                      <a:alpha val="54000"/>
                    </a:schemeClr>
                  </a:solidFill>
                  <a:prstDash val="solid"/>
                  <a:miter/>
                </a:ln>
              </p:spPr>
              <p:txBody>
                <a:bodyPr rtlCol="0" anchor="ctr"/>
                <a:lstStyle/>
                <a:p>
                  <a:endParaRPr lang="en-US" dirty="0"/>
                </a:p>
              </p:txBody>
            </p:sp>
          </p:grpSp>
          <p:sp>
            <p:nvSpPr>
              <p:cNvPr id="104" name="Freeform: Shape 103">
                <a:extLst>
                  <a:ext uri="{FF2B5EF4-FFF2-40B4-BE49-F238E27FC236}">
                    <a16:creationId xmlns:a16="http://schemas.microsoft.com/office/drawing/2014/main" id="{E7EE3A8D-0CED-6EDE-CF6B-B43F867EF81C}"/>
                  </a:ext>
                </a:extLst>
              </p:cNvPr>
              <p:cNvSpPr/>
              <p:nvPr/>
            </p:nvSpPr>
            <p:spPr>
              <a:xfrm>
                <a:off x="3031628" y="4887328"/>
                <a:ext cx="451439" cy="451439"/>
              </a:xfrm>
              <a:custGeom>
                <a:avLst/>
                <a:gdLst>
                  <a:gd name="connsiteX0" fmla="*/ 225720 w 451439"/>
                  <a:gd name="connsiteY0" fmla="*/ 0 h 451439"/>
                  <a:gd name="connsiteX1" fmla="*/ 0 w 451439"/>
                  <a:gd name="connsiteY1" fmla="*/ 225720 h 451439"/>
                  <a:gd name="connsiteX2" fmla="*/ 225720 w 451439"/>
                  <a:gd name="connsiteY2" fmla="*/ 451439 h 451439"/>
                  <a:gd name="connsiteX3" fmla="*/ 451439 w 451439"/>
                  <a:gd name="connsiteY3" fmla="*/ 225720 h 451439"/>
                  <a:gd name="connsiteX4" fmla="*/ 225720 w 451439"/>
                  <a:gd name="connsiteY4" fmla="*/ 0 h 451439"/>
                  <a:gd name="connsiteX5" fmla="*/ 225720 w 451439"/>
                  <a:gd name="connsiteY5" fmla="*/ 397099 h 451439"/>
                  <a:gd name="connsiteX6" fmla="*/ 54340 w 451439"/>
                  <a:gd name="connsiteY6" fmla="*/ 225720 h 451439"/>
                  <a:gd name="connsiteX7" fmla="*/ 225720 w 451439"/>
                  <a:gd name="connsiteY7" fmla="*/ 54340 h 451439"/>
                  <a:gd name="connsiteX8" fmla="*/ 397099 w 451439"/>
                  <a:gd name="connsiteY8" fmla="*/ 225720 h 451439"/>
                  <a:gd name="connsiteX9" fmla="*/ 225720 w 451439"/>
                  <a:gd name="connsiteY9" fmla="*/ 397099 h 451439"/>
                  <a:gd name="connsiteX10" fmla="*/ 225720 w 451439"/>
                  <a:gd name="connsiteY10" fmla="*/ 397099 h 451439"/>
                  <a:gd name="connsiteX11" fmla="*/ 54340 w 451439"/>
                  <a:gd name="connsiteY11" fmla="*/ 225720 h 451439"/>
                  <a:gd name="connsiteX12" fmla="*/ 225720 w 451439"/>
                  <a:gd name="connsiteY12" fmla="*/ 54340 h 451439"/>
                  <a:gd name="connsiteX13" fmla="*/ 397099 w 451439"/>
                  <a:gd name="connsiteY13" fmla="*/ 225720 h 451439"/>
                  <a:gd name="connsiteX14" fmla="*/ 225720 w 451439"/>
                  <a:gd name="connsiteY14" fmla="*/ 397099 h 45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1439" h="451439">
                    <a:moveTo>
                      <a:pt x="225720" y="0"/>
                    </a:moveTo>
                    <a:cubicBezTo>
                      <a:pt x="101104" y="0"/>
                      <a:pt x="0" y="101104"/>
                      <a:pt x="0" y="225720"/>
                    </a:cubicBezTo>
                    <a:cubicBezTo>
                      <a:pt x="0" y="350336"/>
                      <a:pt x="101104" y="451439"/>
                      <a:pt x="225720" y="451439"/>
                    </a:cubicBezTo>
                    <a:cubicBezTo>
                      <a:pt x="350336" y="451439"/>
                      <a:pt x="451439" y="350336"/>
                      <a:pt x="451439" y="225720"/>
                    </a:cubicBezTo>
                    <a:cubicBezTo>
                      <a:pt x="451439" y="101104"/>
                      <a:pt x="350336" y="0"/>
                      <a:pt x="225720" y="0"/>
                    </a:cubicBezTo>
                    <a:close/>
                    <a:moveTo>
                      <a:pt x="225720" y="397099"/>
                    </a:moveTo>
                    <a:cubicBezTo>
                      <a:pt x="131017" y="397099"/>
                      <a:pt x="54340" y="320423"/>
                      <a:pt x="54340" y="225720"/>
                    </a:cubicBezTo>
                    <a:cubicBezTo>
                      <a:pt x="54340" y="131017"/>
                      <a:pt x="131017" y="54340"/>
                      <a:pt x="225720" y="54340"/>
                    </a:cubicBezTo>
                    <a:cubicBezTo>
                      <a:pt x="320423" y="54340"/>
                      <a:pt x="397099" y="131017"/>
                      <a:pt x="397099" y="225720"/>
                    </a:cubicBezTo>
                    <a:cubicBezTo>
                      <a:pt x="397099" y="320423"/>
                      <a:pt x="320423" y="397099"/>
                      <a:pt x="225720" y="397099"/>
                    </a:cubicBezTo>
                    <a:close/>
                    <a:moveTo>
                      <a:pt x="225720" y="397099"/>
                    </a:moveTo>
                    <a:cubicBezTo>
                      <a:pt x="131017" y="397099"/>
                      <a:pt x="54340" y="320423"/>
                      <a:pt x="54340" y="225720"/>
                    </a:cubicBezTo>
                    <a:cubicBezTo>
                      <a:pt x="54340" y="131017"/>
                      <a:pt x="131017" y="54340"/>
                      <a:pt x="225720" y="54340"/>
                    </a:cubicBezTo>
                    <a:cubicBezTo>
                      <a:pt x="320423" y="54340"/>
                      <a:pt x="397099" y="131017"/>
                      <a:pt x="397099" y="225720"/>
                    </a:cubicBezTo>
                    <a:cubicBezTo>
                      <a:pt x="397099" y="320423"/>
                      <a:pt x="320423" y="397099"/>
                      <a:pt x="225720" y="397099"/>
                    </a:cubicBezTo>
                    <a:close/>
                  </a:path>
                </a:pathLst>
              </a:custGeom>
              <a:grpFill/>
              <a:ln w="26078" cap="flat">
                <a:solidFill>
                  <a:schemeClr val="tx2">
                    <a:lumMod val="60000"/>
                    <a:lumOff val="40000"/>
                    <a:alpha val="54000"/>
                  </a:schemeClr>
                </a:solidFill>
                <a:prstDash val="solid"/>
                <a:miter/>
              </a:ln>
            </p:spPr>
            <p:txBody>
              <a:bodyPr rtlCol="0" anchor="ctr"/>
              <a:lstStyle/>
              <a:p>
                <a:endParaRPr lang="en-US" dirty="0"/>
              </a:p>
            </p:txBody>
          </p:sp>
        </p:grpSp>
        <p:grpSp>
          <p:nvGrpSpPr>
            <p:cNvPr id="87" name="Graphic 717">
              <a:extLst>
                <a:ext uri="{FF2B5EF4-FFF2-40B4-BE49-F238E27FC236}">
                  <a16:creationId xmlns:a16="http://schemas.microsoft.com/office/drawing/2014/main" id="{010192D8-AB5D-9B8A-69C9-00BC9F57BAAD}"/>
                </a:ext>
              </a:extLst>
            </p:cNvPr>
            <p:cNvGrpSpPr/>
            <p:nvPr/>
          </p:nvGrpSpPr>
          <p:grpSpPr>
            <a:xfrm>
              <a:off x="3257086" y="5046298"/>
              <a:ext cx="107112" cy="107112"/>
              <a:chOff x="3257086" y="5046298"/>
              <a:chExt cx="107112" cy="107112"/>
            </a:xfrm>
            <a:grpFill/>
          </p:grpSpPr>
          <p:sp>
            <p:nvSpPr>
              <p:cNvPr id="101" name="Freeform: Shape 100">
                <a:extLst>
                  <a:ext uri="{FF2B5EF4-FFF2-40B4-BE49-F238E27FC236}">
                    <a16:creationId xmlns:a16="http://schemas.microsoft.com/office/drawing/2014/main" id="{6F199AC3-5066-EEC7-79B6-73B6BAE56B33}"/>
                  </a:ext>
                </a:extLst>
              </p:cNvPr>
              <p:cNvSpPr/>
              <p:nvPr/>
            </p:nvSpPr>
            <p:spPr>
              <a:xfrm>
                <a:off x="3262050" y="5051262"/>
                <a:ext cx="97184" cy="97184"/>
              </a:xfrm>
              <a:custGeom>
                <a:avLst/>
                <a:gdLst>
                  <a:gd name="connsiteX0" fmla="*/ 97185 w 97184"/>
                  <a:gd name="connsiteY0" fmla="*/ 48592 h 97184"/>
                  <a:gd name="connsiteX1" fmla="*/ 48592 w 97184"/>
                  <a:gd name="connsiteY1" fmla="*/ 97185 h 97184"/>
                  <a:gd name="connsiteX2" fmla="*/ 0 w 97184"/>
                  <a:gd name="connsiteY2" fmla="*/ 48592 h 97184"/>
                  <a:gd name="connsiteX3" fmla="*/ 48592 w 97184"/>
                  <a:gd name="connsiteY3" fmla="*/ 0 h 97184"/>
                  <a:gd name="connsiteX4" fmla="*/ 97185 w 97184"/>
                  <a:gd name="connsiteY4" fmla="*/ 48592 h 97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84" h="97184">
                    <a:moveTo>
                      <a:pt x="97185" y="48592"/>
                    </a:moveTo>
                    <a:cubicBezTo>
                      <a:pt x="97185" y="75429"/>
                      <a:pt x="75429" y="97185"/>
                      <a:pt x="48592" y="97185"/>
                    </a:cubicBezTo>
                    <a:cubicBezTo>
                      <a:pt x="21755" y="97185"/>
                      <a:pt x="0" y="75429"/>
                      <a:pt x="0" y="48592"/>
                    </a:cubicBezTo>
                    <a:cubicBezTo>
                      <a:pt x="0" y="21755"/>
                      <a:pt x="21755" y="0"/>
                      <a:pt x="48592" y="0"/>
                    </a:cubicBezTo>
                    <a:cubicBezTo>
                      <a:pt x="75429" y="0"/>
                      <a:pt x="97185" y="21755"/>
                      <a:pt x="97185" y="4859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F2C0FE9B-36D7-2736-0915-4220BE984D0C}"/>
                  </a:ext>
                </a:extLst>
              </p:cNvPr>
              <p:cNvSpPr/>
              <p:nvPr/>
            </p:nvSpPr>
            <p:spPr>
              <a:xfrm>
                <a:off x="3257086" y="5046298"/>
                <a:ext cx="107112" cy="107112"/>
              </a:xfrm>
              <a:custGeom>
                <a:avLst/>
                <a:gdLst>
                  <a:gd name="connsiteX0" fmla="*/ 53556 w 107112"/>
                  <a:gd name="connsiteY0" fmla="*/ 107112 h 107112"/>
                  <a:gd name="connsiteX1" fmla="*/ 0 w 107112"/>
                  <a:gd name="connsiteY1" fmla="*/ 53556 h 107112"/>
                  <a:gd name="connsiteX2" fmla="*/ 53556 w 107112"/>
                  <a:gd name="connsiteY2" fmla="*/ 0 h 107112"/>
                  <a:gd name="connsiteX3" fmla="*/ 107112 w 107112"/>
                  <a:gd name="connsiteY3" fmla="*/ 53556 h 107112"/>
                  <a:gd name="connsiteX4" fmla="*/ 53556 w 107112"/>
                  <a:gd name="connsiteY4" fmla="*/ 107112 h 107112"/>
                  <a:gd name="connsiteX5" fmla="*/ 53556 w 107112"/>
                  <a:gd name="connsiteY5" fmla="*/ 10058 h 107112"/>
                  <a:gd name="connsiteX6" fmla="*/ 10058 w 107112"/>
                  <a:gd name="connsiteY6" fmla="*/ 53556 h 107112"/>
                  <a:gd name="connsiteX7" fmla="*/ 53556 w 107112"/>
                  <a:gd name="connsiteY7" fmla="*/ 97054 h 107112"/>
                  <a:gd name="connsiteX8" fmla="*/ 97054 w 107112"/>
                  <a:gd name="connsiteY8" fmla="*/ 53556 h 107112"/>
                  <a:gd name="connsiteX9" fmla="*/ 53556 w 107112"/>
                  <a:gd name="connsiteY9" fmla="*/ 10058 h 107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12" h="107112">
                    <a:moveTo>
                      <a:pt x="53556" y="107112"/>
                    </a:moveTo>
                    <a:cubicBezTo>
                      <a:pt x="24035" y="107112"/>
                      <a:pt x="0" y="83077"/>
                      <a:pt x="0" y="53556"/>
                    </a:cubicBezTo>
                    <a:cubicBezTo>
                      <a:pt x="0" y="24035"/>
                      <a:pt x="24035" y="0"/>
                      <a:pt x="53556" y="0"/>
                    </a:cubicBezTo>
                    <a:cubicBezTo>
                      <a:pt x="83077" y="0"/>
                      <a:pt x="107112" y="24035"/>
                      <a:pt x="107112" y="53556"/>
                    </a:cubicBezTo>
                    <a:cubicBezTo>
                      <a:pt x="107112" y="83077"/>
                      <a:pt x="83077" y="107112"/>
                      <a:pt x="53556" y="107112"/>
                    </a:cubicBezTo>
                    <a:close/>
                    <a:moveTo>
                      <a:pt x="53556" y="10058"/>
                    </a:moveTo>
                    <a:cubicBezTo>
                      <a:pt x="29521" y="10058"/>
                      <a:pt x="10058" y="29521"/>
                      <a:pt x="10058" y="53556"/>
                    </a:cubicBezTo>
                    <a:cubicBezTo>
                      <a:pt x="10058" y="77591"/>
                      <a:pt x="29521" y="97054"/>
                      <a:pt x="53556" y="97054"/>
                    </a:cubicBezTo>
                    <a:cubicBezTo>
                      <a:pt x="77591" y="97054"/>
                      <a:pt x="97054" y="77591"/>
                      <a:pt x="97054" y="53556"/>
                    </a:cubicBezTo>
                    <a:cubicBezTo>
                      <a:pt x="97054" y="29521"/>
                      <a:pt x="77591" y="10058"/>
                      <a:pt x="53556" y="1005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sp>
          <p:nvSpPr>
            <p:cNvPr id="88" name="Freeform: Shape 87">
              <a:extLst>
                <a:ext uri="{FF2B5EF4-FFF2-40B4-BE49-F238E27FC236}">
                  <a16:creationId xmlns:a16="http://schemas.microsoft.com/office/drawing/2014/main" id="{6A5FCA58-7286-93EB-75CC-DE2278E5A2D7}"/>
                </a:ext>
              </a:extLst>
            </p:cNvPr>
            <p:cNvSpPr/>
            <p:nvPr/>
          </p:nvSpPr>
          <p:spPr>
            <a:xfrm>
              <a:off x="3032177" y="5282801"/>
              <a:ext cx="83763" cy="97765"/>
            </a:xfrm>
            <a:custGeom>
              <a:avLst/>
              <a:gdLst>
                <a:gd name="connsiteX0" fmla="*/ 5068 w 83763"/>
                <a:gd name="connsiteY0" fmla="*/ 97766 h 97765"/>
                <a:gd name="connsiteX1" fmla="*/ 1672 w 83763"/>
                <a:gd name="connsiteY1" fmla="*/ 96460 h 97765"/>
                <a:gd name="connsiteX2" fmla="*/ 1280 w 83763"/>
                <a:gd name="connsiteY2" fmla="*/ 89406 h 97765"/>
                <a:gd name="connsiteX3" fmla="*/ 74822 w 83763"/>
                <a:gd name="connsiteY3" fmla="*/ 1887 h 97765"/>
                <a:gd name="connsiteX4" fmla="*/ 81876 w 83763"/>
                <a:gd name="connsiteY4" fmla="*/ 1104 h 97765"/>
                <a:gd name="connsiteX5" fmla="*/ 82659 w 83763"/>
                <a:gd name="connsiteY5" fmla="*/ 8158 h 97765"/>
                <a:gd name="connsiteX6" fmla="*/ 8726 w 83763"/>
                <a:gd name="connsiteY6" fmla="*/ 96068 h 97765"/>
                <a:gd name="connsiteX7" fmla="*/ 4938 w 83763"/>
                <a:gd name="connsiteY7" fmla="*/ 97766 h 9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63" h="97765">
                  <a:moveTo>
                    <a:pt x="5068" y="97766"/>
                  </a:moveTo>
                  <a:cubicBezTo>
                    <a:pt x="3893" y="97766"/>
                    <a:pt x="2717" y="97374"/>
                    <a:pt x="1672" y="96460"/>
                  </a:cubicBezTo>
                  <a:cubicBezTo>
                    <a:pt x="-418" y="94631"/>
                    <a:pt x="-549" y="91365"/>
                    <a:pt x="1280" y="89406"/>
                  </a:cubicBezTo>
                  <a:cubicBezTo>
                    <a:pt x="26491" y="61060"/>
                    <a:pt x="51179" y="31540"/>
                    <a:pt x="74822" y="1887"/>
                  </a:cubicBezTo>
                  <a:cubicBezTo>
                    <a:pt x="76520" y="-333"/>
                    <a:pt x="79786" y="-594"/>
                    <a:pt x="81876" y="1104"/>
                  </a:cubicBezTo>
                  <a:cubicBezTo>
                    <a:pt x="84096" y="2802"/>
                    <a:pt x="84357" y="6068"/>
                    <a:pt x="82659" y="8158"/>
                  </a:cubicBezTo>
                  <a:cubicBezTo>
                    <a:pt x="58886" y="37940"/>
                    <a:pt x="34067" y="67592"/>
                    <a:pt x="8726" y="96068"/>
                  </a:cubicBezTo>
                  <a:cubicBezTo>
                    <a:pt x="7681" y="97244"/>
                    <a:pt x="6375" y="97766"/>
                    <a:pt x="4938" y="9776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D2710086-DEC3-C1C5-7C9F-BBFEBE663DF3}"/>
                </a:ext>
              </a:extLst>
            </p:cNvPr>
            <p:cNvSpPr/>
            <p:nvPr/>
          </p:nvSpPr>
          <p:spPr>
            <a:xfrm>
              <a:off x="3476632" y="5046357"/>
              <a:ext cx="213285" cy="183860"/>
            </a:xfrm>
            <a:custGeom>
              <a:avLst/>
              <a:gdLst>
                <a:gd name="connsiteX0" fmla="*/ 117466 w 213285"/>
                <a:gd name="connsiteY0" fmla="*/ 183730 h 183860"/>
                <a:gd name="connsiteX1" fmla="*/ 114984 w 213285"/>
                <a:gd name="connsiteY1" fmla="*/ 183077 h 183860"/>
                <a:gd name="connsiteX2" fmla="*/ 2516 w 213285"/>
                <a:gd name="connsiteY2" fmla="*/ 117634 h 183860"/>
                <a:gd name="connsiteX3" fmla="*/ 687 w 213285"/>
                <a:gd name="connsiteY3" fmla="*/ 110711 h 183860"/>
                <a:gd name="connsiteX4" fmla="*/ 7611 w 213285"/>
                <a:gd name="connsiteY4" fmla="*/ 108882 h 183860"/>
                <a:gd name="connsiteX5" fmla="*/ 115507 w 213285"/>
                <a:gd name="connsiteY5" fmla="*/ 171713 h 183860"/>
                <a:gd name="connsiteX6" fmla="*/ 203809 w 213285"/>
                <a:gd name="connsiteY6" fmla="*/ 2684 h 183860"/>
                <a:gd name="connsiteX7" fmla="*/ 210602 w 213285"/>
                <a:gd name="connsiteY7" fmla="*/ 594 h 183860"/>
                <a:gd name="connsiteX8" fmla="*/ 212692 w 213285"/>
                <a:gd name="connsiteY8" fmla="*/ 7387 h 183860"/>
                <a:gd name="connsiteX9" fmla="*/ 122038 w 213285"/>
                <a:gd name="connsiteY9" fmla="*/ 181118 h 183860"/>
                <a:gd name="connsiteX10" fmla="*/ 118903 w 213285"/>
                <a:gd name="connsiteY10" fmla="*/ 183599 h 183860"/>
                <a:gd name="connsiteX11" fmla="*/ 117466 w 213285"/>
                <a:gd name="connsiteY11" fmla="*/ 183861 h 18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3285" h="183860">
                  <a:moveTo>
                    <a:pt x="117466" y="183730"/>
                  </a:moveTo>
                  <a:cubicBezTo>
                    <a:pt x="116552" y="183730"/>
                    <a:pt x="115768" y="183469"/>
                    <a:pt x="114984" y="183077"/>
                  </a:cubicBezTo>
                  <a:lnTo>
                    <a:pt x="2516" y="117634"/>
                  </a:lnTo>
                  <a:cubicBezTo>
                    <a:pt x="165" y="116197"/>
                    <a:pt x="-750" y="113193"/>
                    <a:pt x="687" y="110711"/>
                  </a:cubicBezTo>
                  <a:cubicBezTo>
                    <a:pt x="2124" y="108359"/>
                    <a:pt x="5129" y="107445"/>
                    <a:pt x="7611" y="108882"/>
                  </a:cubicBezTo>
                  <a:lnTo>
                    <a:pt x="115507" y="171713"/>
                  </a:lnTo>
                  <a:lnTo>
                    <a:pt x="203809" y="2684"/>
                  </a:lnTo>
                  <a:cubicBezTo>
                    <a:pt x="205115" y="202"/>
                    <a:pt x="208120" y="-712"/>
                    <a:pt x="210602" y="594"/>
                  </a:cubicBezTo>
                  <a:cubicBezTo>
                    <a:pt x="213083" y="1900"/>
                    <a:pt x="213997" y="4905"/>
                    <a:pt x="212692" y="7387"/>
                  </a:cubicBezTo>
                  <a:lnTo>
                    <a:pt x="122038" y="181118"/>
                  </a:lnTo>
                  <a:cubicBezTo>
                    <a:pt x="121385" y="182293"/>
                    <a:pt x="120340" y="183207"/>
                    <a:pt x="118903" y="183599"/>
                  </a:cubicBezTo>
                  <a:cubicBezTo>
                    <a:pt x="118380" y="183730"/>
                    <a:pt x="117989" y="183861"/>
                    <a:pt x="117466" y="18386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90" name="Graphic 717">
              <a:extLst>
                <a:ext uri="{FF2B5EF4-FFF2-40B4-BE49-F238E27FC236}">
                  <a16:creationId xmlns:a16="http://schemas.microsoft.com/office/drawing/2014/main" id="{E1E510AA-99F1-6D64-001A-68CF25A697E7}"/>
                </a:ext>
              </a:extLst>
            </p:cNvPr>
            <p:cNvGrpSpPr/>
            <p:nvPr/>
          </p:nvGrpSpPr>
          <p:grpSpPr>
            <a:xfrm>
              <a:off x="2990351" y="5354442"/>
              <a:ext cx="62177" cy="72366"/>
              <a:chOff x="2990351" y="5354442"/>
              <a:chExt cx="62177" cy="72366"/>
            </a:xfrm>
            <a:grpFill/>
          </p:grpSpPr>
          <p:sp>
            <p:nvSpPr>
              <p:cNvPr id="99" name="Freeform: Shape 98">
                <a:extLst>
                  <a:ext uri="{FF2B5EF4-FFF2-40B4-BE49-F238E27FC236}">
                    <a16:creationId xmlns:a16="http://schemas.microsoft.com/office/drawing/2014/main" id="{F04090BF-C19B-1DF2-B163-89B271E4DA05}"/>
                  </a:ext>
                </a:extLst>
              </p:cNvPr>
              <p:cNvSpPr/>
              <p:nvPr/>
            </p:nvSpPr>
            <p:spPr>
              <a:xfrm>
                <a:off x="2994661" y="5359536"/>
                <a:ext cx="53556" cy="62177"/>
              </a:xfrm>
              <a:custGeom>
                <a:avLst/>
                <a:gdLst>
                  <a:gd name="connsiteX0" fmla="*/ 0 w 53556"/>
                  <a:gd name="connsiteY0" fmla="*/ 31089 h 62177"/>
                  <a:gd name="connsiteX1" fmla="*/ 26778 w 53556"/>
                  <a:gd name="connsiteY1" fmla="*/ 0 h 62177"/>
                  <a:gd name="connsiteX2" fmla="*/ 53556 w 53556"/>
                  <a:gd name="connsiteY2" fmla="*/ 31089 h 62177"/>
                  <a:gd name="connsiteX3" fmla="*/ 26778 w 53556"/>
                  <a:gd name="connsiteY3" fmla="*/ 62178 h 62177"/>
                  <a:gd name="connsiteX4" fmla="*/ 0 w 53556"/>
                  <a:gd name="connsiteY4" fmla="*/ 31089 h 62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56" h="62177">
                    <a:moveTo>
                      <a:pt x="0" y="31089"/>
                    </a:moveTo>
                    <a:cubicBezTo>
                      <a:pt x="0" y="13977"/>
                      <a:pt x="12017" y="0"/>
                      <a:pt x="26778" y="0"/>
                    </a:cubicBezTo>
                    <a:cubicBezTo>
                      <a:pt x="41539" y="0"/>
                      <a:pt x="53556" y="13977"/>
                      <a:pt x="53556" y="31089"/>
                    </a:cubicBezTo>
                    <a:cubicBezTo>
                      <a:pt x="53556" y="48201"/>
                      <a:pt x="41539" y="62178"/>
                      <a:pt x="26778" y="62178"/>
                    </a:cubicBezTo>
                    <a:cubicBezTo>
                      <a:pt x="12017" y="62178"/>
                      <a:pt x="0" y="48201"/>
                      <a:pt x="0" y="310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0C7864C6-7F22-6538-C0D4-1C15CE07F61C}"/>
                  </a:ext>
                </a:extLst>
              </p:cNvPr>
              <p:cNvSpPr/>
              <p:nvPr/>
            </p:nvSpPr>
            <p:spPr>
              <a:xfrm>
                <a:off x="2990351" y="5354442"/>
                <a:ext cx="62177" cy="72366"/>
              </a:xfrm>
              <a:custGeom>
                <a:avLst/>
                <a:gdLst>
                  <a:gd name="connsiteX0" fmla="*/ 31089 w 62177"/>
                  <a:gd name="connsiteY0" fmla="*/ 72366 h 72366"/>
                  <a:gd name="connsiteX1" fmla="*/ 0 w 62177"/>
                  <a:gd name="connsiteY1" fmla="*/ 36183 h 72366"/>
                  <a:gd name="connsiteX2" fmla="*/ 31089 w 62177"/>
                  <a:gd name="connsiteY2" fmla="*/ 0 h 72366"/>
                  <a:gd name="connsiteX3" fmla="*/ 62177 w 62177"/>
                  <a:gd name="connsiteY3" fmla="*/ 36183 h 72366"/>
                  <a:gd name="connsiteX4" fmla="*/ 31089 w 62177"/>
                  <a:gd name="connsiteY4" fmla="*/ 72366 h 72366"/>
                  <a:gd name="connsiteX5" fmla="*/ 31089 w 62177"/>
                  <a:gd name="connsiteY5" fmla="*/ 10189 h 72366"/>
                  <a:gd name="connsiteX6" fmla="*/ 8621 w 62177"/>
                  <a:gd name="connsiteY6" fmla="*/ 36183 h 72366"/>
                  <a:gd name="connsiteX7" fmla="*/ 31089 w 62177"/>
                  <a:gd name="connsiteY7" fmla="*/ 62178 h 72366"/>
                  <a:gd name="connsiteX8" fmla="*/ 53556 w 62177"/>
                  <a:gd name="connsiteY8" fmla="*/ 36183 h 72366"/>
                  <a:gd name="connsiteX9" fmla="*/ 31089 w 62177"/>
                  <a:gd name="connsiteY9" fmla="*/ 10189 h 72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177" h="72366">
                    <a:moveTo>
                      <a:pt x="31089" y="72366"/>
                    </a:moveTo>
                    <a:cubicBezTo>
                      <a:pt x="13977" y="72366"/>
                      <a:pt x="0" y="56169"/>
                      <a:pt x="0" y="36183"/>
                    </a:cubicBezTo>
                    <a:cubicBezTo>
                      <a:pt x="0" y="16198"/>
                      <a:pt x="13977" y="0"/>
                      <a:pt x="31089" y="0"/>
                    </a:cubicBezTo>
                    <a:cubicBezTo>
                      <a:pt x="48201" y="0"/>
                      <a:pt x="62177" y="16198"/>
                      <a:pt x="62177" y="36183"/>
                    </a:cubicBezTo>
                    <a:cubicBezTo>
                      <a:pt x="62177" y="56169"/>
                      <a:pt x="48201" y="72366"/>
                      <a:pt x="31089" y="72366"/>
                    </a:cubicBezTo>
                    <a:close/>
                    <a:moveTo>
                      <a:pt x="31089" y="10189"/>
                    </a:moveTo>
                    <a:cubicBezTo>
                      <a:pt x="18679" y="10189"/>
                      <a:pt x="8621" y="21815"/>
                      <a:pt x="8621" y="36183"/>
                    </a:cubicBezTo>
                    <a:cubicBezTo>
                      <a:pt x="8621" y="50552"/>
                      <a:pt x="18679" y="62178"/>
                      <a:pt x="31089" y="62178"/>
                    </a:cubicBezTo>
                    <a:cubicBezTo>
                      <a:pt x="43498" y="62178"/>
                      <a:pt x="53556" y="50552"/>
                      <a:pt x="53556" y="36183"/>
                    </a:cubicBezTo>
                    <a:cubicBezTo>
                      <a:pt x="53556" y="21815"/>
                      <a:pt x="43498" y="10189"/>
                      <a:pt x="31089" y="101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1" name="Graphic 717">
              <a:extLst>
                <a:ext uri="{FF2B5EF4-FFF2-40B4-BE49-F238E27FC236}">
                  <a16:creationId xmlns:a16="http://schemas.microsoft.com/office/drawing/2014/main" id="{337107D9-9D49-9A47-CE73-3CDE59F1E081}"/>
                </a:ext>
              </a:extLst>
            </p:cNvPr>
            <p:cNvGrpSpPr/>
            <p:nvPr/>
          </p:nvGrpSpPr>
          <p:grpSpPr>
            <a:xfrm>
              <a:off x="3662415" y="4983990"/>
              <a:ext cx="72366" cy="72366"/>
              <a:chOff x="3662415" y="4983990"/>
              <a:chExt cx="72366" cy="72366"/>
            </a:xfrm>
            <a:grpFill/>
          </p:grpSpPr>
          <p:sp>
            <p:nvSpPr>
              <p:cNvPr id="97" name="Freeform: Shape 96">
                <a:extLst>
                  <a:ext uri="{FF2B5EF4-FFF2-40B4-BE49-F238E27FC236}">
                    <a16:creationId xmlns:a16="http://schemas.microsoft.com/office/drawing/2014/main" id="{1BB3D1FD-ECD1-E48A-9864-14088D781630}"/>
                  </a:ext>
                </a:extLst>
              </p:cNvPr>
              <p:cNvSpPr/>
              <p:nvPr/>
            </p:nvSpPr>
            <p:spPr>
              <a:xfrm>
                <a:off x="3667509" y="4989215"/>
                <a:ext cx="62177" cy="62177"/>
              </a:xfrm>
              <a:custGeom>
                <a:avLst/>
                <a:gdLst>
                  <a:gd name="connsiteX0" fmla="*/ 0 w 62177"/>
                  <a:gd name="connsiteY0" fmla="*/ 31089 h 62177"/>
                  <a:gd name="connsiteX1" fmla="*/ 31089 w 62177"/>
                  <a:gd name="connsiteY1" fmla="*/ 0 h 62177"/>
                  <a:gd name="connsiteX2" fmla="*/ 62178 w 62177"/>
                  <a:gd name="connsiteY2" fmla="*/ 31089 h 62177"/>
                  <a:gd name="connsiteX3" fmla="*/ 31089 w 62177"/>
                  <a:gd name="connsiteY3" fmla="*/ 62177 h 62177"/>
                  <a:gd name="connsiteX4" fmla="*/ 0 w 62177"/>
                  <a:gd name="connsiteY4" fmla="*/ 31089 h 62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77" h="62177">
                    <a:moveTo>
                      <a:pt x="0" y="31089"/>
                    </a:moveTo>
                    <a:cubicBezTo>
                      <a:pt x="0" y="13977"/>
                      <a:pt x="13977" y="0"/>
                      <a:pt x="31089" y="0"/>
                    </a:cubicBezTo>
                    <a:cubicBezTo>
                      <a:pt x="48201" y="0"/>
                      <a:pt x="62178" y="13977"/>
                      <a:pt x="62178" y="31089"/>
                    </a:cubicBezTo>
                    <a:cubicBezTo>
                      <a:pt x="62178" y="48201"/>
                      <a:pt x="48201" y="62177"/>
                      <a:pt x="31089" y="62177"/>
                    </a:cubicBezTo>
                    <a:cubicBezTo>
                      <a:pt x="13977" y="62177"/>
                      <a:pt x="0" y="48201"/>
                      <a:pt x="0" y="310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C96DB3BD-A1B2-EEFF-5857-3DCB1CBBC9F8}"/>
                  </a:ext>
                </a:extLst>
              </p:cNvPr>
              <p:cNvSpPr/>
              <p:nvPr/>
            </p:nvSpPr>
            <p:spPr>
              <a:xfrm>
                <a:off x="3662415" y="4983990"/>
                <a:ext cx="72366" cy="72366"/>
              </a:xfrm>
              <a:custGeom>
                <a:avLst/>
                <a:gdLst>
                  <a:gd name="connsiteX0" fmla="*/ 36183 w 72366"/>
                  <a:gd name="connsiteY0" fmla="*/ 72366 h 72366"/>
                  <a:gd name="connsiteX1" fmla="*/ 0 w 72366"/>
                  <a:gd name="connsiteY1" fmla="*/ 36183 h 72366"/>
                  <a:gd name="connsiteX2" fmla="*/ 36183 w 72366"/>
                  <a:gd name="connsiteY2" fmla="*/ 0 h 72366"/>
                  <a:gd name="connsiteX3" fmla="*/ 72366 w 72366"/>
                  <a:gd name="connsiteY3" fmla="*/ 36183 h 72366"/>
                  <a:gd name="connsiteX4" fmla="*/ 36183 w 72366"/>
                  <a:gd name="connsiteY4" fmla="*/ 72366 h 72366"/>
                  <a:gd name="connsiteX5" fmla="*/ 36183 w 72366"/>
                  <a:gd name="connsiteY5" fmla="*/ 10189 h 72366"/>
                  <a:gd name="connsiteX6" fmla="*/ 10189 w 72366"/>
                  <a:gd name="connsiteY6" fmla="*/ 36183 h 72366"/>
                  <a:gd name="connsiteX7" fmla="*/ 36183 w 72366"/>
                  <a:gd name="connsiteY7" fmla="*/ 62177 h 72366"/>
                  <a:gd name="connsiteX8" fmla="*/ 62178 w 72366"/>
                  <a:gd name="connsiteY8" fmla="*/ 36183 h 72366"/>
                  <a:gd name="connsiteX9" fmla="*/ 36183 w 72366"/>
                  <a:gd name="connsiteY9" fmla="*/ 10189 h 72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66" h="72366">
                    <a:moveTo>
                      <a:pt x="36183" y="72366"/>
                    </a:moveTo>
                    <a:cubicBezTo>
                      <a:pt x="16328" y="72366"/>
                      <a:pt x="0" y="56168"/>
                      <a:pt x="0" y="36183"/>
                    </a:cubicBezTo>
                    <a:cubicBezTo>
                      <a:pt x="0" y="16197"/>
                      <a:pt x="16198" y="0"/>
                      <a:pt x="36183" y="0"/>
                    </a:cubicBezTo>
                    <a:cubicBezTo>
                      <a:pt x="56169" y="0"/>
                      <a:pt x="72366" y="16197"/>
                      <a:pt x="72366" y="36183"/>
                    </a:cubicBezTo>
                    <a:cubicBezTo>
                      <a:pt x="72366" y="56168"/>
                      <a:pt x="56169" y="72366"/>
                      <a:pt x="36183" y="72366"/>
                    </a:cubicBezTo>
                    <a:close/>
                    <a:moveTo>
                      <a:pt x="36183" y="10189"/>
                    </a:moveTo>
                    <a:cubicBezTo>
                      <a:pt x="21815" y="10189"/>
                      <a:pt x="10189" y="21814"/>
                      <a:pt x="10189" y="36183"/>
                    </a:cubicBezTo>
                    <a:cubicBezTo>
                      <a:pt x="10189" y="50552"/>
                      <a:pt x="21815" y="62177"/>
                      <a:pt x="36183" y="62177"/>
                    </a:cubicBezTo>
                    <a:cubicBezTo>
                      <a:pt x="50552" y="62177"/>
                      <a:pt x="62178" y="50552"/>
                      <a:pt x="62178" y="36183"/>
                    </a:cubicBezTo>
                    <a:cubicBezTo>
                      <a:pt x="62178" y="21814"/>
                      <a:pt x="50552" y="10189"/>
                      <a:pt x="36183" y="101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92" name="Graphic 717">
              <a:extLst>
                <a:ext uri="{FF2B5EF4-FFF2-40B4-BE49-F238E27FC236}">
                  <a16:creationId xmlns:a16="http://schemas.microsoft.com/office/drawing/2014/main" id="{45610AB5-BFE0-2595-DE63-03E51AA976F4}"/>
                </a:ext>
              </a:extLst>
            </p:cNvPr>
            <p:cNvGrpSpPr/>
            <p:nvPr/>
          </p:nvGrpSpPr>
          <p:grpSpPr>
            <a:xfrm>
              <a:off x="3557915" y="5188810"/>
              <a:ext cx="72366" cy="72366"/>
              <a:chOff x="3557915" y="5188810"/>
              <a:chExt cx="72366" cy="72366"/>
            </a:xfrm>
            <a:grpFill/>
          </p:grpSpPr>
          <p:sp>
            <p:nvSpPr>
              <p:cNvPr id="95" name="Freeform: Shape 94">
                <a:extLst>
                  <a:ext uri="{FF2B5EF4-FFF2-40B4-BE49-F238E27FC236}">
                    <a16:creationId xmlns:a16="http://schemas.microsoft.com/office/drawing/2014/main" id="{77C88A27-DF49-B463-514B-D1D647529342}"/>
                  </a:ext>
                </a:extLst>
              </p:cNvPr>
              <p:cNvSpPr/>
              <p:nvPr/>
            </p:nvSpPr>
            <p:spPr>
              <a:xfrm>
                <a:off x="3563010" y="5194035"/>
                <a:ext cx="62177" cy="62177"/>
              </a:xfrm>
              <a:custGeom>
                <a:avLst/>
                <a:gdLst>
                  <a:gd name="connsiteX0" fmla="*/ 0 w 62177"/>
                  <a:gd name="connsiteY0" fmla="*/ 31089 h 62177"/>
                  <a:gd name="connsiteX1" fmla="*/ 31089 w 62177"/>
                  <a:gd name="connsiteY1" fmla="*/ 0 h 62177"/>
                  <a:gd name="connsiteX2" fmla="*/ 62178 w 62177"/>
                  <a:gd name="connsiteY2" fmla="*/ 31089 h 62177"/>
                  <a:gd name="connsiteX3" fmla="*/ 31089 w 62177"/>
                  <a:gd name="connsiteY3" fmla="*/ 62177 h 62177"/>
                  <a:gd name="connsiteX4" fmla="*/ 0 w 62177"/>
                  <a:gd name="connsiteY4" fmla="*/ 31089 h 62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77" h="62177">
                    <a:moveTo>
                      <a:pt x="0" y="31089"/>
                    </a:moveTo>
                    <a:cubicBezTo>
                      <a:pt x="0" y="13977"/>
                      <a:pt x="13977" y="0"/>
                      <a:pt x="31089" y="0"/>
                    </a:cubicBezTo>
                    <a:cubicBezTo>
                      <a:pt x="48201" y="0"/>
                      <a:pt x="62178" y="13977"/>
                      <a:pt x="62178" y="31089"/>
                    </a:cubicBezTo>
                    <a:cubicBezTo>
                      <a:pt x="62178" y="48200"/>
                      <a:pt x="48201" y="62177"/>
                      <a:pt x="31089" y="62177"/>
                    </a:cubicBezTo>
                    <a:cubicBezTo>
                      <a:pt x="13977" y="62177"/>
                      <a:pt x="0" y="48200"/>
                      <a:pt x="0" y="310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14CD452F-4DC5-F818-C584-2FD64292FDFD}"/>
                  </a:ext>
                </a:extLst>
              </p:cNvPr>
              <p:cNvSpPr/>
              <p:nvPr/>
            </p:nvSpPr>
            <p:spPr>
              <a:xfrm>
                <a:off x="3557915" y="5188810"/>
                <a:ext cx="72366" cy="72366"/>
              </a:xfrm>
              <a:custGeom>
                <a:avLst/>
                <a:gdLst>
                  <a:gd name="connsiteX0" fmla="*/ 36183 w 72366"/>
                  <a:gd name="connsiteY0" fmla="*/ 72366 h 72366"/>
                  <a:gd name="connsiteX1" fmla="*/ 0 w 72366"/>
                  <a:gd name="connsiteY1" fmla="*/ 36183 h 72366"/>
                  <a:gd name="connsiteX2" fmla="*/ 36183 w 72366"/>
                  <a:gd name="connsiteY2" fmla="*/ 0 h 72366"/>
                  <a:gd name="connsiteX3" fmla="*/ 72366 w 72366"/>
                  <a:gd name="connsiteY3" fmla="*/ 36183 h 72366"/>
                  <a:gd name="connsiteX4" fmla="*/ 36183 w 72366"/>
                  <a:gd name="connsiteY4" fmla="*/ 72366 h 72366"/>
                  <a:gd name="connsiteX5" fmla="*/ 36183 w 72366"/>
                  <a:gd name="connsiteY5" fmla="*/ 10189 h 72366"/>
                  <a:gd name="connsiteX6" fmla="*/ 10189 w 72366"/>
                  <a:gd name="connsiteY6" fmla="*/ 36183 h 72366"/>
                  <a:gd name="connsiteX7" fmla="*/ 36183 w 72366"/>
                  <a:gd name="connsiteY7" fmla="*/ 62178 h 72366"/>
                  <a:gd name="connsiteX8" fmla="*/ 62178 w 72366"/>
                  <a:gd name="connsiteY8" fmla="*/ 36183 h 72366"/>
                  <a:gd name="connsiteX9" fmla="*/ 36183 w 72366"/>
                  <a:gd name="connsiteY9" fmla="*/ 10189 h 72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66" h="72366">
                    <a:moveTo>
                      <a:pt x="36183" y="72366"/>
                    </a:moveTo>
                    <a:cubicBezTo>
                      <a:pt x="16328" y="72366"/>
                      <a:pt x="0" y="56169"/>
                      <a:pt x="0" y="36183"/>
                    </a:cubicBezTo>
                    <a:cubicBezTo>
                      <a:pt x="0" y="16198"/>
                      <a:pt x="16198" y="0"/>
                      <a:pt x="36183" y="0"/>
                    </a:cubicBezTo>
                    <a:cubicBezTo>
                      <a:pt x="56169" y="0"/>
                      <a:pt x="72366" y="16198"/>
                      <a:pt x="72366" y="36183"/>
                    </a:cubicBezTo>
                    <a:cubicBezTo>
                      <a:pt x="72366" y="56169"/>
                      <a:pt x="56169" y="72366"/>
                      <a:pt x="36183" y="72366"/>
                    </a:cubicBezTo>
                    <a:close/>
                    <a:moveTo>
                      <a:pt x="36183" y="10189"/>
                    </a:moveTo>
                    <a:cubicBezTo>
                      <a:pt x="21815" y="10189"/>
                      <a:pt x="10189" y="21814"/>
                      <a:pt x="10189" y="36183"/>
                    </a:cubicBezTo>
                    <a:cubicBezTo>
                      <a:pt x="10189" y="50552"/>
                      <a:pt x="21815" y="62178"/>
                      <a:pt x="36183" y="62178"/>
                    </a:cubicBezTo>
                    <a:cubicBezTo>
                      <a:pt x="50552" y="62178"/>
                      <a:pt x="62178" y="50552"/>
                      <a:pt x="62178" y="36183"/>
                    </a:cubicBezTo>
                    <a:cubicBezTo>
                      <a:pt x="62178" y="21814"/>
                      <a:pt x="50552" y="10189"/>
                      <a:pt x="36183" y="101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sp>
          <p:nvSpPr>
            <p:cNvPr id="93" name="Freeform: Shape 92">
              <a:extLst>
                <a:ext uri="{FF2B5EF4-FFF2-40B4-BE49-F238E27FC236}">
                  <a16:creationId xmlns:a16="http://schemas.microsoft.com/office/drawing/2014/main" id="{12C0DB0A-BB6B-A1BF-57C8-B5A757A174AB}"/>
                </a:ext>
              </a:extLst>
            </p:cNvPr>
            <p:cNvSpPr/>
            <p:nvPr/>
          </p:nvSpPr>
          <p:spPr>
            <a:xfrm>
              <a:off x="3175071" y="5132528"/>
              <a:ext cx="105641" cy="131391"/>
            </a:xfrm>
            <a:custGeom>
              <a:avLst/>
              <a:gdLst>
                <a:gd name="connsiteX0" fmla="*/ 5077 w 105641"/>
                <a:gd name="connsiteY0" fmla="*/ 131261 h 131391"/>
                <a:gd name="connsiteX1" fmla="*/ 1942 w 105641"/>
                <a:gd name="connsiteY1" fmla="*/ 130216 h 131391"/>
                <a:gd name="connsiteX2" fmla="*/ 1158 w 105641"/>
                <a:gd name="connsiteY2" fmla="*/ 123162 h 131391"/>
                <a:gd name="connsiteX3" fmla="*/ 96645 w 105641"/>
                <a:gd name="connsiteY3" fmla="*/ 1942 h 131391"/>
                <a:gd name="connsiteX4" fmla="*/ 103699 w 105641"/>
                <a:gd name="connsiteY4" fmla="*/ 1158 h 131391"/>
                <a:gd name="connsiteX5" fmla="*/ 104483 w 105641"/>
                <a:gd name="connsiteY5" fmla="*/ 8212 h 131391"/>
                <a:gd name="connsiteX6" fmla="*/ 8996 w 105641"/>
                <a:gd name="connsiteY6" fmla="*/ 129432 h 131391"/>
                <a:gd name="connsiteX7" fmla="*/ 5077 w 105641"/>
                <a:gd name="connsiteY7" fmla="*/ 131391 h 131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1" h="131391">
                  <a:moveTo>
                    <a:pt x="5077" y="131261"/>
                  </a:moveTo>
                  <a:cubicBezTo>
                    <a:pt x="4032" y="131261"/>
                    <a:pt x="2857" y="130869"/>
                    <a:pt x="1942" y="130216"/>
                  </a:cubicBezTo>
                  <a:cubicBezTo>
                    <a:pt x="-278" y="128518"/>
                    <a:pt x="-670" y="125383"/>
                    <a:pt x="1158" y="123162"/>
                  </a:cubicBezTo>
                  <a:lnTo>
                    <a:pt x="96645" y="1942"/>
                  </a:lnTo>
                  <a:cubicBezTo>
                    <a:pt x="98343" y="-278"/>
                    <a:pt x="101478" y="-670"/>
                    <a:pt x="103699" y="1158"/>
                  </a:cubicBezTo>
                  <a:cubicBezTo>
                    <a:pt x="105920" y="2857"/>
                    <a:pt x="106311" y="5992"/>
                    <a:pt x="104483" y="8212"/>
                  </a:cubicBezTo>
                  <a:lnTo>
                    <a:pt x="8996" y="129432"/>
                  </a:lnTo>
                  <a:cubicBezTo>
                    <a:pt x="7951" y="130738"/>
                    <a:pt x="6514" y="131391"/>
                    <a:pt x="5077" y="13139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793C1AD6-1EB8-C23D-D5B8-4360D68B84C6}"/>
                </a:ext>
              </a:extLst>
            </p:cNvPr>
            <p:cNvSpPr/>
            <p:nvPr/>
          </p:nvSpPr>
          <p:spPr>
            <a:xfrm>
              <a:off x="3346888" y="5121209"/>
              <a:ext cx="75506" cy="50358"/>
            </a:xfrm>
            <a:custGeom>
              <a:avLst/>
              <a:gdLst>
                <a:gd name="connsiteX0" fmla="*/ 70475 w 75506"/>
                <a:gd name="connsiteY0" fmla="*/ 50359 h 50358"/>
                <a:gd name="connsiteX1" fmla="*/ 67862 w 75506"/>
                <a:gd name="connsiteY1" fmla="*/ 49575 h 50358"/>
                <a:gd name="connsiteX2" fmla="*/ 2419 w 75506"/>
                <a:gd name="connsiteY2" fmla="*/ 9342 h 50358"/>
                <a:gd name="connsiteX3" fmla="*/ 721 w 75506"/>
                <a:gd name="connsiteY3" fmla="*/ 2419 h 50358"/>
                <a:gd name="connsiteX4" fmla="*/ 7644 w 75506"/>
                <a:gd name="connsiteY4" fmla="*/ 721 h 50358"/>
                <a:gd name="connsiteX5" fmla="*/ 73087 w 75506"/>
                <a:gd name="connsiteY5" fmla="*/ 40954 h 50358"/>
                <a:gd name="connsiteX6" fmla="*/ 74785 w 75506"/>
                <a:gd name="connsiteY6" fmla="*/ 47877 h 50358"/>
                <a:gd name="connsiteX7" fmla="*/ 70475 w 75506"/>
                <a:gd name="connsiteY7" fmla="*/ 50228 h 5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06" h="50358">
                  <a:moveTo>
                    <a:pt x="70475" y="50359"/>
                  </a:moveTo>
                  <a:cubicBezTo>
                    <a:pt x="69560" y="50359"/>
                    <a:pt x="68646" y="50097"/>
                    <a:pt x="67862" y="49575"/>
                  </a:cubicBezTo>
                  <a:lnTo>
                    <a:pt x="2419" y="9342"/>
                  </a:lnTo>
                  <a:cubicBezTo>
                    <a:pt x="68" y="7906"/>
                    <a:pt x="-716" y="4771"/>
                    <a:pt x="721" y="2419"/>
                  </a:cubicBezTo>
                  <a:cubicBezTo>
                    <a:pt x="2158" y="68"/>
                    <a:pt x="5293" y="-716"/>
                    <a:pt x="7644" y="721"/>
                  </a:cubicBezTo>
                  <a:lnTo>
                    <a:pt x="73087" y="40954"/>
                  </a:lnTo>
                  <a:cubicBezTo>
                    <a:pt x="75439" y="42391"/>
                    <a:pt x="76222" y="45525"/>
                    <a:pt x="74785" y="47877"/>
                  </a:cubicBezTo>
                  <a:cubicBezTo>
                    <a:pt x="73871" y="49444"/>
                    <a:pt x="72173" y="50228"/>
                    <a:pt x="70475" y="5022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sp>
        <p:nvSpPr>
          <p:cNvPr id="131" name="Freeform: Shape 130">
            <a:extLst>
              <a:ext uri="{FF2B5EF4-FFF2-40B4-BE49-F238E27FC236}">
                <a16:creationId xmlns:a16="http://schemas.microsoft.com/office/drawing/2014/main" id="{016B6860-569B-2F78-DCAF-3E19CFCBE609}"/>
              </a:ext>
            </a:extLst>
          </p:cNvPr>
          <p:cNvSpPr/>
          <p:nvPr/>
        </p:nvSpPr>
        <p:spPr>
          <a:xfrm>
            <a:off x="6178867" y="2691691"/>
            <a:ext cx="44836" cy="46156"/>
          </a:xfrm>
          <a:custGeom>
            <a:avLst/>
            <a:gdLst>
              <a:gd name="connsiteX0" fmla="*/ 34485 w 34484"/>
              <a:gd name="connsiteY0" fmla="*/ 17243 h 34484"/>
              <a:gd name="connsiteX1" fmla="*/ 17242 w 34484"/>
              <a:gd name="connsiteY1" fmla="*/ 34485 h 34484"/>
              <a:gd name="connsiteX2" fmla="*/ 0 w 34484"/>
              <a:gd name="connsiteY2" fmla="*/ 17243 h 34484"/>
              <a:gd name="connsiteX3" fmla="*/ 17242 w 34484"/>
              <a:gd name="connsiteY3" fmla="*/ 0 h 34484"/>
              <a:gd name="connsiteX4" fmla="*/ 34485 w 34484"/>
              <a:gd name="connsiteY4" fmla="*/ 17243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34485" y="17243"/>
                </a:moveTo>
                <a:cubicBezTo>
                  <a:pt x="34485" y="26765"/>
                  <a:pt x="26765" y="34485"/>
                  <a:pt x="17242" y="34485"/>
                </a:cubicBezTo>
                <a:cubicBezTo>
                  <a:pt x="7720" y="34485"/>
                  <a:pt x="0" y="26765"/>
                  <a:pt x="0" y="17243"/>
                </a:cubicBezTo>
                <a:cubicBezTo>
                  <a:pt x="0" y="7720"/>
                  <a:pt x="7720" y="0"/>
                  <a:pt x="17242" y="0"/>
                </a:cubicBezTo>
                <a:cubicBezTo>
                  <a:pt x="26765" y="0"/>
                  <a:pt x="34485" y="7720"/>
                  <a:pt x="34485" y="17243"/>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374B57D3-4576-2829-3ED5-A107EE410E0F}"/>
              </a:ext>
            </a:extLst>
          </p:cNvPr>
          <p:cNvSpPr/>
          <p:nvPr/>
        </p:nvSpPr>
        <p:spPr>
          <a:xfrm>
            <a:off x="6173942" y="2686621"/>
            <a:ext cx="54687" cy="56298"/>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576 h 42061"/>
              <a:gd name="connsiteX6" fmla="*/ 7576 w 42061"/>
              <a:gd name="connsiteY6" fmla="*/ 21031 h 42061"/>
              <a:gd name="connsiteX7" fmla="*/ 21031 w 42061"/>
              <a:gd name="connsiteY7" fmla="*/ 34485 h 42061"/>
              <a:gd name="connsiteX8" fmla="*/ 34485 w 42061"/>
              <a:gd name="connsiteY8" fmla="*/ 21031 h 42061"/>
              <a:gd name="connsiteX9" fmla="*/ 21031 w 42061"/>
              <a:gd name="connsiteY9" fmla="*/ 757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576"/>
                </a:moveTo>
                <a:cubicBezTo>
                  <a:pt x="13585" y="7576"/>
                  <a:pt x="7576" y="13585"/>
                  <a:pt x="7576" y="21031"/>
                </a:cubicBezTo>
                <a:cubicBezTo>
                  <a:pt x="7576" y="28476"/>
                  <a:pt x="13585" y="34485"/>
                  <a:pt x="21031" y="34485"/>
                </a:cubicBezTo>
                <a:cubicBezTo>
                  <a:pt x="28476" y="34485"/>
                  <a:pt x="34485" y="28476"/>
                  <a:pt x="34485" y="21031"/>
                </a:cubicBezTo>
                <a:cubicBezTo>
                  <a:pt x="34485" y="13585"/>
                  <a:pt x="28476" y="7576"/>
                  <a:pt x="21031" y="7576"/>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284CE890-2D39-B5B4-1E53-BBAECCABBDCF}"/>
              </a:ext>
            </a:extLst>
          </p:cNvPr>
          <p:cNvSpPr/>
          <p:nvPr/>
        </p:nvSpPr>
        <p:spPr>
          <a:xfrm>
            <a:off x="6178867" y="2938914"/>
            <a:ext cx="44836" cy="46156"/>
          </a:xfrm>
          <a:custGeom>
            <a:avLst/>
            <a:gdLst>
              <a:gd name="connsiteX0" fmla="*/ 34485 w 34484"/>
              <a:gd name="connsiteY0" fmla="*/ 17242 h 34484"/>
              <a:gd name="connsiteX1" fmla="*/ 17242 w 34484"/>
              <a:gd name="connsiteY1" fmla="*/ 34485 h 34484"/>
              <a:gd name="connsiteX2" fmla="*/ 0 w 34484"/>
              <a:gd name="connsiteY2" fmla="*/ 17242 h 34484"/>
              <a:gd name="connsiteX3" fmla="*/ 17242 w 34484"/>
              <a:gd name="connsiteY3" fmla="*/ 0 h 34484"/>
              <a:gd name="connsiteX4" fmla="*/ 34485 w 34484"/>
              <a:gd name="connsiteY4" fmla="*/ 17242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34485" y="17242"/>
                </a:moveTo>
                <a:cubicBezTo>
                  <a:pt x="34485" y="26765"/>
                  <a:pt x="26765" y="34485"/>
                  <a:pt x="17242" y="34485"/>
                </a:cubicBezTo>
                <a:cubicBezTo>
                  <a:pt x="7720" y="34485"/>
                  <a:pt x="0" y="26765"/>
                  <a:pt x="0" y="17242"/>
                </a:cubicBezTo>
                <a:cubicBezTo>
                  <a:pt x="0" y="7720"/>
                  <a:pt x="7720" y="0"/>
                  <a:pt x="17242" y="0"/>
                </a:cubicBezTo>
                <a:cubicBezTo>
                  <a:pt x="26765" y="0"/>
                  <a:pt x="34485" y="7720"/>
                  <a:pt x="34485" y="17242"/>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2B7E9272-4B36-9D86-A6B1-D3D5389B7B8C}"/>
              </a:ext>
            </a:extLst>
          </p:cNvPr>
          <p:cNvSpPr/>
          <p:nvPr/>
        </p:nvSpPr>
        <p:spPr>
          <a:xfrm>
            <a:off x="6173942" y="2933844"/>
            <a:ext cx="54687" cy="56298"/>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576 h 42061"/>
              <a:gd name="connsiteX6" fmla="*/ 7576 w 42061"/>
              <a:gd name="connsiteY6" fmla="*/ 21031 h 42061"/>
              <a:gd name="connsiteX7" fmla="*/ 21031 w 42061"/>
              <a:gd name="connsiteY7" fmla="*/ 34485 h 42061"/>
              <a:gd name="connsiteX8" fmla="*/ 34485 w 42061"/>
              <a:gd name="connsiteY8" fmla="*/ 21031 h 42061"/>
              <a:gd name="connsiteX9" fmla="*/ 21031 w 42061"/>
              <a:gd name="connsiteY9" fmla="*/ 757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576"/>
                </a:moveTo>
                <a:cubicBezTo>
                  <a:pt x="13585" y="7576"/>
                  <a:pt x="7576" y="13585"/>
                  <a:pt x="7576" y="21031"/>
                </a:cubicBezTo>
                <a:cubicBezTo>
                  <a:pt x="7576" y="28476"/>
                  <a:pt x="13585" y="34485"/>
                  <a:pt x="21031" y="34485"/>
                </a:cubicBezTo>
                <a:cubicBezTo>
                  <a:pt x="28476" y="34485"/>
                  <a:pt x="34485" y="28476"/>
                  <a:pt x="34485" y="21031"/>
                </a:cubicBezTo>
                <a:cubicBezTo>
                  <a:pt x="34485" y="13585"/>
                  <a:pt x="28476" y="7576"/>
                  <a:pt x="21031" y="7576"/>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42970312-BD5F-5867-9EC1-9728A2C327D6}"/>
              </a:ext>
            </a:extLst>
          </p:cNvPr>
          <p:cNvSpPr/>
          <p:nvPr/>
        </p:nvSpPr>
        <p:spPr>
          <a:xfrm>
            <a:off x="6178867" y="2938914"/>
            <a:ext cx="44836" cy="46156"/>
          </a:xfrm>
          <a:custGeom>
            <a:avLst/>
            <a:gdLst>
              <a:gd name="connsiteX0" fmla="*/ 34485 w 34484"/>
              <a:gd name="connsiteY0" fmla="*/ 17242 h 34484"/>
              <a:gd name="connsiteX1" fmla="*/ 17242 w 34484"/>
              <a:gd name="connsiteY1" fmla="*/ 34485 h 34484"/>
              <a:gd name="connsiteX2" fmla="*/ 0 w 34484"/>
              <a:gd name="connsiteY2" fmla="*/ 17242 h 34484"/>
              <a:gd name="connsiteX3" fmla="*/ 17242 w 34484"/>
              <a:gd name="connsiteY3" fmla="*/ 0 h 34484"/>
              <a:gd name="connsiteX4" fmla="*/ 34485 w 34484"/>
              <a:gd name="connsiteY4" fmla="*/ 17242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34485" y="17242"/>
                </a:moveTo>
                <a:cubicBezTo>
                  <a:pt x="34485" y="26765"/>
                  <a:pt x="26765" y="34485"/>
                  <a:pt x="17242" y="34485"/>
                </a:cubicBezTo>
                <a:cubicBezTo>
                  <a:pt x="7720" y="34485"/>
                  <a:pt x="0" y="26765"/>
                  <a:pt x="0" y="17242"/>
                </a:cubicBezTo>
                <a:cubicBezTo>
                  <a:pt x="0" y="7720"/>
                  <a:pt x="7720" y="0"/>
                  <a:pt x="17242" y="0"/>
                </a:cubicBezTo>
                <a:cubicBezTo>
                  <a:pt x="26765" y="0"/>
                  <a:pt x="34485" y="7720"/>
                  <a:pt x="34485" y="17242"/>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5DEA4F95-D8FF-FD78-2B09-060E81096A7C}"/>
              </a:ext>
            </a:extLst>
          </p:cNvPr>
          <p:cNvSpPr/>
          <p:nvPr/>
        </p:nvSpPr>
        <p:spPr>
          <a:xfrm>
            <a:off x="6173942" y="2933844"/>
            <a:ext cx="54687" cy="56298"/>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576 h 42061"/>
              <a:gd name="connsiteX6" fmla="*/ 7576 w 42061"/>
              <a:gd name="connsiteY6" fmla="*/ 21031 h 42061"/>
              <a:gd name="connsiteX7" fmla="*/ 21031 w 42061"/>
              <a:gd name="connsiteY7" fmla="*/ 34485 h 42061"/>
              <a:gd name="connsiteX8" fmla="*/ 34485 w 42061"/>
              <a:gd name="connsiteY8" fmla="*/ 21031 h 42061"/>
              <a:gd name="connsiteX9" fmla="*/ 21031 w 42061"/>
              <a:gd name="connsiteY9" fmla="*/ 757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576"/>
                </a:moveTo>
                <a:cubicBezTo>
                  <a:pt x="13585" y="7576"/>
                  <a:pt x="7576" y="13585"/>
                  <a:pt x="7576" y="21031"/>
                </a:cubicBezTo>
                <a:cubicBezTo>
                  <a:pt x="7576" y="28476"/>
                  <a:pt x="13585" y="34485"/>
                  <a:pt x="21031" y="34485"/>
                </a:cubicBezTo>
                <a:cubicBezTo>
                  <a:pt x="28476" y="34485"/>
                  <a:pt x="34485" y="28476"/>
                  <a:pt x="34485" y="21031"/>
                </a:cubicBezTo>
                <a:cubicBezTo>
                  <a:pt x="34485" y="13585"/>
                  <a:pt x="28476" y="7576"/>
                  <a:pt x="21031" y="7576"/>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84DE6997-EC00-CA93-5141-76B42A5C5B93}"/>
              </a:ext>
            </a:extLst>
          </p:cNvPr>
          <p:cNvSpPr/>
          <p:nvPr/>
        </p:nvSpPr>
        <p:spPr>
          <a:xfrm>
            <a:off x="6294017" y="2938914"/>
            <a:ext cx="44836" cy="46156"/>
          </a:xfrm>
          <a:custGeom>
            <a:avLst/>
            <a:gdLst>
              <a:gd name="connsiteX0" fmla="*/ 0 w 34484"/>
              <a:gd name="connsiteY0" fmla="*/ 17243 h 34484"/>
              <a:gd name="connsiteX1" fmla="*/ 17242 w 34484"/>
              <a:gd name="connsiteY1" fmla="*/ 0 h 34484"/>
              <a:gd name="connsiteX2" fmla="*/ 34485 w 34484"/>
              <a:gd name="connsiteY2" fmla="*/ 17243 h 34484"/>
              <a:gd name="connsiteX3" fmla="*/ 17242 w 34484"/>
              <a:gd name="connsiteY3" fmla="*/ 34485 h 34484"/>
              <a:gd name="connsiteX4" fmla="*/ 0 w 34484"/>
              <a:gd name="connsiteY4" fmla="*/ 17243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0" y="17243"/>
                </a:moveTo>
                <a:cubicBezTo>
                  <a:pt x="0" y="7707"/>
                  <a:pt x="7707" y="0"/>
                  <a:pt x="17242" y="0"/>
                </a:cubicBezTo>
                <a:cubicBezTo>
                  <a:pt x="26778" y="0"/>
                  <a:pt x="34485" y="7707"/>
                  <a:pt x="34485" y="17243"/>
                </a:cubicBezTo>
                <a:cubicBezTo>
                  <a:pt x="34485" y="26778"/>
                  <a:pt x="26778" y="34485"/>
                  <a:pt x="17242" y="34485"/>
                </a:cubicBezTo>
                <a:cubicBezTo>
                  <a:pt x="7707" y="34485"/>
                  <a:pt x="0" y="26778"/>
                  <a:pt x="0" y="17243"/>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D35EC692-D208-A365-60E9-89F540E97C60}"/>
              </a:ext>
            </a:extLst>
          </p:cNvPr>
          <p:cNvSpPr/>
          <p:nvPr/>
        </p:nvSpPr>
        <p:spPr>
          <a:xfrm>
            <a:off x="6289092" y="2933844"/>
            <a:ext cx="54687" cy="56298"/>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576 h 42061"/>
              <a:gd name="connsiteX6" fmla="*/ 7576 w 42061"/>
              <a:gd name="connsiteY6" fmla="*/ 21031 h 42061"/>
              <a:gd name="connsiteX7" fmla="*/ 21031 w 42061"/>
              <a:gd name="connsiteY7" fmla="*/ 34485 h 42061"/>
              <a:gd name="connsiteX8" fmla="*/ 34485 w 42061"/>
              <a:gd name="connsiteY8" fmla="*/ 21031 h 42061"/>
              <a:gd name="connsiteX9" fmla="*/ 21031 w 42061"/>
              <a:gd name="connsiteY9" fmla="*/ 757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576"/>
                </a:moveTo>
                <a:cubicBezTo>
                  <a:pt x="13585" y="7576"/>
                  <a:pt x="7576" y="13585"/>
                  <a:pt x="7576" y="21031"/>
                </a:cubicBezTo>
                <a:cubicBezTo>
                  <a:pt x="7576" y="28476"/>
                  <a:pt x="13585" y="34485"/>
                  <a:pt x="21031" y="34485"/>
                </a:cubicBezTo>
                <a:cubicBezTo>
                  <a:pt x="28476" y="34485"/>
                  <a:pt x="34485" y="28476"/>
                  <a:pt x="34485" y="21031"/>
                </a:cubicBezTo>
                <a:cubicBezTo>
                  <a:pt x="34485" y="13585"/>
                  <a:pt x="28476" y="7576"/>
                  <a:pt x="21031" y="7576"/>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grpSp>
        <p:nvGrpSpPr>
          <p:cNvPr id="119" name="Graphic 717">
            <a:extLst>
              <a:ext uri="{FF2B5EF4-FFF2-40B4-BE49-F238E27FC236}">
                <a16:creationId xmlns:a16="http://schemas.microsoft.com/office/drawing/2014/main" id="{A08FFB48-8032-725C-9197-1EFA30367464}"/>
              </a:ext>
            </a:extLst>
          </p:cNvPr>
          <p:cNvGrpSpPr/>
          <p:nvPr/>
        </p:nvGrpSpPr>
        <p:grpSpPr>
          <a:xfrm>
            <a:off x="6173942" y="2439396"/>
            <a:ext cx="54687" cy="56298"/>
            <a:chOff x="209480" y="4622290"/>
            <a:chExt cx="42061" cy="42061"/>
          </a:xfrm>
          <a:noFill/>
        </p:grpSpPr>
        <p:sp>
          <p:nvSpPr>
            <p:cNvPr id="123" name="Freeform: Shape 122">
              <a:extLst>
                <a:ext uri="{FF2B5EF4-FFF2-40B4-BE49-F238E27FC236}">
                  <a16:creationId xmlns:a16="http://schemas.microsoft.com/office/drawing/2014/main" id="{222060E7-E505-D2B0-0B87-4567BC815C85}"/>
                </a:ext>
              </a:extLst>
            </p:cNvPr>
            <p:cNvSpPr/>
            <p:nvPr/>
          </p:nvSpPr>
          <p:spPr>
            <a:xfrm>
              <a:off x="213268" y="4626078"/>
              <a:ext cx="34484" cy="34484"/>
            </a:xfrm>
            <a:custGeom>
              <a:avLst/>
              <a:gdLst>
                <a:gd name="connsiteX0" fmla="*/ 34485 w 34484"/>
                <a:gd name="connsiteY0" fmla="*/ 17243 h 34484"/>
                <a:gd name="connsiteX1" fmla="*/ 17242 w 34484"/>
                <a:gd name="connsiteY1" fmla="*/ 34485 h 34484"/>
                <a:gd name="connsiteX2" fmla="*/ 0 w 34484"/>
                <a:gd name="connsiteY2" fmla="*/ 17243 h 34484"/>
                <a:gd name="connsiteX3" fmla="*/ 17242 w 34484"/>
                <a:gd name="connsiteY3" fmla="*/ 0 h 34484"/>
                <a:gd name="connsiteX4" fmla="*/ 34485 w 34484"/>
                <a:gd name="connsiteY4" fmla="*/ 17243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34485" y="17243"/>
                  </a:moveTo>
                  <a:cubicBezTo>
                    <a:pt x="34485" y="26765"/>
                    <a:pt x="26765" y="34485"/>
                    <a:pt x="17242" y="34485"/>
                  </a:cubicBezTo>
                  <a:cubicBezTo>
                    <a:pt x="7720" y="34485"/>
                    <a:pt x="0" y="26765"/>
                    <a:pt x="0" y="17243"/>
                  </a:cubicBezTo>
                  <a:cubicBezTo>
                    <a:pt x="0" y="7720"/>
                    <a:pt x="7720" y="0"/>
                    <a:pt x="17242" y="0"/>
                  </a:cubicBezTo>
                  <a:cubicBezTo>
                    <a:pt x="26765" y="0"/>
                    <a:pt x="34485" y="7720"/>
                    <a:pt x="34485" y="1724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34470A64-28F8-A506-4239-ABC4ADC5A3C5}"/>
                </a:ext>
              </a:extLst>
            </p:cNvPr>
            <p:cNvSpPr/>
            <p:nvPr/>
          </p:nvSpPr>
          <p:spPr>
            <a:xfrm>
              <a:off x="209480" y="4622290"/>
              <a:ext cx="42061" cy="42061"/>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446 h 42061"/>
                <a:gd name="connsiteX6" fmla="*/ 7576 w 42061"/>
                <a:gd name="connsiteY6" fmla="*/ 20900 h 42061"/>
                <a:gd name="connsiteX7" fmla="*/ 21031 w 42061"/>
                <a:gd name="connsiteY7" fmla="*/ 34354 h 42061"/>
                <a:gd name="connsiteX8" fmla="*/ 34485 w 42061"/>
                <a:gd name="connsiteY8" fmla="*/ 20900 h 42061"/>
                <a:gd name="connsiteX9" fmla="*/ 21031 w 42061"/>
                <a:gd name="connsiteY9" fmla="*/ 744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446"/>
                  </a:moveTo>
                  <a:cubicBezTo>
                    <a:pt x="13585" y="7446"/>
                    <a:pt x="7576" y="13454"/>
                    <a:pt x="7576" y="20900"/>
                  </a:cubicBezTo>
                  <a:cubicBezTo>
                    <a:pt x="7576" y="28346"/>
                    <a:pt x="13585" y="34354"/>
                    <a:pt x="21031" y="34354"/>
                  </a:cubicBezTo>
                  <a:cubicBezTo>
                    <a:pt x="28476" y="34354"/>
                    <a:pt x="34485" y="28346"/>
                    <a:pt x="34485" y="20900"/>
                  </a:cubicBezTo>
                  <a:cubicBezTo>
                    <a:pt x="34485" y="13454"/>
                    <a:pt x="28476" y="7446"/>
                    <a:pt x="21031"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20" name="Graphic 717">
            <a:extLst>
              <a:ext uri="{FF2B5EF4-FFF2-40B4-BE49-F238E27FC236}">
                <a16:creationId xmlns:a16="http://schemas.microsoft.com/office/drawing/2014/main" id="{3D4D395B-F02C-6406-77B6-246E3B74AF52}"/>
              </a:ext>
            </a:extLst>
          </p:cNvPr>
          <p:cNvGrpSpPr/>
          <p:nvPr/>
        </p:nvGrpSpPr>
        <p:grpSpPr>
          <a:xfrm>
            <a:off x="6289092" y="2439396"/>
            <a:ext cx="54687" cy="56298"/>
            <a:chOff x="298044" y="4622290"/>
            <a:chExt cx="42061" cy="42061"/>
          </a:xfrm>
          <a:noFill/>
        </p:grpSpPr>
        <p:sp>
          <p:nvSpPr>
            <p:cNvPr id="121" name="Freeform: Shape 120">
              <a:extLst>
                <a:ext uri="{FF2B5EF4-FFF2-40B4-BE49-F238E27FC236}">
                  <a16:creationId xmlns:a16="http://schemas.microsoft.com/office/drawing/2014/main" id="{F197E659-A66B-FE19-5367-7B302108927A}"/>
                </a:ext>
              </a:extLst>
            </p:cNvPr>
            <p:cNvSpPr/>
            <p:nvPr/>
          </p:nvSpPr>
          <p:spPr>
            <a:xfrm>
              <a:off x="301832" y="4626078"/>
              <a:ext cx="34484" cy="34484"/>
            </a:xfrm>
            <a:custGeom>
              <a:avLst/>
              <a:gdLst>
                <a:gd name="connsiteX0" fmla="*/ 0 w 34484"/>
                <a:gd name="connsiteY0" fmla="*/ 17243 h 34484"/>
                <a:gd name="connsiteX1" fmla="*/ 17242 w 34484"/>
                <a:gd name="connsiteY1" fmla="*/ 0 h 34484"/>
                <a:gd name="connsiteX2" fmla="*/ 34485 w 34484"/>
                <a:gd name="connsiteY2" fmla="*/ 17243 h 34484"/>
                <a:gd name="connsiteX3" fmla="*/ 17242 w 34484"/>
                <a:gd name="connsiteY3" fmla="*/ 34485 h 34484"/>
                <a:gd name="connsiteX4" fmla="*/ 0 w 34484"/>
                <a:gd name="connsiteY4" fmla="*/ 17243 h 34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 h="34484">
                  <a:moveTo>
                    <a:pt x="0" y="17243"/>
                  </a:moveTo>
                  <a:cubicBezTo>
                    <a:pt x="0" y="7707"/>
                    <a:pt x="7707" y="0"/>
                    <a:pt x="17242" y="0"/>
                  </a:cubicBezTo>
                  <a:cubicBezTo>
                    <a:pt x="26778" y="0"/>
                    <a:pt x="34485" y="7707"/>
                    <a:pt x="34485" y="17243"/>
                  </a:cubicBezTo>
                  <a:cubicBezTo>
                    <a:pt x="34485" y="26778"/>
                    <a:pt x="26778" y="34485"/>
                    <a:pt x="17242" y="34485"/>
                  </a:cubicBezTo>
                  <a:cubicBezTo>
                    <a:pt x="7707" y="34485"/>
                    <a:pt x="0" y="26778"/>
                    <a:pt x="0" y="1724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FFF96D5D-C26F-7166-4800-FF104F80A3D0}"/>
                </a:ext>
              </a:extLst>
            </p:cNvPr>
            <p:cNvSpPr/>
            <p:nvPr/>
          </p:nvSpPr>
          <p:spPr>
            <a:xfrm>
              <a:off x="298044" y="4622290"/>
              <a:ext cx="42061" cy="42061"/>
            </a:xfrm>
            <a:custGeom>
              <a:avLst/>
              <a:gdLst>
                <a:gd name="connsiteX0" fmla="*/ 21031 w 42061"/>
                <a:gd name="connsiteY0" fmla="*/ 42061 h 42061"/>
                <a:gd name="connsiteX1" fmla="*/ 0 w 42061"/>
                <a:gd name="connsiteY1" fmla="*/ 21031 h 42061"/>
                <a:gd name="connsiteX2" fmla="*/ 21031 w 42061"/>
                <a:gd name="connsiteY2" fmla="*/ 0 h 42061"/>
                <a:gd name="connsiteX3" fmla="*/ 42061 w 42061"/>
                <a:gd name="connsiteY3" fmla="*/ 21031 h 42061"/>
                <a:gd name="connsiteX4" fmla="*/ 21031 w 42061"/>
                <a:gd name="connsiteY4" fmla="*/ 42061 h 42061"/>
                <a:gd name="connsiteX5" fmla="*/ 21031 w 42061"/>
                <a:gd name="connsiteY5" fmla="*/ 7446 h 42061"/>
                <a:gd name="connsiteX6" fmla="*/ 7576 w 42061"/>
                <a:gd name="connsiteY6" fmla="*/ 20900 h 42061"/>
                <a:gd name="connsiteX7" fmla="*/ 21031 w 42061"/>
                <a:gd name="connsiteY7" fmla="*/ 34354 h 42061"/>
                <a:gd name="connsiteX8" fmla="*/ 34485 w 42061"/>
                <a:gd name="connsiteY8" fmla="*/ 20900 h 42061"/>
                <a:gd name="connsiteX9" fmla="*/ 21031 w 42061"/>
                <a:gd name="connsiteY9" fmla="*/ 7446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061" h="42061">
                  <a:moveTo>
                    <a:pt x="21031" y="42061"/>
                  </a:moveTo>
                  <a:cubicBezTo>
                    <a:pt x="9405" y="42061"/>
                    <a:pt x="0" y="32656"/>
                    <a:pt x="0" y="21031"/>
                  </a:cubicBezTo>
                  <a:cubicBezTo>
                    <a:pt x="0" y="9405"/>
                    <a:pt x="9405" y="0"/>
                    <a:pt x="21031" y="0"/>
                  </a:cubicBezTo>
                  <a:cubicBezTo>
                    <a:pt x="32656" y="0"/>
                    <a:pt x="42061" y="9405"/>
                    <a:pt x="42061" y="21031"/>
                  </a:cubicBezTo>
                  <a:cubicBezTo>
                    <a:pt x="42061" y="32656"/>
                    <a:pt x="32656" y="42061"/>
                    <a:pt x="21031" y="42061"/>
                  </a:cubicBezTo>
                  <a:close/>
                  <a:moveTo>
                    <a:pt x="21031" y="7446"/>
                  </a:moveTo>
                  <a:cubicBezTo>
                    <a:pt x="13585" y="7446"/>
                    <a:pt x="7576" y="13454"/>
                    <a:pt x="7576" y="20900"/>
                  </a:cubicBezTo>
                  <a:cubicBezTo>
                    <a:pt x="7576" y="28346"/>
                    <a:pt x="13585" y="34354"/>
                    <a:pt x="21031" y="34354"/>
                  </a:cubicBezTo>
                  <a:cubicBezTo>
                    <a:pt x="28476" y="34354"/>
                    <a:pt x="34485" y="28346"/>
                    <a:pt x="34485" y="20900"/>
                  </a:cubicBezTo>
                  <a:cubicBezTo>
                    <a:pt x="34485" y="13454"/>
                    <a:pt x="28476" y="7446"/>
                    <a:pt x="21031"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238" name="Group 237">
            <a:extLst>
              <a:ext uri="{FF2B5EF4-FFF2-40B4-BE49-F238E27FC236}">
                <a16:creationId xmlns:a16="http://schemas.microsoft.com/office/drawing/2014/main" id="{279241E5-002F-03DB-9E7F-0DE46BDE0570}"/>
              </a:ext>
            </a:extLst>
          </p:cNvPr>
          <p:cNvGrpSpPr/>
          <p:nvPr/>
        </p:nvGrpSpPr>
        <p:grpSpPr>
          <a:xfrm>
            <a:off x="9893019" y="2123500"/>
            <a:ext cx="427646" cy="427308"/>
            <a:chOff x="6432739" y="2308149"/>
            <a:chExt cx="427646" cy="427308"/>
          </a:xfrm>
        </p:grpSpPr>
        <p:sp>
          <p:nvSpPr>
            <p:cNvPr id="110" name="Freeform: Shape 109">
              <a:extLst>
                <a:ext uri="{FF2B5EF4-FFF2-40B4-BE49-F238E27FC236}">
                  <a16:creationId xmlns:a16="http://schemas.microsoft.com/office/drawing/2014/main" id="{0DCA0A78-1789-441D-C331-EC7330A0B814}"/>
                </a:ext>
              </a:extLst>
            </p:cNvPr>
            <p:cNvSpPr/>
            <p:nvPr/>
          </p:nvSpPr>
          <p:spPr>
            <a:xfrm rot="19881000">
              <a:off x="6432739" y="2308149"/>
              <a:ext cx="427646" cy="427308"/>
            </a:xfrm>
            <a:custGeom>
              <a:avLst/>
              <a:gdLst>
                <a:gd name="connsiteX0" fmla="*/ 328913 w 328913"/>
                <a:gd name="connsiteY0" fmla="*/ 159623 h 319246"/>
                <a:gd name="connsiteX1" fmla="*/ 164457 w 328913"/>
                <a:gd name="connsiteY1" fmla="*/ 319247 h 319246"/>
                <a:gd name="connsiteX2" fmla="*/ 0 w 328913"/>
                <a:gd name="connsiteY2" fmla="*/ 159623 h 319246"/>
                <a:gd name="connsiteX3" fmla="*/ 164457 w 328913"/>
                <a:gd name="connsiteY3" fmla="*/ 0 h 319246"/>
                <a:gd name="connsiteX4" fmla="*/ 328913 w 328913"/>
                <a:gd name="connsiteY4" fmla="*/ 159623 h 319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913" h="319246">
                  <a:moveTo>
                    <a:pt x="328913" y="159623"/>
                  </a:moveTo>
                  <a:cubicBezTo>
                    <a:pt x="328913" y="247781"/>
                    <a:pt x="255283" y="319247"/>
                    <a:pt x="164457" y="319247"/>
                  </a:cubicBezTo>
                  <a:cubicBezTo>
                    <a:pt x="73630" y="319247"/>
                    <a:pt x="0" y="247781"/>
                    <a:pt x="0" y="159623"/>
                  </a:cubicBezTo>
                  <a:cubicBezTo>
                    <a:pt x="0" y="71466"/>
                    <a:pt x="73630" y="0"/>
                    <a:pt x="164457" y="0"/>
                  </a:cubicBezTo>
                  <a:cubicBezTo>
                    <a:pt x="255283" y="0"/>
                    <a:pt x="328913" y="71466"/>
                    <a:pt x="328913" y="159623"/>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A3A9211D-3884-DD71-E907-0163E30454F0}"/>
                </a:ext>
              </a:extLst>
            </p:cNvPr>
            <p:cNvSpPr/>
            <p:nvPr/>
          </p:nvSpPr>
          <p:spPr>
            <a:xfrm>
              <a:off x="6613647" y="2390445"/>
              <a:ext cx="245443" cy="298976"/>
            </a:xfrm>
            <a:custGeom>
              <a:avLst/>
              <a:gdLst>
                <a:gd name="connsiteX0" fmla="*/ 157272 w 188776"/>
                <a:gd name="connsiteY0" fmla="*/ 0 h 223368"/>
                <a:gd name="connsiteX1" fmla="*/ 93658 w 188776"/>
                <a:gd name="connsiteY1" fmla="*/ 38273 h 223368"/>
                <a:gd name="connsiteX2" fmla="*/ 0 w 188776"/>
                <a:gd name="connsiteY2" fmla="*/ 101757 h 223368"/>
                <a:gd name="connsiteX3" fmla="*/ 102410 w 188776"/>
                <a:gd name="connsiteY3" fmla="*/ 201162 h 223368"/>
                <a:gd name="connsiteX4" fmla="*/ 124485 w 188776"/>
                <a:gd name="connsiteY4" fmla="*/ 223368 h 223368"/>
                <a:gd name="connsiteX5" fmla="*/ 165240 w 188776"/>
                <a:gd name="connsiteY5" fmla="*/ 177650 h 223368"/>
                <a:gd name="connsiteX6" fmla="*/ 157403 w 188776"/>
                <a:gd name="connsiteY6" fmla="*/ 0 h 22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776" h="223368">
                  <a:moveTo>
                    <a:pt x="157272" y="0"/>
                  </a:moveTo>
                  <a:cubicBezTo>
                    <a:pt x="136111" y="12671"/>
                    <a:pt x="114819" y="25341"/>
                    <a:pt x="93658" y="38273"/>
                  </a:cubicBezTo>
                  <a:cubicBezTo>
                    <a:pt x="61786" y="57606"/>
                    <a:pt x="30958" y="81118"/>
                    <a:pt x="0" y="101757"/>
                  </a:cubicBezTo>
                  <a:cubicBezTo>
                    <a:pt x="17896" y="119391"/>
                    <a:pt x="79289" y="177911"/>
                    <a:pt x="102410" y="201162"/>
                  </a:cubicBezTo>
                  <a:cubicBezTo>
                    <a:pt x="109725" y="208608"/>
                    <a:pt x="117040" y="216053"/>
                    <a:pt x="124485" y="223368"/>
                  </a:cubicBezTo>
                  <a:cubicBezTo>
                    <a:pt x="140422" y="211090"/>
                    <a:pt x="154268" y="195807"/>
                    <a:pt x="165240" y="177650"/>
                  </a:cubicBezTo>
                  <a:cubicBezTo>
                    <a:pt x="200248" y="119652"/>
                    <a:pt x="195023" y="49768"/>
                    <a:pt x="157403" y="0"/>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39" name="Graphic 717">
            <a:extLst>
              <a:ext uri="{FF2B5EF4-FFF2-40B4-BE49-F238E27FC236}">
                <a16:creationId xmlns:a16="http://schemas.microsoft.com/office/drawing/2014/main" id="{917D0D6E-B187-C99F-C2E6-E3CCA2B84DCB}"/>
              </a:ext>
            </a:extLst>
          </p:cNvPr>
          <p:cNvGrpSpPr/>
          <p:nvPr/>
        </p:nvGrpSpPr>
        <p:grpSpPr>
          <a:xfrm>
            <a:off x="8821066" y="2898909"/>
            <a:ext cx="386517" cy="463605"/>
            <a:chOff x="2934966" y="4212128"/>
            <a:chExt cx="435111" cy="506954"/>
          </a:xfrm>
          <a:noFill/>
        </p:grpSpPr>
        <p:grpSp>
          <p:nvGrpSpPr>
            <p:cNvPr id="140" name="Graphic 717">
              <a:extLst>
                <a:ext uri="{FF2B5EF4-FFF2-40B4-BE49-F238E27FC236}">
                  <a16:creationId xmlns:a16="http://schemas.microsoft.com/office/drawing/2014/main" id="{6465D6B9-14B0-D0E0-BE89-A11EC6661E7A}"/>
                </a:ext>
              </a:extLst>
            </p:cNvPr>
            <p:cNvGrpSpPr/>
            <p:nvPr/>
          </p:nvGrpSpPr>
          <p:grpSpPr>
            <a:xfrm>
              <a:off x="2934966" y="4574220"/>
              <a:ext cx="435111" cy="144863"/>
              <a:chOff x="2934966" y="4574220"/>
              <a:chExt cx="435111" cy="144863"/>
            </a:xfrm>
            <a:grpFill/>
          </p:grpSpPr>
          <p:sp>
            <p:nvSpPr>
              <p:cNvPr id="165" name="Freeform: Shape 164">
                <a:extLst>
                  <a:ext uri="{FF2B5EF4-FFF2-40B4-BE49-F238E27FC236}">
                    <a16:creationId xmlns:a16="http://schemas.microsoft.com/office/drawing/2014/main" id="{F2527D80-6E01-C051-17D1-AB45F06D58BF}"/>
                  </a:ext>
                </a:extLst>
              </p:cNvPr>
              <p:cNvSpPr/>
              <p:nvPr/>
            </p:nvSpPr>
            <p:spPr>
              <a:xfrm>
                <a:off x="2938754" y="4578139"/>
                <a:ext cx="427534" cy="137286"/>
              </a:xfrm>
              <a:custGeom>
                <a:avLst/>
                <a:gdLst>
                  <a:gd name="connsiteX0" fmla="*/ 0 w 427534"/>
                  <a:gd name="connsiteY0" fmla="*/ 0 h 137286"/>
                  <a:gd name="connsiteX1" fmla="*/ 427535 w 427534"/>
                  <a:gd name="connsiteY1" fmla="*/ 0 h 137286"/>
                  <a:gd name="connsiteX2" fmla="*/ 427535 w 427534"/>
                  <a:gd name="connsiteY2" fmla="*/ 137287 h 137286"/>
                  <a:gd name="connsiteX3" fmla="*/ 0 w 427534"/>
                  <a:gd name="connsiteY3" fmla="*/ 137287 h 137286"/>
                </a:gdLst>
                <a:ahLst/>
                <a:cxnLst>
                  <a:cxn ang="0">
                    <a:pos x="connsiteX0" y="connsiteY0"/>
                  </a:cxn>
                  <a:cxn ang="0">
                    <a:pos x="connsiteX1" y="connsiteY1"/>
                  </a:cxn>
                  <a:cxn ang="0">
                    <a:pos x="connsiteX2" y="connsiteY2"/>
                  </a:cxn>
                  <a:cxn ang="0">
                    <a:pos x="connsiteX3" y="connsiteY3"/>
                  </a:cxn>
                </a:cxnLst>
                <a:rect l="l" t="t" r="r" b="b"/>
                <a:pathLst>
                  <a:path w="427534" h="137286">
                    <a:moveTo>
                      <a:pt x="0" y="0"/>
                    </a:moveTo>
                    <a:lnTo>
                      <a:pt x="427535" y="0"/>
                    </a:lnTo>
                    <a:lnTo>
                      <a:pt x="427535" y="137287"/>
                    </a:lnTo>
                    <a:lnTo>
                      <a:pt x="0" y="13728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66" name="Freeform: Shape 165">
                <a:extLst>
                  <a:ext uri="{FF2B5EF4-FFF2-40B4-BE49-F238E27FC236}">
                    <a16:creationId xmlns:a16="http://schemas.microsoft.com/office/drawing/2014/main" id="{09D1CFBD-93AF-03FB-4855-C7EE818D4523}"/>
                  </a:ext>
                </a:extLst>
              </p:cNvPr>
              <p:cNvSpPr/>
              <p:nvPr/>
            </p:nvSpPr>
            <p:spPr>
              <a:xfrm>
                <a:off x="2934966" y="4574220"/>
                <a:ext cx="435111" cy="144863"/>
              </a:xfrm>
              <a:custGeom>
                <a:avLst/>
                <a:gdLst>
                  <a:gd name="connsiteX0" fmla="*/ 431323 w 435111"/>
                  <a:gd name="connsiteY0" fmla="*/ 144863 h 144863"/>
                  <a:gd name="connsiteX1" fmla="*/ 3788 w 435111"/>
                  <a:gd name="connsiteY1" fmla="*/ 144863 h 144863"/>
                  <a:gd name="connsiteX2" fmla="*/ 0 w 435111"/>
                  <a:gd name="connsiteY2" fmla="*/ 141075 h 144863"/>
                  <a:gd name="connsiteX3" fmla="*/ 0 w 435111"/>
                  <a:gd name="connsiteY3" fmla="*/ 3788 h 144863"/>
                  <a:gd name="connsiteX4" fmla="*/ 3788 w 435111"/>
                  <a:gd name="connsiteY4" fmla="*/ 0 h 144863"/>
                  <a:gd name="connsiteX5" fmla="*/ 431323 w 435111"/>
                  <a:gd name="connsiteY5" fmla="*/ 0 h 144863"/>
                  <a:gd name="connsiteX6" fmla="*/ 435111 w 435111"/>
                  <a:gd name="connsiteY6" fmla="*/ 3788 h 144863"/>
                  <a:gd name="connsiteX7" fmla="*/ 435111 w 435111"/>
                  <a:gd name="connsiteY7" fmla="*/ 141075 h 144863"/>
                  <a:gd name="connsiteX8" fmla="*/ 431323 w 435111"/>
                  <a:gd name="connsiteY8" fmla="*/ 144863 h 144863"/>
                  <a:gd name="connsiteX9" fmla="*/ 7576 w 435111"/>
                  <a:gd name="connsiteY9" fmla="*/ 137417 h 144863"/>
                  <a:gd name="connsiteX10" fmla="*/ 427535 w 435111"/>
                  <a:gd name="connsiteY10" fmla="*/ 137417 h 144863"/>
                  <a:gd name="connsiteX11" fmla="*/ 427535 w 435111"/>
                  <a:gd name="connsiteY11" fmla="*/ 7707 h 144863"/>
                  <a:gd name="connsiteX12" fmla="*/ 7576 w 435111"/>
                  <a:gd name="connsiteY12" fmla="*/ 7707 h 144863"/>
                  <a:gd name="connsiteX13" fmla="*/ 7576 w 435111"/>
                  <a:gd name="connsiteY13" fmla="*/ 137417 h 14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111" h="144863">
                    <a:moveTo>
                      <a:pt x="431323" y="144863"/>
                    </a:moveTo>
                    <a:lnTo>
                      <a:pt x="3788" y="144863"/>
                    </a:lnTo>
                    <a:cubicBezTo>
                      <a:pt x="1698" y="144863"/>
                      <a:pt x="0" y="143165"/>
                      <a:pt x="0" y="141075"/>
                    </a:cubicBezTo>
                    <a:lnTo>
                      <a:pt x="0" y="3788"/>
                    </a:lnTo>
                    <a:cubicBezTo>
                      <a:pt x="0" y="1698"/>
                      <a:pt x="1698" y="0"/>
                      <a:pt x="3788" y="0"/>
                    </a:cubicBezTo>
                    <a:lnTo>
                      <a:pt x="431323" y="0"/>
                    </a:lnTo>
                    <a:cubicBezTo>
                      <a:pt x="433413" y="0"/>
                      <a:pt x="435111" y="1698"/>
                      <a:pt x="435111" y="3788"/>
                    </a:cubicBezTo>
                    <a:lnTo>
                      <a:pt x="435111" y="141075"/>
                    </a:lnTo>
                    <a:cubicBezTo>
                      <a:pt x="435111" y="143165"/>
                      <a:pt x="433413" y="144863"/>
                      <a:pt x="431323" y="144863"/>
                    </a:cubicBezTo>
                    <a:close/>
                    <a:moveTo>
                      <a:pt x="7576" y="137417"/>
                    </a:moveTo>
                    <a:lnTo>
                      <a:pt x="427535" y="137417"/>
                    </a:lnTo>
                    <a:cubicBezTo>
                      <a:pt x="427535" y="137417"/>
                      <a:pt x="427535" y="7707"/>
                      <a:pt x="427535" y="7707"/>
                    </a:cubicBezTo>
                    <a:lnTo>
                      <a:pt x="7576" y="7707"/>
                    </a:lnTo>
                    <a:cubicBezTo>
                      <a:pt x="7576" y="7707"/>
                      <a:pt x="7576" y="137417"/>
                      <a:pt x="7576" y="13741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41" name="Graphic 717">
              <a:extLst>
                <a:ext uri="{FF2B5EF4-FFF2-40B4-BE49-F238E27FC236}">
                  <a16:creationId xmlns:a16="http://schemas.microsoft.com/office/drawing/2014/main" id="{BAC709E3-F884-2320-0FF5-DD756FD9BCD8}"/>
                </a:ext>
              </a:extLst>
            </p:cNvPr>
            <p:cNvGrpSpPr/>
            <p:nvPr/>
          </p:nvGrpSpPr>
          <p:grpSpPr>
            <a:xfrm>
              <a:off x="2934966" y="4212128"/>
              <a:ext cx="435111" cy="144863"/>
              <a:chOff x="2934966" y="4212128"/>
              <a:chExt cx="435111" cy="144863"/>
            </a:xfrm>
            <a:grpFill/>
          </p:grpSpPr>
          <p:sp>
            <p:nvSpPr>
              <p:cNvPr id="163" name="Freeform: Shape 162">
                <a:extLst>
                  <a:ext uri="{FF2B5EF4-FFF2-40B4-BE49-F238E27FC236}">
                    <a16:creationId xmlns:a16="http://schemas.microsoft.com/office/drawing/2014/main" id="{2912750E-209F-3259-41A1-EFA9B0D82067}"/>
                  </a:ext>
                </a:extLst>
              </p:cNvPr>
              <p:cNvSpPr/>
              <p:nvPr/>
            </p:nvSpPr>
            <p:spPr>
              <a:xfrm>
                <a:off x="2938754" y="4216047"/>
                <a:ext cx="427534" cy="137286"/>
              </a:xfrm>
              <a:custGeom>
                <a:avLst/>
                <a:gdLst>
                  <a:gd name="connsiteX0" fmla="*/ 0 w 427534"/>
                  <a:gd name="connsiteY0" fmla="*/ 0 h 137286"/>
                  <a:gd name="connsiteX1" fmla="*/ 427535 w 427534"/>
                  <a:gd name="connsiteY1" fmla="*/ 0 h 137286"/>
                  <a:gd name="connsiteX2" fmla="*/ 427535 w 427534"/>
                  <a:gd name="connsiteY2" fmla="*/ 137287 h 137286"/>
                  <a:gd name="connsiteX3" fmla="*/ 0 w 427534"/>
                  <a:gd name="connsiteY3" fmla="*/ 137287 h 137286"/>
                </a:gdLst>
                <a:ahLst/>
                <a:cxnLst>
                  <a:cxn ang="0">
                    <a:pos x="connsiteX0" y="connsiteY0"/>
                  </a:cxn>
                  <a:cxn ang="0">
                    <a:pos x="connsiteX1" y="connsiteY1"/>
                  </a:cxn>
                  <a:cxn ang="0">
                    <a:pos x="connsiteX2" y="connsiteY2"/>
                  </a:cxn>
                  <a:cxn ang="0">
                    <a:pos x="connsiteX3" y="connsiteY3"/>
                  </a:cxn>
                </a:cxnLst>
                <a:rect l="l" t="t" r="r" b="b"/>
                <a:pathLst>
                  <a:path w="427534" h="137286">
                    <a:moveTo>
                      <a:pt x="0" y="0"/>
                    </a:moveTo>
                    <a:lnTo>
                      <a:pt x="427535" y="0"/>
                    </a:lnTo>
                    <a:lnTo>
                      <a:pt x="427535" y="137287"/>
                    </a:lnTo>
                    <a:lnTo>
                      <a:pt x="0" y="13728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64" name="Freeform: Shape 163">
                <a:extLst>
                  <a:ext uri="{FF2B5EF4-FFF2-40B4-BE49-F238E27FC236}">
                    <a16:creationId xmlns:a16="http://schemas.microsoft.com/office/drawing/2014/main" id="{1238543E-6E8A-56A8-39B3-64AF1C54C1DE}"/>
                  </a:ext>
                </a:extLst>
              </p:cNvPr>
              <p:cNvSpPr/>
              <p:nvPr/>
            </p:nvSpPr>
            <p:spPr>
              <a:xfrm>
                <a:off x="2934966" y="4212128"/>
                <a:ext cx="435111" cy="144863"/>
              </a:xfrm>
              <a:custGeom>
                <a:avLst/>
                <a:gdLst>
                  <a:gd name="connsiteX0" fmla="*/ 431323 w 435111"/>
                  <a:gd name="connsiteY0" fmla="*/ 144863 h 144863"/>
                  <a:gd name="connsiteX1" fmla="*/ 3788 w 435111"/>
                  <a:gd name="connsiteY1" fmla="*/ 144863 h 144863"/>
                  <a:gd name="connsiteX2" fmla="*/ 0 w 435111"/>
                  <a:gd name="connsiteY2" fmla="*/ 141075 h 144863"/>
                  <a:gd name="connsiteX3" fmla="*/ 0 w 435111"/>
                  <a:gd name="connsiteY3" fmla="*/ 3788 h 144863"/>
                  <a:gd name="connsiteX4" fmla="*/ 3788 w 435111"/>
                  <a:gd name="connsiteY4" fmla="*/ 0 h 144863"/>
                  <a:gd name="connsiteX5" fmla="*/ 431323 w 435111"/>
                  <a:gd name="connsiteY5" fmla="*/ 0 h 144863"/>
                  <a:gd name="connsiteX6" fmla="*/ 435111 w 435111"/>
                  <a:gd name="connsiteY6" fmla="*/ 3788 h 144863"/>
                  <a:gd name="connsiteX7" fmla="*/ 435111 w 435111"/>
                  <a:gd name="connsiteY7" fmla="*/ 141075 h 144863"/>
                  <a:gd name="connsiteX8" fmla="*/ 431323 w 435111"/>
                  <a:gd name="connsiteY8" fmla="*/ 144863 h 144863"/>
                  <a:gd name="connsiteX9" fmla="*/ 7576 w 435111"/>
                  <a:gd name="connsiteY9" fmla="*/ 137417 h 144863"/>
                  <a:gd name="connsiteX10" fmla="*/ 427535 w 435111"/>
                  <a:gd name="connsiteY10" fmla="*/ 137417 h 144863"/>
                  <a:gd name="connsiteX11" fmla="*/ 427535 w 435111"/>
                  <a:gd name="connsiteY11" fmla="*/ 7707 h 144863"/>
                  <a:gd name="connsiteX12" fmla="*/ 7576 w 435111"/>
                  <a:gd name="connsiteY12" fmla="*/ 7707 h 144863"/>
                  <a:gd name="connsiteX13" fmla="*/ 7576 w 435111"/>
                  <a:gd name="connsiteY13" fmla="*/ 137417 h 14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111" h="144863">
                    <a:moveTo>
                      <a:pt x="431323" y="144863"/>
                    </a:moveTo>
                    <a:lnTo>
                      <a:pt x="3788" y="144863"/>
                    </a:lnTo>
                    <a:cubicBezTo>
                      <a:pt x="1698" y="144863"/>
                      <a:pt x="0" y="143165"/>
                      <a:pt x="0" y="141075"/>
                    </a:cubicBezTo>
                    <a:lnTo>
                      <a:pt x="0" y="3788"/>
                    </a:lnTo>
                    <a:cubicBezTo>
                      <a:pt x="0" y="1698"/>
                      <a:pt x="1698" y="0"/>
                      <a:pt x="3788" y="0"/>
                    </a:cubicBezTo>
                    <a:lnTo>
                      <a:pt x="431323" y="0"/>
                    </a:lnTo>
                    <a:cubicBezTo>
                      <a:pt x="433413" y="0"/>
                      <a:pt x="435111" y="1698"/>
                      <a:pt x="435111" y="3788"/>
                    </a:cubicBezTo>
                    <a:lnTo>
                      <a:pt x="435111" y="141075"/>
                    </a:lnTo>
                    <a:cubicBezTo>
                      <a:pt x="435111" y="143165"/>
                      <a:pt x="433413" y="144863"/>
                      <a:pt x="431323" y="144863"/>
                    </a:cubicBezTo>
                    <a:close/>
                    <a:moveTo>
                      <a:pt x="7576" y="137417"/>
                    </a:moveTo>
                    <a:lnTo>
                      <a:pt x="427535" y="137417"/>
                    </a:lnTo>
                    <a:lnTo>
                      <a:pt x="427535" y="7707"/>
                    </a:lnTo>
                    <a:lnTo>
                      <a:pt x="7576" y="7707"/>
                    </a:lnTo>
                    <a:lnTo>
                      <a:pt x="7576" y="13741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42" name="Graphic 717">
              <a:extLst>
                <a:ext uri="{FF2B5EF4-FFF2-40B4-BE49-F238E27FC236}">
                  <a16:creationId xmlns:a16="http://schemas.microsoft.com/office/drawing/2014/main" id="{84AB40FC-32A0-920F-F411-15051EA910E5}"/>
                </a:ext>
              </a:extLst>
            </p:cNvPr>
            <p:cNvGrpSpPr/>
            <p:nvPr/>
          </p:nvGrpSpPr>
          <p:grpSpPr>
            <a:xfrm>
              <a:off x="2934966" y="4393174"/>
              <a:ext cx="435111" cy="144863"/>
              <a:chOff x="2934966" y="4393174"/>
              <a:chExt cx="435111" cy="144863"/>
            </a:xfrm>
            <a:grpFill/>
          </p:grpSpPr>
          <p:sp>
            <p:nvSpPr>
              <p:cNvPr id="161" name="Freeform: Shape 160">
                <a:extLst>
                  <a:ext uri="{FF2B5EF4-FFF2-40B4-BE49-F238E27FC236}">
                    <a16:creationId xmlns:a16="http://schemas.microsoft.com/office/drawing/2014/main" id="{3F826623-B122-6A77-A2F1-D9EA2001894B}"/>
                  </a:ext>
                </a:extLst>
              </p:cNvPr>
              <p:cNvSpPr/>
              <p:nvPr/>
            </p:nvSpPr>
            <p:spPr>
              <a:xfrm>
                <a:off x="2938754" y="4397093"/>
                <a:ext cx="427534" cy="137286"/>
              </a:xfrm>
              <a:custGeom>
                <a:avLst/>
                <a:gdLst>
                  <a:gd name="connsiteX0" fmla="*/ 0 w 427534"/>
                  <a:gd name="connsiteY0" fmla="*/ 0 h 137286"/>
                  <a:gd name="connsiteX1" fmla="*/ 427535 w 427534"/>
                  <a:gd name="connsiteY1" fmla="*/ 0 h 137286"/>
                  <a:gd name="connsiteX2" fmla="*/ 427535 w 427534"/>
                  <a:gd name="connsiteY2" fmla="*/ 137287 h 137286"/>
                  <a:gd name="connsiteX3" fmla="*/ 0 w 427534"/>
                  <a:gd name="connsiteY3" fmla="*/ 137287 h 137286"/>
                </a:gdLst>
                <a:ahLst/>
                <a:cxnLst>
                  <a:cxn ang="0">
                    <a:pos x="connsiteX0" y="connsiteY0"/>
                  </a:cxn>
                  <a:cxn ang="0">
                    <a:pos x="connsiteX1" y="connsiteY1"/>
                  </a:cxn>
                  <a:cxn ang="0">
                    <a:pos x="connsiteX2" y="connsiteY2"/>
                  </a:cxn>
                  <a:cxn ang="0">
                    <a:pos x="connsiteX3" y="connsiteY3"/>
                  </a:cxn>
                </a:cxnLst>
                <a:rect l="l" t="t" r="r" b="b"/>
                <a:pathLst>
                  <a:path w="427534" h="137286">
                    <a:moveTo>
                      <a:pt x="0" y="0"/>
                    </a:moveTo>
                    <a:lnTo>
                      <a:pt x="427535" y="0"/>
                    </a:lnTo>
                    <a:lnTo>
                      <a:pt x="427535" y="137287"/>
                    </a:lnTo>
                    <a:lnTo>
                      <a:pt x="0" y="13728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62" name="Freeform: Shape 161">
                <a:extLst>
                  <a:ext uri="{FF2B5EF4-FFF2-40B4-BE49-F238E27FC236}">
                    <a16:creationId xmlns:a16="http://schemas.microsoft.com/office/drawing/2014/main" id="{EBCC7F39-CC81-5FB8-DFCD-C3E2952DE546}"/>
                  </a:ext>
                </a:extLst>
              </p:cNvPr>
              <p:cNvSpPr/>
              <p:nvPr/>
            </p:nvSpPr>
            <p:spPr>
              <a:xfrm>
                <a:off x="2934966" y="4393174"/>
                <a:ext cx="435111" cy="144863"/>
              </a:xfrm>
              <a:custGeom>
                <a:avLst/>
                <a:gdLst>
                  <a:gd name="connsiteX0" fmla="*/ 431323 w 435111"/>
                  <a:gd name="connsiteY0" fmla="*/ 144863 h 144863"/>
                  <a:gd name="connsiteX1" fmla="*/ 3788 w 435111"/>
                  <a:gd name="connsiteY1" fmla="*/ 144863 h 144863"/>
                  <a:gd name="connsiteX2" fmla="*/ 0 w 435111"/>
                  <a:gd name="connsiteY2" fmla="*/ 141075 h 144863"/>
                  <a:gd name="connsiteX3" fmla="*/ 0 w 435111"/>
                  <a:gd name="connsiteY3" fmla="*/ 3788 h 144863"/>
                  <a:gd name="connsiteX4" fmla="*/ 3788 w 435111"/>
                  <a:gd name="connsiteY4" fmla="*/ 0 h 144863"/>
                  <a:gd name="connsiteX5" fmla="*/ 431323 w 435111"/>
                  <a:gd name="connsiteY5" fmla="*/ 0 h 144863"/>
                  <a:gd name="connsiteX6" fmla="*/ 435111 w 435111"/>
                  <a:gd name="connsiteY6" fmla="*/ 3788 h 144863"/>
                  <a:gd name="connsiteX7" fmla="*/ 435111 w 435111"/>
                  <a:gd name="connsiteY7" fmla="*/ 141075 h 144863"/>
                  <a:gd name="connsiteX8" fmla="*/ 431323 w 435111"/>
                  <a:gd name="connsiteY8" fmla="*/ 144863 h 144863"/>
                  <a:gd name="connsiteX9" fmla="*/ 7576 w 435111"/>
                  <a:gd name="connsiteY9" fmla="*/ 137417 h 144863"/>
                  <a:gd name="connsiteX10" fmla="*/ 427535 w 435111"/>
                  <a:gd name="connsiteY10" fmla="*/ 137417 h 144863"/>
                  <a:gd name="connsiteX11" fmla="*/ 427535 w 435111"/>
                  <a:gd name="connsiteY11" fmla="*/ 7707 h 144863"/>
                  <a:gd name="connsiteX12" fmla="*/ 7576 w 435111"/>
                  <a:gd name="connsiteY12" fmla="*/ 7707 h 144863"/>
                  <a:gd name="connsiteX13" fmla="*/ 7576 w 435111"/>
                  <a:gd name="connsiteY13" fmla="*/ 137417 h 14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111" h="144863">
                    <a:moveTo>
                      <a:pt x="431323" y="144863"/>
                    </a:moveTo>
                    <a:lnTo>
                      <a:pt x="3788" y="144863"/>
                    </a:lnTo>
                    <a:cubicBezTo>
                      <a:pt x="1698" y="144863"/>
                      <a:pt x="0" y="143165"/>
                      <a:pt x="0" y="141075"/>
                    </a:cubicBezTo>
                    <a:lnTo>
                      <a:pt x="0" y="3788"/>
                    </a:lnTo>
                    <a:cubicBezTo>
                      <a:pt x="0" y="1698"/>
                      <a:pt x="1698" y="0"/>
                      <a:pt x="3788" y="0"/>
                    </a:cubicBezTo>
                    <a:lnTo>
                      <a:pt x="431323" y="0"/>
                    </a:lnTo>
                    <a:cubicBezTo>
                      <a:pt x="433413" y="0"/>
                      <a:pt x="435111" y="1698"/>
                      <a:pt x="435111" y="3788"/>
                    </a:cubicBezTo>
                    <a:lnTo>
                      <a:pt x="435111" y="141075"/>
                    </a:lnTo>
                    <a:cubicBezTo>
                      <a:pt x="435111" y="143165"/>
                      <a:pt x="433413" y="144863"/>
                      <a:pt x="431323" y="144863"/>
                    </a:cubicBezTo>
                    <a:close/>
                    <a:moveTo>
                      <a:pt x="7576" y="137417"/>
                    </a:moveTo>
                    <a:lnTo>
                      <a:pt x="427535" y="137417"/>
                    </a:lnTo>
                    <a:cubicBezTo>
                      <a:pt x="427535" y="137417"/>
                      <a:pt x="427535" y="7707"/>
                      <a:pt x="427535" y="7707"/>
                    </a:cubicBezTo>
                    <a:lnTo>
                      <a:pt x="7576" y="7707"/>
                    </a:lnTo>
                    <a:cubicBezTo>
                      <a:pt x="7576" y="7707"/>
                      <a:pt x="7576" y="137417"/>
                      <a:pt x="7576" y="13741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43" name="Graphic 717">
              <a:extLst>
                <a:ext uri="{FF2B5EF4-FFF2-40B4-BE49-F238E27FC236}">
                  <a16:creationId xmlns:a16="http://schemas.microsoft.com/office/drawing/2014/main" id="{41502DCB-3B35-ADA1-5CA7-ADFF3AED8B14}"/>
                </a:ext>
              </a:extLst>
            </p:cNvPr>
            <p:cNvGrpSpPr/>
            <p:nvPr/>
          </p:nvGrpSpPr>
          <p:grpSpPr>
            <a:xfrm>
              <a:off x="2988652" y="4262680"/>
              <a:ext cx="41277" cy="41277"/>
              <a:chOff x="2988652" y="4262680"/>
              <a:chExt cx="41277" cy="41277"/>
            </a:xfrm>
            <a:grpFill/>
          </p:grpSpPr>
          <p:sp>
            <p:nvSpPr>
              <p:cNvPr id="159" name="Freeform: Shape 158">
                <a:extLst>
                  <a:ext uri="{FF2B5EF4-FFF2-40B4-BE49-F238E27FC236}">
                    <a16:creationId xmlns:a16="http://schemas.microsoft.com/office/drawing/2014/main" id="{ADA3003E-BB71-DCFB-8779-C911E0C264D2}"/>
                  </a:ext>
                </a:extLst>
              </p:cNvPr>
              <p:cNvSpPr/>
              <p:nvPr/>
            </p:nvSpPr>
            <p:spPr>
              <a:xfrm>
                <a:off x="2992310" y="4266207"/>
                <a:ext cx="33962" cy="33962"/>
              </a:xfrm>
              <a:custGeom>
                <a:avLst/>
                <a:gdLst>
                  <a:gd name="connsiteX0" fmla="*/ 33963 w 33962"/>
                  <a:gd name="connsiteY0" fmla="*/ 16981 h 33962"/>
                  <a:gd name="connsiteX1" fmla="*/ 16981 w 33962"/>
                  <a:gd name="connsiteY1" fmla="*/ 33962 h 33962"/>
                  <a:gd name="connsiteX2" fmla="*/ 0 w 33962"/>
                  <a:gd name="connsiteY2" fmla="*/ 16981 h 33962"/>
                  <a:gd name="connsiteX3" fmla="*/ 16981 w 33962"/>
                  <a:gd name="connsiteY3" fmla="*/ 0 h 33962"/>
                  <a:gd name="connsiteX4" fmla="*/ 33963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33963" y="16981"/>
                    </a:moveTo>
                    <a:cubicBezTo>
                      <a:pt x="33963" y="26360"/>
                      <a:pt x="26360" y="33962"/>
                      <a:pt x="16981" y="33962"/>
                    </a:cubicBezTo>
                    <a:cubicBezTo>
                      <a:pt x="7603" y="33962"/>
                      <a:pt x="0" y="26360"/>
                      <a:pt x="0" y="16981"/>
                    </a:cubicBezTo>
                    <a:cubicBezTo>
                      <a:pt x="0" y="7603"/>
                      <a:pt x="7603" y="0"/>
                      <a:pt x="16981" y="0"/>
                    </a:cubicBezTo>
                    <a:cubicBezTo>
                      <a:pt x="26360" y="0"/>
                      <a:pt x="33963" y="7603"/>
                      <a:pt x="33963"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60" name="Freeform: Shape 159">
                <a:extLst>
                  <a:ext uri="{FF2B5EF4-FFF2-40B4-BE49-F238E27FC236}">
                    <a16:creationId xmlns:a16="http://schemas.microsoft.com/office/drawing/2014/main" id="{B29EEBC7-2705-660B-C559-39C97B77C916}"/>
                  </a:ext>
                </a:extLst>
              </p:cNvPr>
              <p:cNvSpPr/>
              <p:nvPr/>
            </p:nvSpPr>
            <p:spPr>
              <a:xfrm>
                <a:off x="2988652" y="4262680"/>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44" name="Graphic 717">
              <a:extLst>
                <a:ext uri="{FF2B5EF4-FFF2-40B4-BE49-F238E27FC236}">
                  <a16:creationId xmlns:a16="http://schemas.microsoft.com/office/drawing/2014/main" id="{37F2E348-FC0E-2E8A-1B68-5D490434E505}"/>
                </a:ext>
              </a:extLst>
            </p:cNvPr>
            <p:cNvGrpSpPr/>
            <p:nvPr/>
          </p:nvGrpSpPr>
          <p:grpSpPr>
            <a:xfrm>
              <a:off x="2988652" y="4262680"/>
              <a:ext cx="41277" cy="41277"/>
              <a:chOff x="2988652" y="4262680"/>
              <a:chExt cx="41277" cy="41277"/>
            </a:xfrm>
            <a:grpFill/>
          </p:grpSpPr>
          <p:sp>
            <p:nvSpPr>
              <p:cNvPr id="157" name="Freeform: Shape 156">
                <a:extLst>
                  <a:ext uri="{FF2B5EF4-FFF2-40B4-BE49-F238E27FC236}">
                    <a16:creationId xmlns:a16="http://schemas.microsoft.com/office/drawing/2014/main" id="{ABB71B8D-2AE9-7C59-E16E-2551E43273C5}"/>
                  </a:ext>
                </a:extLst>
              </p:cNvPr>
              <p:cNvSpPr/>
              <p:nvPr/>
            </p:nvSpPr>
            <p:spPr>
              <a:xfrm>
                <a:off x="2992310" y="4266207"/>
                <a:ext cx="33962" cy="33962"/>
              </a:xfrm>
              <a:custGeom>
                <a:avLst/>
                <a:gdLst>
                  <a:gd name="connsiteX0" fmla="*/ 33963 w 33962"/>
                  <a:gd name="connsiteY0" fmla="*/ 16981 h 33962"/>
                  <a:gd name="connsiteX1" fmla="*/ 16981 w 33962"/>
                  <a:gd name="connsiteY1" fmla="*/ 33962 h 33962"/>
                  <a:gd name="connsiteX2" fmla="*/ 0 w 33962"/>
                  <a:gd name="connsiteY2" fmla="*/ 16981 h 33962"/>
                  <a:gd name="connsiteX3" fmla="*/ 16981 w 33962"/>
                  <a:gd name="connsiteY3" fmla="*/ 0 h 33962"/>
                  <a:gd name="connsiteX4" fmla="*/ 33963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33963" y="16981"/>
                    </a:moveTo>
                    <a:cubicBezTo>
                      <a:pt x="33963" y="26360"/>
                      <a:pt x="26360" y="33962"/>
                      <a:pt x="16981" y="33962"/>
                    </a:cubicBezTo>
                    <a:cubicBezTo>
                      <a:pt x="7603" y="33962"/>
                      <a:pt x="0" y="26360"/>
                      <a:pt x="0" y="16981"/>
                    </a:cubicBezTo>
                    <a:cubicBezTo>
                      <a:pt x="0" y="7603"/>
                      <a:pt x="7603" y="0"/>
                      <a:pt x="16981" y="0"/>
                    </a:cubicBezTo>
                    <a:cubicBezTo>
                      <a:pt x="26360" y="0"/>
                      <a:pt x="33963" y="7603"/>
                      <a:pt x="33963"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58" name="Freeform: Shape 157">
                <a:extLst>
                  <a:ext uri="{FF2B5EF4-FFF2-40B4-BE49-F238E27FC236}">
                    <a16:creationId xmlns:a16="http://schemas.microsoft.com/office/drawing/2014/main" id="{D75E52D0-0C0C-B18E-F90D-F75253EB9652}"/>
                  </a:ext>
                </a:extLst>
              </p:cNvPr>
              <p:cNvSpPr/>
              <p:nvPr/>
            </p:nvSpPr>
            <p:spPr>
              <a:xfrm>
                <a:off x="2988652" y="4262680"/>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45" name="Graphic 717">
              <a:extLst>
                <a:ext uri="{FF2B5EF4-FFF2-40B4-BE49-F238E27FC236}">
                  <a16:creationId xmlns:a16="http://schemas.microsoft.com/office/drawing/2014/main" id="{A64D108B-9085-D51F-5CB8-A08438A10DBA}"/>
                </a:ext>
              </a:extLst>
            </p:cNvPr>
            <p:cNvGrpSpPr/>
            <p:nvPr/>
          </p:nvGrpSpPr>
          <p:grpSpPr>
            <a:xfrm>
              <a:off x="2988652" y="4445032"/>
              <a:ext cx="41277" cy="41277"/>
              <a:chOff x="2988652" y="4445032"/>
              <a:chExt cx="41277" cy="41277"/>
            </a:xfrm>
            <a:grpFill/>
          </p:grpSpPr>
          <p:sp>
            <p:nvSpPr>
              <p:cNvPr id="155" name="Freeform: Shape 154">
                <a:extLst>
                  <a:ext uri="{FF2B5EF4-FFF2-40B4-BE49-F238E27FC236}">
                    <a16:creationId xmlns:a16="http://schemas.microsoft.com/office/drawing/2014/main" id="{AE20231A-5465-FCC9-0BC4-C4A5FD3534F8}"/>
                  </a:ext>
                </a:extLst>
              </p:cNvPr>
              <p:cNvSpPr/>
              <p:nvPr/>
            </p:nvSpPr>
            <p:spPr>
              <a:xfrm>
                <a:off x="2992310" y="4448690"/>
                <a:ext cx="33962" cy="33962"/>
              </a:xfrm>
              <a:custGeom>
                <a:avLst/>
                <a:gdLst>
                  <a:gd name="connsiteX0" fmla="*/ 0 w 33962"/>
                  <a:gd name="connsiteY0" fmla="*/ 16981 h 33962"/>
                  <a:gd name="connsiteX1" fmla="*/ 16981 w 33962"/>
                  <a:gd name="connsiteY1" fmla="*/ 0 h 33962"/>
                  <a:gd name="connsiteX2" fmla="*/ 33963 w 33962"/>
                  <a:gd name="connsiteY2" fmla="*/ 16981 h 33962"/>
                  <a:gd name="connsiteX3" fmla="*/ 16981 w 33962"/>
                  <a:gd name="connsiteY3" fmla="*/ 33963 h 33962"/>
                  <a:gd name="connsiteX4" fmla="*/ 0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0" y="16981"/>
                    </a:moveTo>
                    <a:cubicBezTo>
                      <a:pt x="0" y="7576"/>
                      <a:pt x="7576" y="0"/>
                      <a:pt x="16981" y="0"/>
                    </a:cubicBezTo>
                    <a:cubicBezTo>
                      <a:pt x="26386" y="0"/>
                      <a:pt x="33963" y="7576"/>
                      <a:pt x="33963" y="16981"/>
                    </a:cubicBezTo>
                    <a:cubicBezTo>
                      <a:pt x="33963" y="26386"/>
                      <a:pt x="26386" y="33963"/>
                      <a:pt x="16981" y="33963"/>
                    </a:cubicBezTo>
                    <a:cubicBezTo>
                      <a:pt x="7576" y="33963"/>
                      <a:pt x="0" y="26386"/>
                      <a:pt x="0"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56" name="Freeform: Shape 155">
                <a:extLst>
                  <a:ext uri="{FF2B5EF4-FFF2-40B4-BE49-F238E27FC236}">
                    <a16:creationId xmlns:a16="http://schemas.microsoft.com/office/drawing/2014/main" id="{A297C57B-D344-0F29-246A-23016CB26A8F}"/>
                  </a:ext>
                </a:extLst>
              </p:cNvPr>
              <p:cNvSpPr/>
              <p:nvPr/>
            </p:nvSpPr>
            <p:spPr>
              <a:xfrm>
                <a:off x="2988652" y="4445032"/>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46" name="Graphic 717">
              <a:extLst>
                <a:ext uri="{FF2B5EF4-FFF2-40B4-BE49-F238E27FC236}">
                  <a16:creationId xmlns:a16="http://schemas.microsoft.com/office/drawing/2014/main" id="{A61FAEAA-771D-15B1-80D7-14F324A59F24}"/>
                </a:ext>
              </a:extLst>
            </p:cNvPr>
            <p:cNvGrpSpPr/>
            <p:nvPr/>
          </p:nvGrpSpPr>
          <p:grpSpPr>
            <a:xfrm>
              <a:off x="2988652" y="4626078"/>
              <a:ext cx="41277" cy="41277"/>
              <a:chOff x="2988652" y="4626078"/>
              <a:chExt cx="41277" cy="41277"/>
            </a:xfrm>
            <a:grpFill/>
          </p:grpSpPr>
          <p:sp>
            <p:nvSpPr>
              <p:cNvPr id="153" name="Freeform: Shape 152">
                <a:extLst>
                  <a:ext uri="{FF2B5EF4-FFF2-40B4-BE49-F238E27FC236}">
                    <a16:creationId xmlns:a16="http://schemas.microsoft.com/office/drawing/2014/main" id="{DCAED6F1-BEA4-13BB-972F-F7ADDC6E211C}"/>
                  </a:ext>
                </a:extLst>
              </p:cNvPr>
              <p:cNvSpPr/>
              <p:nvPr/>
            </p:nvSpPr>
            <p:spPr>
              <a:xfrm>
                <a:off x="2992310" y="4629736"/>
                <a:ext cx="33962" cy="33962"/>
              </a:xfrm>
              <a:custGeom>
                <a:avLst/>
                <a:gdLst>
                  <a:gd name="connsiteX0" fmla="*/ 0 w 33962"/>
                  <a:gd name="connsiteY0" fmla="*/ 16981 h 33962"/>
                  <a:gd name="connsiteX1" fmla="*/ 16981 w 33962"/>
                  <a:gd name="connsiteY1" fmla="*/ 0 h 33962"/>
                  <a:gd name="connsiteX2" fmla="*/ 33963 w 33962"/>
                  <a:gd name="connsiteY2" fmla="*/ 16981 h 33962"/>
                  <a:gd name="connsiteX3" fmla="*/ 16981 w 33962"/>
                  <a:gd name="connsiteY3" fmla="*/ 33963 h 33962"/>
                  <a:gd name="connsiteX4" fmla="*/ 0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0" y="16981"/>
                    </a:moveTo>
                    <a:cubicBezTo>
                      <a:pt x="0" y="7576"/>
                      <a:pt x="7576" y="0"/>
                      <a:pt x="16981" y="0"/>
                    </a:cubicBezTo>
                    <a:cubicBezTo>
                      <a:pt x="26386" y="0"/>
                      <a:pt x="33963" y="7576"/>
                      <a:pt x="33963" y="16981"/>
                    </a:cubicBezTo>
                    <a:cubicBezTo>
                      <a:pt x="33963" y="26386"/>
                      <a:pt x="26386" y="33963"/>
                      <a:pt x="16981" y="33963"/>
                    </a:cubicBezTo>
                    <a:cubicBezTo>
                      <a:pt x="7576" y="33963"/>
                      <a:pt x="0" y="26386"/>
                      <a:pt x="0"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54" name="Freeform: Shape 153">
                <a:extLst>
                  <a:ext uri="{FF2B5EF4-FFF2-40B4-BE49-F238E27FC236}">
                    <a16:creationId xmlns:a16="http://schemas.microsoft.com/office/drawing/2014/main" id="{B2EB0945-19E5-937F-04D0-526EBB89CFA5}"/>
                  </a:ext>
                </a:extLst>
              </p:cNvPr>
              <p:cNvSpPr/>
              <p:nvPr/>
            </p:nvSpPr>
            <p:spPr>
              <a:xfrm>
                <a:off x="2988652" y="4626078"/>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47" name="Graphic 717">
              <a:extLst>
                <a:ext uri="{FF2B5EF4-FFF2-40B4-BE49-F238E27FC236}">
                  <a16:creationId xmlns:a16="http://schemas.microsoft.com/office/drawing/2014/main" id="{224EB94D-E720-51A2-A6A0-B0695D6024AC}"/>
                </a:ext>
              </a:extLst>
            </p:cNvPr>
            <p:cNvGrpSpPr/>
            <p:nvPr/>
          </p:nvGrpSpPr>
          <p:grpSpPr>
            <a:xfrm>
              <a:off x="2988652" y="4626078"/>
              <a:ext cx="41277" cy="41277"/>
              <a:chOff x="2988652" y="4626078"/>
              <a:chExt cx="41277" cy="41277"/>
            </a:xfrm>
            <a:grpFill/>
          </p:grpSpPr>
          <p:sp>
            <p:nvSpPr>
              <p:cNvPr id="151" name="Freeform: Shape 150">
                <a:extLst>
                  <a:ext uri="{FF2B5EF4-FFF2-40B4-BE49-F238E27FC236}">
                    <a16:creationId xmlns:a16="http://schemas.microsoft.com/office/drawing/2014/main" id="{FB394F87-2401-973A-CD34-6152FA138786}"/>
                  </a:ext>
                </a:extLst>
              </p:cNvPr>
              <p:cNvSpPr/>
              <p:nvPr/>
            </p:nvSpPr>
            <p:spPr>
              <a:xfrm>
                <a:off x="2992310" y="4629736"/>
                <a:ext cx="33962" cy="33962"/>
              </a:xfrm>
              <a:custGeom>
                <a:avLst/>
                <a:gdLst>
                  <a:gd name="connsiteX0" fmla="*/ 0 w 33962"/>
                  <a:gd name="connsiteY0" fmla="*/ 16981 h 33962"/>
                  <a:gd name="connsiteX1" fmla="*/ 16981 w 33962"/>
                  <a:gd name="connsiteY1" fmla="*/ 0 h 33962"/>
                  <a:gd name="connsiteX2" fmla="*/ 33963 w 33962"/>
                  <a:gd name="connsiteY2" fmla="*/ 16981 h 33962"/>
                  <a:gd name="connsiteX3" fmla="*/ 16981 w 33962"/>
                  <a:gd name="connsiteY3" fmla="*/ 33963 h 33962"/>
                  <a:gd name="connsiteX4" fmla="*/ 0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0" y="16981"/>
                    </a:moveTo>
                    <a:cubicBezTo>
                      <a:pt x="0" y="7576"/>
                      <a:pt x="7576" y="0"/>
                      <a:pt x="16981" y="0"/>
                    </a:cubicBezTo>
                    <a:cubicBezTo>
                      <a:pt x="26386" y="0"/>
                      <a:pt x="33963" y="7576"/>
                      <a:pt x="33963" y="16981"/>
                    </a:cubicBezTo>
                    <a:cubicBezTo>
                      <a:pt x="33963" y="26386"/>
                      <a:pt x="26386" y="33963"/>
                      <a:pt x="16981" y="33963"/>
                    </a:cubicBezTo>
                    <a:cubicBezTo>
                      <a:pt x="7576" y="33963"/>
                      <a:pt x="0" y="26386"/>
                      <a:pt x="0"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52" name="Freeform: Shape 151">
                <a:extLst>
                  <a:ext uri="{FF2B5EF4-FFF2-40B4-BE49-F238E27FC236}">
                    <a16:creationId xmlns:a16="http://schemas.microsoft.com/office/drawing/2014/main" id="{89BD9184-CDC6-7BE8-BE36-FB6249EB5A68}"/>
                  </a:ext>
                </a:extLst>
              </p:cNvPr>
              <p:cNvSpPr/>
              <p:nvPr/>
            </p:nvSpPr>
            <p:spPr>
              <a:xfrm>
                <a:off x="2988652" y="4626078"/>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48" name="Graphic 717">
              <a:extLst>
                <a:ext uri="{FF2B5EF4-FFF2-40B4-BE49-F238E27FC236}">
                  <a16:creationId xmlns:a16="http://schemas.microsoft.com/office/drawing/2014/main" id="{2B520A91-7E61-7B1C-30B1-F69E27F07838}"/>
                </a:ext>
              </a:extLst>
            </p:cNvPr>
            <p:cNvGrpSpPr/>
            <p:nvPr/>
          </p:nvGrpSpPr>
          <p:grpSpPr>
            <a:xfrm>
              <a:off x="3075518" y="4445032"/>
              <a:ext cx="41277" cy="41277"/>
              <a:chOff x="3075518" y="4445032"/>
              <a:chExt cx="41277" cy="41277"/>
            </a:xfrm>
            <a:grpFill/>
          </p:grpSpPr>
          <p:sp>
            <p:nvSpPr>
              <p:cNvPr id="149" name="Freeform: Shape 148">
                <a:extLst>
                  <a:ext uri="{FF2B5EF4-FFF2-40B4-BE49-F238E27FC236}">
                    <a16:creationId xmlns:a16="http://schemas.microsoft.com/office/drawing/2014/main" id="{A1D0DA29-F8E4-AB09-7441-073F8AFA8389}"/>
                  </a:ext>
                </a:extLst>
              </p:cNvPr>
              <p:cNvSpPr/>
              <p:nvPr/>
            </p:nvSpPr>
            <p:spPr>
              <a:xfrm>
                <a:off x="3079175" y="4448690"/>
                <a:ext cx="33962" cy="33962"/>
              </a:xfrm>
              <a:custGeom>
                <a:avLst/>
                <a:gdLst>
                  <a:gd name="connsiteX0" fmla="*/ 0 w 33962"/>
                  <a:gd name="connsiteY0" fmla="*/ 16981 h 33962"/>
                  <a:gd name="connsiteX1" fmla="*/ 16981 w 33962"/>
                  <a:gd name="connsiteY1" fmla="*/ 0 h 33962"/>
                  <a:gd name="connsiteX2" fmla="*/ 33963 w 33962"/>
                  <a:gd name="connsiteY2" fmla="*/ 16981 h 33962"/>
                  <a:gd name="connsiteX3" fmla="*/ 16981 w 33962"/>
                  <a:gd name="connsiteY3" fmla="*/ 33963 h 33962"/>
                  <a:gd name="connsiteX4" fmla="*/ 0 w 33962"/>
                  <a:gd name="connsiteY4" fmla="*/ 16981 h 3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2" h="33962">
                    <a:moveTo>
                      <a:pt x="0" y="16981"/>
                    </a:moveTo>
                    <a:cubicBezTo>
                      <a:pt x="0" y="7576"/>
                      <a:pt x="7576" y="0"/>
                      <a:pt x="16981" y="0"/>
                    </a:cubicBezTo>
                    <a:cubicBezTo>
                      <a:pt x="26386" y="0"/>
                      <a:pt x="33963" y="7576"/>
                      <a:pt x="33963" y="16981"/>
                    </a:cubicBezTo>
                    <a:cubicBezTo>
                      <a:pt x="33963" y="26386"/>
                      <a:pt x="26386" y="33963"/>
                      <a:pt x="16981" y="33963"/>
                    </a:cubicBezTo>
                    <a:cubicBezTo>
                      <a:pt x="7576" y="33963"/>
                      <a:pt x="0" y="26386"/>
                      <a:pt x="0" y="1698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50" name="Freeform: Shape 149">
                <a:extLst>
                  <a:ext uri="{FF2B5EF4-FFF2-40B4-BE49-F238E27FC236}">
                    <a16:creationId xmlns:a16="http://schemas.microsoft.com/office/drawing/2014/main" id="{B1B960E5-D51F-393C-3B46-05089E1EB727}"/>
                  </a:ext>
                </a:extLst>
              </p:cNvPr>
              <p:cNvSpPr/>
              <p:nvPr/>
            </p:nvSpPr>
            <p:spPr>
              <a:xfrm>
                <a:off x="3075518" y="4445032"/>
                <a:ext cx="41277" cy="41277"/>
              </a:xfrm>
              <a:custGeom>
                <a:avLst/>
                <a:gdLst>
                  <a:gd name="connsiteX0" fmla="*/ 20639 w 41277"/>
                  <a:gd name="connsiteY0" fmla="*/ 41277 h 41277"/>
                  <a:gd name="connsiteX1" fmla="*/ 0 w 41277"/>
                  <a:gd name="connsiteY1" fmla="*/ 20639 h 41277"/>
                  <a:gd name="connsiteX2" fmla="*/ 20639 w 41277"/>
                  <a:gd name="connsiteY2" fmla="*/ 0 h 41277"/>
                  <a:gd name="connsiteX3" fmla="*/ 41277 w 41277"/>
                  <a:gd name="connsiteY3" fmla="*/ 20639 h 41277"/>
                  <a:gd name="connsiteX4" fmla="*/ 20639 w 41277"/>
                  <a:gd name="connsiteY4" fmla="*/ 41277 h 41277"/>
                  <a:gd name="connsiteX5" fmla="*/ 20639 w 41277"/>
                  <a:gd name="connsiteY5" fmla="*/ 7446 h 41277"/>
                  <a:gd name="connsiteX6" fmla="*/ 7446 w 41277"/>
                  <a:gd name="connsiteY6" fmla="*/ 20639 h 41277"/>
                  <a:gd name="connsiteX7" fmla="*/ 20639 w 41277"/>
                  <a:gd name="connsiteY7" fmla="*/ 33832 h 41277"/>
                  <a:gd name="connsiteX8" fmla="*/ 33832 w 41277"/>
                  <a:gd name="connsiteY8" fmla="*/ 20639 h 41277"/>
                  <a:gd name="connsiteX9" fmla="*/ 20639 w 41277"/>
                  <a:gd name="connsiteY9" fmla="*/ 7446 h 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77" h="41277">
                    <a:moveTo>
                      <a:pt x="20639" y="41277"/>
                    </a:moveTo>
                    <a:cubicBezTo>
                      <a:pt x="9274" y="41277"/>
                      <a:pt x="0" y="32003"/>
                      <a:pt x="0" y="20639"/>
                    </a:cubicBezTo>
                    <a:cubicBezTo>
                      <a:pt x="0" y="9274"/>
                      <a:pt x="9274" y="0"/>
                      <a:pt x="20639" y="0"/>
                    </a:cubicBezTo>
                    <a:cubicBezTo>
                      <a:pt x="32003" y="0"/>
                      <a:pt x="41277" y="9274"/>
                      <a:pt x="41277" y="20639"/>
                    </a:cubicBezTo>
                    <a:cubicBezTo>
                      <a:pt x="41277" y="32003"/>
                      <a:pt x="32003" y="41277"/>
                      <a:pt x="20639" y="41277"/>
                    </a:cubicBezTo>
                    <a:close/>
                    <a:moveTo>
                      <a:pt x="20639" y="7446"/>
                    </a:moveTo>
                    <a:cubicBezTo>
                      <a:pt x="13324" y="7446"/>
                      <a:pt x="7446" y="13324"/>
                      <a:pt x="7446" y="20639"/>
                    </a:cubicBezTo>
                    <a:cubicBezTo>
                      <a:pt x="7446" y="27954"/>
                      <a:pt x="13324" y="33832"/>
                      <a:pt x="20639" y="33832"/>
                    </a:cubicBezTo>
                    <a:cubicBezTo>
                      <a:pt x="27954" y="33832"/>
                      <a:pt x="33832" y="27954"/>
                      <a:pt x="33832" y="20639"/>
                    </a:cubicBezTo>
                    <a:cubicBezTo>
                      <a:pt x="33832" y="13324"/>
                      <a:pt x="27954" y="7446"/>
                      <a:pt x="20639"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nvGrpSpPr>
          <p:cNvPr id="167" name="Graphic 717">
            <a:extLst>
              <a:ext uri="{FF2B5EF4-FFF2-40B4-BE49-F238E27FC236}">
                <a16:creationId xmlns:a16="http://schemas.microsoft.com/office/drawing/2014/main" id="{EA02EA4D-C25D-7A6B-970F-4F372C68C0CC}"/>
              </a:ext>
            </a:extLst>
          </p:cNvPr>
          <p:cNvGrpSpPr/>
          <p:nvPr/>
        </p:nvGrpSpPr>
        <p:grpSpPr>
          <a:xfrm>
            <a:off x="9296033" y="2781675"/>
            <a:ext cx="151524" cy="150084"/>
            <a:chOff x="3469647" y="4083932"/>
            <a:chExt cx="170574" cy="164117"/>
          </a:xfrm>
          <a:noFill/>
        </p:grpSpPr>
        <p:sp>
          <p:nvSpPr>
            <p:cNvPr id="168" name="Freeform: Shape 167">
              <a:extLst>
                <a:ext uri="{FF2B5EF4-FFF2-40B4-BE49-F238E27FC236}">
                  <a16:creationId xmlns:a16="http://schemas.microsoft.com/office/drawing/2014/main" id="{AC2237D5-E3E7-38D3-0F6C-1AE2621F2144}"/>
                </a:ext>
              </a:extLst>
            </p:cNvPr>
            <p:cNvSpPr/>
            <p:nvPr/>
          </p:nvSpPr>
          <p:spPr>
            <a:xfrm>
              <a:off x="3473223" y="4088688"/>
              <a:ext cx="161238" cy="155835"/>
            </a:xfrm>
            <a:custGeom>
              <a:avLst/>
              <a:gdLst>
                <a:gd name="connsiteX0" fmla="*/ 137596 w 161238"/>
                <a:gd name="connsiteY0" fmla="*/ 64659 h 155835"/>
                <a:gd name="connsiteX1" fmla="*/ 131195 w 161238"/>
                <a:gd name="connsiteY1" fmla="*/ 42976 h 155835"/>
                <a:gd name="connsiteX2" fmla="*/ 144649 w 161238"/>
                <a:gd name="connsiteY2" fmla="*/ 23512 h 155835"/>
                <a:gd name="connsiteX3" fmla="*/ 111471 w 161238"/>
                <a:gd name="connsiteY3" fmla="*/ 0 h 155835"/>
                <a:gd name="connsiteX4" fmla="*/ 98669 w 161238"/>
                <a:gd name="connsiteY4" fmla="*/ 21422 h 155835"/>
                <a:gd name="connsiteX5" fmla="*/ 97885 w 161238"/>
                <a:gd name="connsiteY5" fmla="*/ 22467 h 155835"/>
                <a:gd name="connsiteX6" fmla="*/ 96187 w 161238"/>
                <a:gd name="connsiteY6" fmla="*/ 22859 h 155835"/>
                <a:gd name="connsiteX7" fmla="*/ 73981 w 161238"/>
                <a:gd name="connsiteY7" fmla="*/ 22467 h 155835"/>
                <a:gd name="connsiteX8" fmla="*/ 62747 w 161238"/>
                <a:gd name="connsiteY8" fmla="*/ 2221 h 155835"/>
                <a:gd name="connsiteX9" fmla="*/ 61441 w 161238"/>
                <a:gd name="connsiteY9" fmla="*/ 1045 h 155835"/>
                <a:gd name="connsiteX10" fmla="*/ 59743 w 161238"/>
                <a:gd name="connsiteY10" fmla="*/ 1568 h 155835"/>
                <a:gd name="connsiteX11" fmla="*/ 33357 w 161238"/>
                <a:gd name="connsiteY11" fmla="*/ 17765 h 155835"/>
                <a:gd name="connsiteX12" fmla="*/ 32704 w 161238"/>
                <a:gd name="connsiteY12" fmla="*/ 18288 h 155835"/>
                <a:gd name="connsiteX13" fmla="*/ 32965 w 161238"/>
                <a:gd name="connsiteY13" fmla="*/ 20247 h 155835"/>
                <a:gd name="connsiteX14" fmla="*/ 44721 w 161238"/>
                <a:gd name="connsiteY14" fmla="*/ 36967 h 155835"/>
                <a:gd name="connsiteX15" fmla="*/ 32050 w 161238"/>
                <a:gd name="connsiteY15" fmla="*/ 58128 h 155835"/>
                <a:gd name="connsiteX16" fmla="*/ 27871 w 161238"/>
                <a:gd name="connsiteY16" fmla="*/ 61916 h 155835"/>
                <a:gd name="connsiteX17" fmla="*/ 23168 w 161238"/>
                <a:gd name="connsiteY17" fmla="*/ 61524 h 155835"/>
                <a:gd name="connsiteX18" fmla="*/ 4750 w 161238"/>
                <a:gd name="connsiteY18" fmla="*/ 55385 h 155835"/>
                <a:gd name="connsiteX19" fmla="*/ 2007 w 161238"/>
                <a:gd name="connsiteY19" fmla="*/ 95095 h 155835"/>
                <a:gd name="connsiteX20" fmla="*/ 25519 w 161238"/>
                <a:gd name="connsiteY20" fmla="*/ 92744 h 155835"/>
                <a:gd name="connsiteX21" fmla="*/ 39235 w 161238"/>
                <a:gd name="connsiteY21" fmla="*/ 117040 h 155835"/>
                <a:gd name="connsiteX22" fmla="*/ 28263 w 161238"/>
                <a:gd name="connsiteY22" fmla="*/ 135458 h 155835"/>
                <a:gd name="connsiteX23" fmla="*/ 53473 w 161238"/>
                <a:gd name="connsiteY23" fmla="*/ 154268 h 155835"/>
                <a:gd name="connsiteX24" fmla="*/ 66536 w 161238"/>
                <a:gd name="connsiteY24" fmla="*/ 134674 h 155835"/>
                <a:gd name="connsiteX25" fmla="*/ 89656 w 161238"/>
                <a:gd name="connsiteY25" fmla="*/ 135197 h 155835"/>
                <a:gd name="connsiteX26" fmla="*/ 98539 w 161238"/>
                <a:gd name="connsiteY26" fmla="*/ 155835 h 155835"/>
                <a:gd name="connsiteX27" fmla="*/ 133024 w 161238"/>
                <a:gd name="connsiteY27" fmla="*/ 143687 h 155835"/>
                <a:gd name="connsiteX28" fmla="*/ 124664 w 161238"/>
                <a:gd name="connsiteY28" fmla="*/ 122526 h 155835"/>
                <a:gd name="connsiteX29" fmla="*/ 137073 w 161238"/>
                <a:gd name="connsiteY29" fmla="*/ 102018 h 155835"/>
                <a:gd name="connsiteX30" fmla="*/ 160455 w 161238"/>
                <a:gd name="connsiteY30" fmla="*/ 100059 h 155835"/>
                <a:gd name="connsiteX31" fmla="*/ 161239 w 161238"/>
                <a:gd name="connsiteY31" fmla="*/ 70929 h 155835"/>
                <a:gd name="connsiteX32" fmla="*/ 137857 w 161238"/>
                <a:gd name="connsiteY32" fmla="*/ 64659 h 155835"/>
                <a:gd name="connsiteX33" fmla="*/ 97885 w 161238"/>
                <a:gd name="connsiteY33" fmla="*/ 75632 h 155835"/>
                <a:gd name="connsiteX34" fmla="*/ 96841 w 161238"/>
                <a:gd name="connsiteY34" fmla="*/ 79550 h 155835"/>
                <a:gd name="connsiteX35" fmla="*/ 95665 w 161238"/>
                <a:gd name="connsiteY35" fmla="*/ 81902 h 155835"/>
                <a:gd name="connsiteX36" fmla="*/ 92530 w 161238"/>
                <a:gd name="connsiteY36" fmla="*/ 85690 h 155835"/>
                <a:gd name="connsiteX37" fmla="*/ 84170 w 161238"/>
                <a:gd name="connsiteY37" fmla="*/ 90915 h 155835"/>
                <a:gd name="connsiteX38" fmla="*/ 80251 w 161238"/>
                <a:gd name="connsiteY38" fmla="*/ 91960 h 155835"/>
                <a:gd name="connsiteX39" fmla="*/ 76855 w 161238"/>
                <a:gd name="connsiteY39" fmla="*/ 92091 h 155835"/>
                <a:gd name="connsiteX40" fmla="*/ 74634 w 161238"/>
                <a:gd name="connsiteY40" fmla="*/ 91829 h 155835"/>
                <a:gd name="connsiteX41" fmla="*/ 73589 w 161238"/>
                <a:gd name="connsiteY41" fmla="*/ 91568 h 155835"/>
                <a:gd name="connsiteX42" fmla="*/ 64837 w 161238"/>
                <a:gd name="connsiteY42" fmla="*/ 84253 h 155835"/>
                <a:gd name="connsiteX43" fmla="*/ 62747 w 161238"/>
                <a:gd name="connsiteY43" fmla="*/ 77722 h 155835"/>
                <a:gd name="connsiteX44" fmla="*/ 63923 w 161238"/>
                <a:gd name="connsiteY44" fmla="*/ 71713 h 155835"/>
                <a:gd name="connsiteX45" fmla="*/ 67972 w 161238"/>
                <a:gd name="connsiteY45" fmla="*/ 63876 h 155835"/>
                <a:gd name="connsiteX46" fmla="*/ 75026 w 161238"/>
                <a:gd name="connsiteY46" fmla="*/ 56822 h 155835"/>
                <a:gd name="connsiteX47" fmla="*/ 84170 w 161238"/>
                <a:gd name="connsiteY47" fmla="*/ 56169 h 155835"/>
                <a:gd name="connsiteX48" fmla="*/ 87958 w 161238"/>
                <a:gd name="connsiteY48" fmla="*/ 55907 h 155835"/>
                <a:gd name="connsiteX49" fmla="*/ 93444 w 161238"/>
                <a:gd name="connsiteY49" fmla="*/ 59565 h 155835"/>
                <a:gd name="connsiteX50" fmla="*/ 96710 w 161238"/>
                <a:gd name="connsiteY50" fmla="*/ 65312 h 155835"/>
                <a:gd name="connsiteX51" fmla="*/ 97363 w 161238"/>
                <a:gd name="connsiteY51" fmla="*/ 67402 h 155835"/>
                <a:gd name="connsiteX52" fmla="*/ 97624 w 161238"/>
                <a:gd name="connsiteY52" fmla="*/ 68709 h 155835"/>
                <a:gd name="connsiteX53" fmla="*/ 97885 w 161238"/>
                <a:gd name="connsiteY53" fmla="*/ 70668 h 155835"/>
                <a:gd name="connsiteX54" fmla="*/ 97885 w 161238"/>
                <a:gd name="connsiteY54" fmla="*/ 70276 h 155835"/>
                <a:gd name="connsiteX55" fmla="*/ 97885 w 161238"/>
                <a:gd name="connsiteY55" fmla="*/ 70276 h 155835"/>
                <a:gd name="connsiteX56" fmla="*/ 98147 w 161238"/>
                <a:gd name="connsiteY56" fmla="*/ 72235 h 155835"/>
                <a:gd name="connsiteX57" fmla="*/ 98147 w 161238"/>
                <a:gd name="connsiteY57" fmla="*/ 73281 h 155835"/>
                <a:gd name="connsiteX58" fmla="*/ 97885 w 161238"/>
                <a:gd name="connsiteY58" fmla="*/ 75762 h 15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1238" h="155835">
                  <a:moveTo>
                    <a:pt x="137596" y="64659"/>
                  </a:moveTo>
                  <a:lnTo>
                    <a:pt x="131195" y="42976"/>
                  </a:lnTo>
                  <a:lnTo>
                    <a:pt x="144649" y="23512"/>
                  </a:lnTo>
                  <a:lnTo>
                    <a:pt x="111471" y="0"/>
                  </a:lnTo>
                  <a:cubicBezTo>
                    <a:pt x="107160" y="7184"/>
                    <a:pt x="102849" y="14238"/>
                    <a:pt x="98669" y="21422"/>
                  </a:cubicBezTo>
                  <a:cubicBezTo>
                    <a:pt x="98408" y="21814"/>
                    <a:pt x="98147" y="22206"/>
                    <a:pt x="97885" y="22467"/>
                  </a:cubicBezTo>
                  <a:cubicBezTo>
                    <a:pt x="97363" y="22859"/>
                    <a:pt x="96710" y="22859"/>
                    <a:pt x="96187" y="22859"/>
                  </a:cubicBezTo>
                  <a:cubicBezTo>
                    <a:pt x="88742" y="22859"/>
                    <a:pt x="81427" y="22598"/>
                    <a:pt x="73981" y="22467"/>
                  </a:cubicBezTo>
                  <a:cubicBezTo>
                    <a:pt x="70324" y="15414"/>
                    <a:pt x="66797" y="8621"/>
                    <a:pt x="62747" y="2221"/>
                  </a:cubicBezTo>
                  <a:cubicBezTo>
                    <a:pt x="62486" y="1698"/>
                    <a:pt x="62094" y="1176"/>
                    <a:pt x="61441" y="1045"/>
                  </a:cubicBezTo>
                  <a:cubicBezTo>
                    <a:pt x="60919" y="914"/>
                    <a:pt x="60265" y="1176"/>
                    <a:pt x="59743" y="1568"/>
                  </a:cubicBezTo>
                  <a:cubicBezTo>
                    <a:pt x="50991" y="6923"/>
                    <a:pt x="42109" y="12409"/>
                    <a:pt x="33357" y="17765"/>
                  </a:cubicBezTo>
                  <a:cubicBezTo>
                    <a:pt x="33096" y="17896"/>
                    <a:pt x="32834" y="18026"/>
                    <a:pt x="32704" y="18288"/>
                  </a:cubicBezTo>
                  <a:cubicBezTo>
                    <a:pt x="32312" y="18810"/>
                    <a:pt x="32704" y="19594"/>
                    <a:pt x="32965" y="20247"/>
                  </a:cubicBezTo>
                  <a:cubicBezTo>
                    <a:pt x="36231" y="26256"/>
                    <a:pt x="40280" y="31872"/>
                    <a:pt x="44721" y="36967"/>
                  </a:cubicBezTo>
                  <a:cubicBezTo>
                    <a:pt x="40803" y="44413"/>
                    <a:pt x="36622" y="51466"/>
                    <a:pt x="32050" y="58128"/>
                  </a:cubicBezTo>
                  <a:cubicBezTo>
                    <a:pt x="31006" y="59696"/>
                    <a:pt x="29699" y="61394"/>
                    <a:pt x="27871" y="61916"/>
                  </a:cubicBezTo>
                  <a:cubicBezTo>
                    <a:pt x="26303" y="62439"/>
                    <a:pt x="24736" y="61916"/>
                    <a:pt x="23168" y="61524"/>
                  </a:cubicBezTo>
                  <a:cubicBezTo>
                    <a:pt x="17029" y="59696"/>
                    <a:pt x="10889" y="57736"/>
                    <a:pt x="4750" y="55385"/>
                  </a:cubicBezTo>
                  <a:cubicBezTo>
                    <a:pt x="-475" y="67794"/>
                    <a:pt x="-1389" y="82032"/>
                    <a:pt x="2007" y="95095"/>
                  </a:cubicBezTo>
                  <a:cubicBezTo>
                    <a:pt x="2530" y="96140"/>
                    <a:pt x="25519" y="92744"/>
                    <a:pt x="25519" y="92744"/>
                  </a:cubicBezTo>
                  <a:lnTo>
                    <a:pt x="39235" y="117040"/>
                  </a:lnTo>
                  <a:lnTo>
                    <a:pt x="28263" y="135458"/>
                  </a:lnTo>
                  <a:lnTo>
                    <a:pt x="53473" y="154268"/>
                  </a:lnTo>
                  <a:lnTo>
                    <a:pt x="66536" y="134674"/>
                  </a:lnTo>
                  <a:lnTo>
                    <a:pt x="89656" y="135197"/>
                  </a:lnTo>
                  <a:lnTo>
                    <a:pt x="98539" y="155835"/>
                  </a:lnTo>
                  <a:lnTo>
                    <a:pt x="133024" y="143687"/>
                  </a:lnTo>
                  <a:lnTo>
                    <a:pt x="124664" y="122526"/>
                  </a:lnTo>
                  <a:lnTo>
                    <a:pt x="137073" y="102018"/>
                  </a:lnTo>
                  <a:lnTo>
                    <a:pt x="160455" y="100059"/>
                  </a:lnTo>
                  <a:lnTo>
                    <a:pt x="161239" y="70929"/>
                  </a:lnTo>
                  <a:lnTo>
                    <a:pt x="137857" y="64659"/>
                  </a:lnTo>
                  <a:close/>
                  <a:moveTo>
                    <a:pt x="97885" y="75632"/>
                  </a:moveTo>
                  <a:cubicBezTo>
                    <a:pt x="98147" y="76677"/>
                    <a:pt x="97233" y="78636"/>
                    <a:pt x="96841" y="79550"/>
                  </a:cubicBezTo>
                  <a:cubicBezTo>
                    <a:pt x="96449" y="80334"/>
                    <a:pt x="96187" y="81118"/>
                    <a:pt x="95665" y="81902"/>
                  </a:cubicBezTo>
                  <a:cubicBezTo>
                    <a:pt x="94751" y="83208"/>
                    <a:pt x="93705" y="84645"/>
                    <a:pt x="92530" y="85690"/>
                  </a:cubicBezTo>
                  <a:cubicBezTo>
                    <a:pt x="90048" y="88041"/>
                    <a:pt x="87305" y="89739"/>
                    <a:pt x="84170" y="90915"/>
                  </a:cubicBezTo>
                  <a:cubicBezTo>
                    <a:pt x="82864" y="91437"/>
                    <a:pt x="81557" y="91699"/>
                    <a:pt x="80251" y="91960"/>
                  </a:cubicBezTo>
                  <a:cubicBezTo>
                    <a:pt x="79075" y="92221"/>
                    <a:pt x="78031" y="92221"/>
                    <a:pt x="76855" y="92091"/>
                  </a:cubicBezTo>
                  <a:cubicBezTo>
                    <a:pt x="76071" y="92091"/>
                    <a:pt x="75418" y="91829"/>
                    <a:pt x="74634" y="91829"/>
                  </a:cubicBezTo>
                  <a:cubicBezTo>
                    <a:pt x="76724" y="91829"/>
                    <a:pt x="74504" y="91829"/>
                    <a:pt x="73589" y="91568"/>
                  </a:cubicBezTo>
                  <a:cubicBezTo>
                    <a:pt x="70062" y="90523"/>
                    <a:pt x="66536" y="87519"/>
                    <a:pt x="64837" y="84253"/>
                  </a:cubicBezTo>
                  <a:cubicBezTo>
                    <a:pt x="63793" y="82294"/>
                    <a:pt x="62878" y="80073"/>
                    <a:pt x="62747" y="77722"/>
                  </a:cubicBezTo>
                  <a:cubicBezTo>
                    <a:pt x="62747" y="75632"/>
                    <a:pt x="63139" y="73542"/>
                    <a:pt x="63923" y="71713"/>
                  </a:cubicBezTo>
                  <a:cubicBezTo>
                    <a:pt x="65099" y="68970"/>
                    <a:pt x="66275" y="66357"/>
                    <a:pt x="67972" y="63876"/>
                  </a:cubicBezTo>
                  <a:cubicBezTo>
                    <a:pt x="69801" y="61132"/>
                    <a:pt x="72152" y="58389"/>
                    <a:pt x="75026" y="56822"/>
                  </a:cubicBezTo>
                  <a:cubicBezTo>
                    <a:pt x="78031" y="55254"/>
                    <a:pt x="81166" y="54993"/>
                    <a:pt x="84170" y="56169"/>
                  </a:cubicBezTo>
                  <a:cubicBezTo>
                    <a:pt x="85346" y="55646"/>
                    <a:pt x="86782" y="55385"/>
                    <a:pt x="87958" y="55907"/>
                  </a:cubicBezTo>
                  <a:cubicBezTo>
                    <a:pt x="90179" y="56691"/>
                    <a:pt x="91877" y="57736"/>
                    <a:pt x="93444" y="59565"/>
                  </a:cubicBezTo>
                  <a:cubicBezTo>
                    <a:pt x="94881" y="61394"/>
                    <a:pt x="95926" y="63092"/>
                    <a:pt x="96710" y="65312"/>
                  </a:cubicBezTo>
                  <a:cubicBezTo>
                    <a:pt x="96971" y="65966"/>
                    <a:pt x="97233" y="66619"/>
                    <a:pt x="97363" y="67402"/>
                  </a:cubicBezTo>
                  <a:cubicBezTo>
                    <a:pt x="97363" y="67794"/>
                    <a:pt x="97494" y="68186"/>
                    <a:pt x="97624" y="68709"/>
                  </a:cubicBezTo>
                  <a:cubicBezTo>
                    <a:pt x="97624" y="69362"/>
                    <a:pt x="97755" y="70015"/>
                    <a:pt x="97885" y="70668"/>
                  </a:cubicBezTo>
                  <a:cubicBezTo>
                    <a:pt x="97885" y="70538"/>
                    <a:pt x="97885" y="70407"/>
                    <a:pt x="97885" y="70276"/>
                  </a:cubicBezTo>
                  <a:cubicBezTo>
                    <a:pt x="97885" y="69754"/>
                    <a:pt x="97885" y="69754"/>
                    <a:pt x="97885" y="70276"/>
                  </a:cubicBezTo>
                  <a:cubicBezTo>
                    <a:pt x="97885" y="70929"/>
                    <a:pt x="98016" y="71583"/>
                    <a:pt x="98147" y="72235"/>
                  </a:cubicBezTo>
                  <a:cubicBezTo>
                    <a:pt x="98147" y="72627"/>
                    <a:pt x="98147" y="72889"/>
                    <a:pt x="98147" y="73281"/>
                  </a:cubicBezTo>
                  <a:cubicBezTo>
                    <a:pt x="98147" y="74064"/>
                    <a:pt x="98147" y="74979"/>
                    <a:pt x="97885" y="7576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69" name="Freeform: Shape 168">
              <a:extLst>
                <a:ext uri="{FF2B5EF4-FFF2-40B4-BE49-F238E27FC236}">
                  <a16:creationId xmlns:a16="http://schemas.microsoft.com/office/drawing/2014/main" id="{03123A1F-8135-2DB0-7830-7CF7B965DDF1}"/>
                </a:ext>
              </a:extLst>
            </p:cNvPr>
            <p:cNvSpPr/>
            <p:nvPr/>
          </p:nvSpPr>
          <p:spPr>
            <a:xfrm>
              <a:off x="3531761" y="4165716"/>
              <a:ext cx="43929" cy="25483"/>
            </a:xfrm>
            <a:custGeom>
              <a:avLst/>
              <a:gdLst>
                <a:gd name="connsiteX0" fmla="*/ 43919 w 43929"/>
                <a:gd name="connsiteY0" fmla="*/ 2915 h 25483"/>
                <a:gd name="connsiteX1" fmla="*/ 37388 w 43929"/>
                <a:gd name="connsiteY1" fmla="*/ 2392 h 25483"/>
                <a:gd name="connsiteX2" fmla="*/ 33077 w 43929"/>
                <a:gd name="connsiteY2" fmla="*/ 8793 h 25483"/>
                <a:gd name="connsiteX3" fmla="*/ 25501 w 43929"/>
                <a:gd name="connsiteY3" fmla="*/ 12842 h 25483"/>
                <a:gd name="connsiteX4" fmla="*/ 18186 w 43929"/>
                <a:gd name="connsiteY4" fmla="*/ 14018 h 25483"/>
                <a:gd name="connsiteX5" fmla="*/ 16488 w 43929"/>
                <a:gd name="connsiteY5" fmla="*/ 13626 h 25483"/>
                <a:gd name="connsiteX6" fmla="*/ 11132 w 43929"/>
                <a:gd name="connsiteY6" fmla="*/ 11013 h 25483"/>
                <a:gd name="connsiteX7" fmla="*/ 6168 w 43929"/>
                <a:gd name="connsiteY7" fmla="*/ 8531 h 25483"/>
                <a:gd name="connsiteX8" fmla="*/ 2642 w 43929"/>
                <a:gd name="connsiteY8" fmla="*/ 18851 h 25483"/>
                <a:gd name="connsiteX9" fmla="*/ 30987 w 43929"/>
                <a:gd name="connsiteY9" fmla="*/ 22769 h 25483"/>
                <a:gd name="connsiteX10" fmla="*/ 42090 w 43929"/>
                <a:gd name="connsiteY10" fmla="*/ 8923 h 25483"/>
                <a:gd name="connsiteX11" fmla="*/ 43919 w 43929"/>
                <a:gd name="connsiteY11" fmla="*/ 2915 h 2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929" h="25483">
                  <a:moveTo>
                    <a:pt x="43919" y="2915"/>
                  </a:moveTo>
                  <a:cubicBezTo>
                    <a:pt x="43658" y="-743"/>
                    <a:pt x="38172" y="-1004"/>
                    <a:pt x="37388" y="2392"/>
                  </a:cubicBezTo>
                  <a:cubicBezTo>
                    <a:pt x="36343" y="5788"/>
                    <a:pt x="36735" y="5266"/>
                    <a:pt x="33077" y="8793"/>
                  </a:cubicBezTo>
                  <a:cubicBezTo>
                    <a:pt x="29550" y="11666"/>
                    <a:pt x="30857" y="10752"/>
                    <a:pt x="25501" y="12842"/>
                  </a:cubicBezTo>
                  <a:cubicBezTo>
                    <a:pt x="20407" y="14410"/>
                    <a:pt x="22496" y="14018"/>
                    <a:pt x="18186" y="14018"/>
                  </a:cubicBezTo>
                  <a:cubicBezTo>
                    <a:pt x="17663" y="14018"/>
                    <a:pt x="17010" y="13756"/>
                    <a:pt x="16488" y="13626"/>
                  </a:cubicBezTo>
                  <a:cubicBezTo>
                    <a:pt x="14398" y="12842"/>
                    <a:pt x="15051" y="13234"/>
                    <a:pt x="11132" y="11013"/>
                  </a:cubicBezTo>
                  <a:cubicBezTo>
                    <a:pt x="9434" y="10230"/>
                    <a:pt x="7997" y="8662"/>
                    <a:pt x="6168" y="8531"/>
                  </a:cubicBezTo>
                  <a:cubicBezTo>
                    <a:pt x="421" y="7486"/>
                    <a:pt x="-2453" y="15977"/>
                    <a:pt x="2642" y="18851"/>
                  </a:cubicBezTo>
                  <a:cubicBezTo>
                    <a:pt x="11655" y="25121"/>
                    <a:pt x="20668" y="27995"/>
                    <a:pt x="30987" y="22769"/>
                  </a:cubicBezTo>
                  <a:cubicBezTo>
                    <a:pt x="36343" y="19765"/>
                    <a:pt x="40131" y="14801"/>
                    <a:pt x="42090" y="8923"/>
                  </a:cubicBezTo>
                  <a:cubicBezTo>
                    <a:pt x="42874" y="7095"/>
                    <a:pt x="44050" y="5005"/>
                    <a:pt x="43919" y="291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70" name="Freeform: Shape 169">
              <a:extLst>
                <a:ext uri="{FF2B5EF4-FFF2-40B4-BE49-F238E27FC236}">
                  <a16:creationId xmlns:a16="http://schemas.microsoft.com/office/drawing/2014/main" id="{B92DEB13-B2FB-6967-9B6F-0369CD9FB14D}"/>
                </a:ext>
              </a:extLst>
            </p:cNvPr>
            <p:cNvSpPr/>
            <p:nvPr/>
          </p:nvSpPr>
          <p:spPr>
            <a:xfrm>
              <a:off x="3571849" y="4225582"/>
              <a:ext cx="31474" cy="17746"/>
            </a:xfrm>
            <a:custGeom>
              <a:avLst/>
              <a:gdLst>
                <a:gd name="connsiteX0" fmla="*/ 22641 w 31474"/>
                <a:gd name="connsiteY0" fmla="*/ 653 h 17746"/>
                <a:gd name="connsiteX1" fmla="*/ 11668 w 31474"/>
                <a:gd name="connsiteY1" fmla="*/ 3919 h 17746"/>
                <a:gd name="connsiteX2" fmla="*/ 2394 w 31474"/>
                <a:gd name="connsiteY2" fmla="*/ 6401 h 17746"/>
                <a:gd name="connsiteX3" fmla="*/ 7749 w 31474"/>
                <a:gd name="connsiteY3" fmla="*/ 17504 h 17746"/>
                <a:gd name="connsiteX4" fmla="*/ 29825 w 31474"/>
                <a:gd name="connsiteY4" fmla="*/ 9928 h 17746"/>
                <a:gd name="connsiteX5" fmla="*/ 22510 w 31474"/>
                <a:gd name="connsiteY5" fmla="*/ 784 h 1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74" h="17746">
                  <a:moveTo>
                    <a:pt x="22641" y="653"/>
                  </a:moveTo>
                  <a:cubicBezTo>
                    <a:pt x="19244" y="1960"/>
                    <a:pt x="18069" y="2743"/>
                    <a:pt x="11668" y="3919"/>
                  </a:cubicBezTo>
                  <a:cubicBezTo>
                    <a:pt x="8664" y="4834"/>
                    <a:pt x="5006" y="4442"/>
                    <a:pt x="2394" y="6401"/>
                  </a:cubicBezTo>
                  <a:cubicBezTo>
                    <a:pt x="-2962" y="10320"/>
                    <a:pt x="1480" y="19333"/>
                    <a:pt x="7749" y="17504"/>
                  </a:cubicBezTo>
                  <a:cubicBezTo>
                    <a:pt x="15326" y="15937"/>
                    <a:pt x="23947" y="15545"/>
                    <a:pt x="29825" y="9928"/>
                  </a:cubicBezTo>
                  <a:cubicBezTo>
                    <a:pt x="34397" y="4572"/>
                    <a:pt x="28649" y="-2351"/>
                    <a:pt x="22510" y="78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71" name="Freeform: Shape 170">
              <a:extLst>
                <a:ext uri="{FF2B5EF4-FFF2-40B4-BE49-F238E27FC236}">
                  <a16:creationId xmlns:a16="http://schemas.microsoft.com/office/drawing/2014/main" id="{9FE32BC3-0CEA-4938-D84B-E074F38985C4}"/>
                </a:ext>
              </a:extLst>
            </p:cNvPr>
            <p:cNvSpPr/>
            <p:nvPr/>
          </p:nvSpPr>
          <p:spPr>
            <a:xfrm>
              <a:off x="3619570" y="4170122"/>
              <a:ext cx="16719" cy="21768"/>
            </a:xfrm>
            <a:custGeom>
              <a:avLst/>
              <a:gdLst>
                <a:gd name="connsiteX0" fmla="*/ 16720 w 16719"/>
                <a:gd name="connsiteY0" fmla="*/ 6999 h 21768"/>
                <a:gd name="connsiteX1" fmla="*/ 16720 w 16719"/>
                <a:gd name="connsiteY1" fmla="*/ 6868 h 21768"/>
                <a:gd name="connsiteX2" fmla="*/ 16720 w 16719"/>
                <a:gd name="connsiteY2" fmla="*/ 6999 h 21768"/>
                <a:gd name="connsiteX3" fmla="*/ 15806 w 16719"/>
                <a:gd name="connsiteY3" fmla="*/ 3341 h 21768"/>
                <a:gd name="connsiteX4" fmla="*/ 3657 w 16719"/>
                <a:gd name="connsiteY4" fmla="*/ 4256 h 21768"/>
                <a:gd name="connsiteX5" fmla="*/ 3266 w 16719"/>
                <a:gd name="connsiteY5" fmla="*/ 5170 h 21768"/>
                <a:gd name="connsiteX6" fmla="*/ 2090 w 16719"/>
                <a:gd name="connsiteY6" fmla="*/ 8305 h 21768"/>
                <a:gd name="connsiteX7" fmla="*/ 1045 w 16719"/>
                <a:gd name="connsiteY7" fmla="*/ 10787 h 21768"/>
                <a:gd name="connsiteX8" fmla="*/ 0 w 16719"/>
                <a:gd name="connsiteY8" fmla="*/ 14444 h 21768"/>
                <a:gd name="connsiteX9" fmla="*/ 14108 w 16719"/>
                <a:gd name="connsiteY9" fmla="*/ 16404 h 21768"/>
                <a:gd name="connsiteX10" fmla="*/ 16590 w 16719"/>
                <a:gd name="connsiteY10" fmla="*/ 8174 h 21768"/>
                <a:gd name="connsiteX11" fmla="*/ 16720 w 16719"/>
                <a:gd name="connsiteY11" fmla="*/ 6868 h 2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19" h="21768">
                  <a:moveTo>
                    <a:pt x="16720" y="6999"/>
                  </a:moveTo>
                  <a:cubicBezTo>
                    <a:pt x="16720" y="6999"/>
                    <a:pt x="16720" y="6999"/>
                    <a:pt x="16720" y="6868"/>
                  </a:cubicBezTo>
                  <a:cubicBezTo>
                    <a:pt x="16720" y="6868"/>
                    <a:pt x="16720" y="6868"/>
                    <a:pt x="16720" y="6999"/>
                  </a:cubicBezTo>
                  <a:cubicBezTo>
                    <a:pt x="16720" y="5693"/>
                    <a:pt x="16459" y="4386"/>
                    <a:pt x="15806" y="3341"/>
                  </a:cubicBezTo>
                  <a:cubicBezTo>
                    <a:pt x="13193" y="-1622"/>
                    <a:pt x="5486" y="-839"/>
                    <a:pt x="3657" y="4256"/>
                  </a:cubicBezTo>
                  <a:cubicBezTo>
                    <a:pt x="3657" y="4517"/>
                    <a:pt x="3396" y="4778"/>
                    <a:pt x="3266" y="5170"/>
                  </a:cubicBezTo>
                  <a:cubicBezTo>
                    <a:pt x="2743" y="6215"/>
                    <a:pt x="2482" y="7260"/>
                    <a:pt x="2090" y="8305"/>
                  </a:cubicBezTo>
                  <a:cubicBezTo>
                    <a:pt x="1698" y="9089"/>
                    <a:pt x="1306" y="10134"/>
                    <a:pt x="1045" y="10787"/>
                  </a:cubicBezTo>
                  <a:cubicBezTo>
                    <a:pt x="392" y="11963"/>
                    <a:pt x="131" y="13138"/>
                    <a:pt x="0" y="14444"/>
                  </a:cubicBezTo>
                  <a:cubicBezTo>
                    <a:pt x="0" y="22935"/>
                    <a:pt x="11887" y="24633"/>
                    <a:pt x="14108" y="16404"/>
                  </a:cubicBezTo>
                  <a:cubicBezTo>
                    <a:pt x="15283" y="13791"/>
                    <a:pt x="16198" y="11048"/>
                    <a:pt x="16590" y="8174"/>
                  </a:cubicBezTo>
                  <a:cubicBezTo>
                    <a:pt x="16590" y="7783"/>
                    <a:pt x="16720" y="7391"/>
                    <a:pt x="16720" y="686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72" name="Freeform: Shape 171">
              <a:extLst>
                <a:ext uri="{FF2B5EF4-FFF2-40B4-BE49-F238E27FC236}">
                  <a16:creationId xmlns:a16="http://schemas.microsoft.com/office/drawing/2014/main" id="{AE00710C-AF81-8402-64F6-4FF01AAE44B2}"/>
                </a:ext>
              </a:extLst>
            </p:cNvPr>
            <p:cNvSpPr/>
            <p:nvPr/>
          </p:nvSpPr>
          <p:spPr>
            <a:xfrm>
              <a:off x="3469647" y="4083932"/>
              <a:ext cx="170574" cy="164117"/>
            </a:xfrm>
            <a:custGeom>
              <a:avLst/>
              <a:gdLst>
                <a:gd name="connsiteX0" fmla="*/ 101722 w 170574"/>
                <a:gd name="connsiteY0" fmla="*/ 164118 h 164117"/>
                <a:gd name="connsiteX1" fmla="*/ 98196 w 170574"/>
                <a:gd name="connsiteY1" fmla="*/ 161767 h 164117"/>
                <a:gd name="connsiteX2" fmla="*/ 89836 w 170574"/>
                <a:gd name="connsiteY2" fmla="*/ 143741 h 164117"/>
                <a:gd name="connsiteX3" fmla="*/ 69719 w 170574"/>
                <a:gd name="connsiteY3" fmla="*/ 143479 h 164117"/>
                <a:gd name="connsiteX4" fmla="*/ 64103 w 170574"/>
                <a:gd name="connsiteY4" fmla="*/ 154191 h 164117"/>
                <a:gd name="connsiteX5" fmla="*/ 60445 w 170574"/>
                <a:gd name="connsiteY5" fmla="*/ 161244 h 164117"/>
                <a:gd name="connsiteX6" fmla="*/ 55742 w 170574"/>
                <a:gd name="connsiteY6" fmla="*/ 162942 h 164117"/>
                <a:gd name="connsiteX7" fmla="*/ 27136 w 170574"/>
                <a:gd name="connsiteY7" fmla="*/ 141912 h 164117"/>
                <a:gd name="connsiteX8" fmla="*/ 27136 w 170574"/>
                <a:gd name="connsiteY8" fmla="*/ 137471 h 164117"/>
                <a:gd name="connsiteX9" fmla="*/ 38500 w 170574"/>
                <a:gd name="connsiteY9" fmla="*/ 120751 h 164117"/>
                <a:gd name="connsiteX10" fmla="*/ 27266 w 170574"/>
                <a:gd name="connsiteY10" fmla="*/ 100896 h 164117"/>
                <a:gd name="connsiteX11" fmla="*/ 23347 w 170574"/>
                <a:gd name="connsiteY11" fmla="*/ 101679 h 164117"/>
                <a:gd name="connsiteX12" fmla="*/ 6236 w 170574"/>
                <a:gd name="connsiteY12" fmla="*/ 104945 h 164117"/>
                <a:gd name="connsiteX13" fmla="*/ 2056 w 170574"/>
                <a:gd name="connsiteY13" fmla="*/ 102202 h 164117"/>
                <a:gd name="connsiteX14" fmla="*/ 4930 w 170574"/>
                <a:gd name="connsiteY14" fmla="*/ 58704 h 164117"/>
                <a:gd name="connsiteX15" fmla="*/ 9371 w 170574"/>
                <a:gd name="connsiteY15" fmla="*/ 56222 h 164117"/>
                <a:gd name="connsiteX16" fmla="*/ 31838 w 170574"/>
                <a:gd name="connsiteY16" fmla="*/ 61839 h 164117"/>
                <a:gd name="connsiteX17" fmla="*/ 42680 w 170574"/>
                <a:gd name="connsiteY17" fmla="*/ 42898 h 164117"/>
                <a:gd name="connsiteX18" fmla="*/ 31446 w 170574"/>
                <a:gd name="connsiteY18" fmla="*/ 25656 h 164117"/>
                <a:gd name="connsiteX19" fmla="*/ 32230 w 170574"/>
                <a:gd name="connsiteY19" fmla="*/ 21084 h 164117"/>
                <a:gd name="connsiteX20" fmla="*/ 63580 w 170574"/>
                <a:gd name="connsiteY20" fmla="*/ 1229 h 164117"/>
                <a:gd name="connsiteX21" fmla="*/ 68413 w 170574"/>
                <a:gd name="connsiteY21" fmla="*/ 2797 h 164117"/>
                <a:gd name="connsiteX22" fmla="*/ 78210 w 170574"/>
                <a:gd name="connsiteY22" fmla="*/ 23043 h 164117"/>
                <a:gd name="connsiteX23" fmla="*/ 100286 w 170574"/>
                <a:gd name="connsiteY23" fmla="*/ 22259 h 164117"/>
                <a:gd name="connsiteX24" fmla="*/ 111781 w 170574"/>
                <a:gd name="connsiteY24" fmla="*/ 1751 h 164117"/>
                <a:gd name="connsiteX25" fmla="*/ 116614 w 170574"/>
                <a:gd name="connsiteY25" fmla="*/ 445 h 164117"/>
                <a:gd name="connsiteX26" fmla="*/ 142216 w 170574"/>
                <a:gd name="connsiteY26" fmla="*/ 17688 h 164117"/>
                <a:gd name="connsiteX27" fmla="*/ 148486 w 170574"/>
                <a:gd name="connsiteY27" fmla="*/ 23174 h 164117"/>
                <a:gd name="connsiteX28" fmla="*/ 151491 w 170574"/>
                <a:gd name="connsiteY28" fmla="*/ 27485 h 164117"/>
                <a:gd name="connsiteX29" fmla="*/ 150968 w 170574"/>
                <a:gd name="connsiteY29" fmla="*/ 30489 h 164117"/>
                <a:gd name="connsiteX30" fmla="*/ 145482 w 170574"/>
                <a:gd name="connsiteY30" fmla="*/ 38588 h 164117"/>
                <a:gd name="connsiteX31" fmla="*/ 138036 w 170574"/>
                <a:gd name="connsiteY31" fmla="*/ 49560 h 164117"/>
                <a:gd name="connsiteX32" fmla="*/ 144437 w 170574"/>
                <a:gd name="connsiteY32" fmla="*/ 66019 h 164117"/>
                <a:gd name="connsiteX33" fmla="*/ 168080 w 170574"/>
                <a:gd name="connsiteY33" fmla="*/ 71636 h 164117"/>
                <a:gd name="connsiteX34" fmla="*/ 170431 w 170574"/>
                <a:gd name="connsiteY34" fmla="*/ 74901 h 164117"/>
                <a:gd name="connsiteX35" fmla="*/ 165598 w 170574"/>
                <a:gd name="connsiteY35" fmla="*/ 108211 h 164117"/>
                <a:gd name="connsiteX36" fmla="*/ 161940 w 170574"/>
                <a:gd name="connsiteY36" fmla="*/ 110692 h 164117"/>
                <a:gd name="connsiteX37" fmla="*/ 159328 w 170574"/>
                <a:gd name="connsiteY37" fmla="*/ 110692 h 164117"/>
                <a:gd name="connsiteX38" fmla="*/ 141824 w 170574"/>
                <a:gd name="connsiteY38" fmla="*/ 110562 h 164117"/>
                <a:gd name="connsiteX39" fmla="*/ 130852 w 170574"/>
                <a:gd name="connsiteY39" fmla="*/ 128196 h 164117"/>
                <a:gd name="connsiteX40" fmla="*/ 140518 w 170574"/>
                <a:gd name="connsiteY40" fmla="*/ 147529 h 164117"/>
                <a:gd name="connsiteX41" fmla="*/ 138820 w 170574"/>
                <a:gd name="connsiteY41" fmla="*/ 152231 h 164117"/>
                <a:gd name="connsiteX42" fmla="*/ 102115 w 170574"/>
                <a:gd name="connsiteY42" fmla="*/ 164118 h 164117"/>
                <a:gd name="connsiteX43" fmla="*/ 101722 w 170574"/>
                <a:gd name="connsiteY43" fmla="*/ 164118 h 164117"/>
                <a:gd name="connsiteX44" fmla="*/ 91795 w 170574"/>
                <a:gd name="connsiteY44" fmla="*/ 135903 h 164117"/>
                <a:gd name="connsiteX45" fmla="*/ 94930 w 170574"/>
                <a:gd name="connsiteY45" fmla="*/ 137601 h 164117"/>
                <a:gd name="connsiteX46" fmla="*/ 104074 w 170574"/>
                <a:gd name="connsiteY46" fmla="*/ 156281 h 164117"/>
                <a:gd name="connsiteX47" fmla="*/ 132158 w 170574"/>
                <a:gd name="connsiteY47" fmla="*/ 147267 h 164117"/>
                <a:gd name="connsiteX48" fmla="*/ 123014 w 170574"/>
                <a:gd name="connsiteY48" fmla="*/ 129633 h 164117"/>
                <a:gd name="connsiteX49" fmla="*/ 123406 w 170574"/>
                <a:gd name="connsiteY49" fmla="*/ 125453 h 164117"/>
                <a:gd name="connsiteX50" fmla="*/ 135685 w 170574"/>
                <a:gd name="connsiteY50" fmla="*/ 105729 h 164117"/>
                <a:gd name="connsiteX51" fmla="*/ 138820 w 170574"/>
                <a:gd name="connsiteY51" fmla="*/ 103378 h 164117"/>
                <a:gd name="connsiteX52" fmla="*/ 159328 w 170574"/>
                <a:gd name="connsiteY52" fmla="*/ 103247 h 164117"/>
                <a:gd name="connsiteX53" fmla="*/ 162855 w 170574"/>
                <a:gd name="connsiteY53" fmla="*/ 77906 h 164117"/>
                <a:gd name="connsiteX54" fmla="*/ 141302 w 170574"/>
                <a:gd name="connsiteY54" fmla="*/ 73465 h 164117"/>
                <a:gd name="connsiteX55" fmla="*/ 138036 w 170574"/>
                <a:gd name="connsiteY55" fmla="*/ 70983 h 164117"/>
                <a:gd name="connsiteX56" fmla="*/ 130199 w 170574"/>
                <a:gd name="connsiteY56" fmla="*/ 50736 h 164117"/>
                <a:gd name="connsiteX57" fmla="*/ 130591 w 170574"/>
                <a:gd name="connsiteY57" fmla="*/ 47340 h 164117"/>
                <a:gd name="connsiteX58" fmla="*/ 139212 w 170574"/>
                <a:gd name="connsiteY58" fmla="*/ 34538 h 164117"/>
                <a:gd name="connsiteX59" fmla="*/ 143130 w 170574"/>
                <a:gd name="connsiteY59" fmla="*/ 28791 h 164117"/>
                <a:gd name="connsiteX60" fmla="*/ 137252 w 170574"/>
                <a:gd name="connsiteY60" fmla="*/ 23566 h 164117"/>
                <a:gd name="connsiteX61" fmla="*/ 116091 w 170574"/>
                <a:gd name="connsiteY61" fmla="*/ 8936 h 164117"/>
                <a:gd name="connsiteX62" fmla="*/ 105641 w 170574"/>
                <a:gd name="connsiteY62" fmla="*/ 28138 h 164117"/>
                <a:gd name="connsiteX63" fmla="*/ 101984 w 170574"/>
                <a:gd name="connsiteY63" fmla="*/ 30228 h 164117"/>
                <a:gd name="connsiteX64" fmla="*/ 76512 w 170574"/>
                <a:gd name="connsiteY64" fmla="*/ 31142 h 164117"/>
                <a:gd name="connsiteX65" fmla="*/ 72332 w 170574"/>
                <a:gd name="connsiteY65" fmla="*/ 28921 h 164117"/>
                <a:gd name="connsiteX66" fmla="*/ 63449 w 170574"/>
                <a:gd name="connsiteY66" fmla="*/ 9850 h 164117"/>
                <a:gd name="connsiteX67" fmla="*/ 39414 w 170574"/>
                <a:gd name="connsiteY67" fmla="*/ 25003 h 164117"/>
                <a:gd name="connsiteX68" fmla="*/ 50126 w 170574"/>
                <a:gd name="connsiteY68" fmla="*/ 40808 h 164117"/>
                <a:gd name="connsiteX69" fmla="*/ 50256 w 170574"/>
                <a:gd name="connsiteY69" fmla="*/ 44988 h 164117"/>
                <a:gd name="connsiteX70" fmla="*/ 37324 w 170574"/>
                <a:gd name="connsiteY70" fmla="*/ 67978 h 164117"/>
                <a:gd name="connsiteX71" fmla="*/ 33014 w 170574"/>
                <a:gd name="connsiteY71" fmla="*/ 70068 h 164117"/>
                <a:gd name="connsiteX72" fmla="*/ 10808 w 170574"/>
                <a:gd name="connsiteY72" fmla="*/ 64582 h 164117"/>
                <a:gd name="connsiteX73" fmla="*/ 8326 w 170574"/>
                <a:gd name="connsiteY73" fmla="*/ 97108 h 164117"/>
                <a:gd name="connsiteX74" fmla="*/ 21519 w 170574"/>
                <a:gd name="connsiteY74" fmla="*/ 94495 h 164117"/>
                <a:gd name="connsiteX75" fmla="*/ 28573 w 170574"/>
                <a:gd name="connsiteY75" fmla="*/ 93058 h 164117"/>
                <a:gd name="connsiteX76" fmla="*/ 32752 w 170574"/>
                <a:gd name="connsiteY76" fmla="*/ 95279 h 164117"/>
                <a:gd name="connsiteX77" fmla="*/ 45685 w 170574"/>
                <a:gd name="connsiteY77" fmla="*/ 118269 h 164117"/>
                <a:gd name="connsiteX78" fmla="*/ 45946 w 170574"/>
                <a:gd name="connsiteY78" fmla="*/ 122579 h 164117"/>
                <a:gd name="connsiteX79" fmla="*/ 34581 w 170574"/>
                <a:gd name="connsiteY79" fmla="*/ 139561 h 164117"/>
                <a:gd name="connsiteX80" fmla="*/ 55220 w 170574"/>
                <a:gd name="connsiteY80" fmla="*/ 154844 h 164117"/>
                <a:gd name="connsiteX81" fmla="*/ 57310 w 170574"/>
                <a:gd name="connsiteY81" fmla="*/ 150925 h 164117"/>
                <a:gd name="connsiteX82" fmla="*/ 64233 w 170574"/>
                <a:gd name="connsiteY82" fmla="*/ 137993 h 164117"/>
                <a:gd name="connsiteX83" fmla="*/ 67891 w 170574"/>
                <a:gd name="connsiteY83" fmla="*/ 136164 h 164117"/>
                <a:gd name="connsiteX84" fmla="*/ 91142 w 170574"/>
                <a:gd name="connsiteY84" fmla="*/ 136426 h 164117"/>
                <a:gd name="connsiteX85" fmla="*/ 91664 w 170574"/>
                <a:gd name="connsiteY85" fmla="*/ 136426 h 164117"/>
                <a:gd name="connsiteX86" fmla="*/ 144306 w 170574"/>
                <a:gd name="connsiteY86" fmla="*/ 29575 h 164117"/>
                <a:gd name="connsiteX87" fmla="*/ 144306 w 170574"/>
                <a:gd name="connsiteY87" fmla="*/ 29575 h 164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70574" h="164117">
                  <a:moveTo>
                    <a:pt x="101722" y="164118"/>
                  </a:moveTo>
                  <a:cubicBezTo>
                    <a:pt x="100155" y="164118"/>
                    <a:pt x="98849" y="163204"/>
                    <a:pt x="98196" y="161767"/>
                  </a:cubicBezTo>
                  <a:cubicBezTo>
                    <a:pt x="95714" y="155497"/>
                    <a:pt x="93362" y="149619"/>
                    <a:pt x="89836" y="143741"/>
                  </a:cubicBezTo>
                  <a:cubicBezTo>
                    <a:pt x="83043" y="144524"/>
                    <a:pt x="76120" y="144132"/>
                    <a:pt x="69719" y="143479"/>
                  </a:cubicBezTo>
                  <a:cubicBezTo>
                    <a:pt x="67760" y="146876"/>
                    <a:pt x="65931" y="150403"/>
                    <a:pt x="64103" y="154191"/>
                  </a:cubicBezTo>
                  <a:cubicBezTo>
                    <a:pt x="62927" y="156411"/>
                    <a:pt x="61621" y="158763"/>
                    <a:pt x="60445" y="161244"/>
                  </a:cubicBezTo>
                  <a:cubicBezTo>
                    <a:pt x="59531" y="162942"/>
                    <a:pt x="57571" y="163726"/>
                    <a:pt x="55742" y="162942"/>
                  </a:cubicBezTo>
                  <a:cubicBezTo>
                    <a:pt x="44378" y="158501"/>
                    <a:pt x="34451" y="151186"/>
                    <a:pt x="27136" y="141912"/>
                  </a:cubicBezTo>
                  <a:cubicBezTo>
                    <a:pt x="26091" y="140606"/>
                    <a:pt x="26091" y="138777"/>
                    <a:pt x="27136" y="137471"/>
                  </a:cubicBezTo>
                  <a:cubicBezTo>
                    <a:pt x="30793" y="132376"/>
                    <a:pt x="34581" y="127021"/>
                    <a:pt x="38500" y="120751"/>
                  </a:cubicBezTo>
                  <a:cubicBezTo>
                    <a:pt x="34451" y="115264"/>
                    <a:pt x="30663" y="108602"/>
                    <a:pt x="27266" y="100896"/>
                  </a:cubicBezTo>
                  <a:cubicBezTo>
                    <a:pt x="25960" y="101157"/>
                    <a:pt x="24654" y="101418"/>
                    <a:pt x="23347" y="101679"/>
                  </a:cubicBezTo>
                  <a:cubicBezTo>
                    <a:pt x="17861" y="102855"/>
                    <a:pt x="12245" y="104031"/>
                    <a:pt x="6236" y="104945"/>
                  </a:cubicBezTo>
                  <a:cubicBezTo>
                    <a:pt x="4407" y="105206"/>
                    <a:pt x="2578" y="104031"/>
                    <a:pt x="2056" y="102202"/>
                  </a:cubicBezTo>
                  <a:cubicBezTo>
                    <a:pt x="-1471" y="89270"/>
                    <a:pt x="-426" y="74640"/>
                    <a:pt x="4930" y="58704"/>
                  </a:cubicBezTo>
                  <a:cubicBezTo>
                    <a:pt x="5583" y="56875"/>
                    <a:pt x="7542" y="55830"/>
                    <a:pt x="9371" y="56222"/>
                  </a:cubicBezTo>
                  <a:cubicBezTo>
                    <a:pt x="16816" y="58051"/>
                    <a:pt x="24132" y="60010"/>
                    <a:pt x="31838" y="61839"/>
                  </a:cubicBezTo>
                  <a:cubicBezTo>
                    <a:pt x="34973" y="55308"/>
                    <a:pt x="38761" y="49038"/>
                    <a:pt x="42680" y="42898"/>
                  </a:cubicBezTo>
                  <a:cubicBezTo>
                    <a:pt x="39023" y="37935"/>
                    <a:pt x="35104" y="32318"/>
                    <a:pt x="31446" y="25656"/>
                  </a:cubicBezTo>
                  <a:cubicBezTo>
                    <a:pt x="30663" y="24088"/>
                    <a:pt x="30924" y="22259"/>
                    <a:pt x="32230" y="21084"/>
                  </a:cubicBezTo>
                  <a:cubicBezTo>
                    <a:pt x="40590" y="13377"/>
                    <a:pt x="51171" y="6715"/>
                    <a:pt x="63580" y="1229"/>
                  </a:cubicBezTo>
                  <a:cubicBezTo>
                    <a:pt x="65278" y="445"/>
                    <a:pt x="67368" y="1229"/>
                    <a:pt x="68413" y="2797"/>
                  </a:cubicBezTo>
                  <a:cubicBezTo>
                    <a:pt x="72071" y="9328"/>
                    <a:pt x="75336" y="16120"/>
                    <a:pt x="78210" y="23043"/>
                  </a:cubicBezTo>
                  <a:cubicBezTo>
                    <a:pt x="85525" y="21998"/>
                    <a:pt x="92840" y="21737"/>
                    <a:pt x="100286" y="22259"/>
                  </a:cubicBezTo>
                  <a:cubicBezTo>
                    <a:pt x="103682" y="15598"/>
                    <a:pt x="107339" y="8805"/>
                    <a:pt x="111781" y="1751"/>
                  </a:cubicBezTo>
                  <a:cubicBezTo>
                    <a:pt x="112825" y="53"/>
                    <a:pt x="114915" y="-469"/>
                    <a:pt x="116614" y="445"/>
                  </a:cubicBezTo>
                  <a:cubicBezTo>
                    <a:pt x="125758" y="5148"/>
                    <a:pt x="134378" y="11026"/>
                    <a:pt x="142216" y="17688"/>
                  </a:cubicBezTo>
                  <a:cubicBezTo>
                    <a:pt x="144306" y="19516"/>
                    <a:pt x="146396" y="21345"/>
                    <a:pt x="148486" y="23174"/>
                  </a:cubicBezTo>
                  <a:cubicBezTo>
                    <a:pt x="149531" y="24088"/>
                    <a:pt x="150968" y="25395"/>
                    <a:pt x="151491" y="27485"/>
                  </a:cubicBezTo>
                  <a:cubicBezTo>
                    <a:pt x="151752" y="28530"/>
                    <a:pt x="151491" y="29575"/>
                    <a:pt x="150968" y="30489"/>
                  </a:cubicBezTo>
                  <a:cubicBezTo>
                    <a:pt x="149139" y="33101"/>
                    <a:pt x="147311" y="35845"/>
                    <a:pt x="145482" y="38588"/>
                  </a:cubicBezTo>
                  <a:cubicBezTo>
                    <a:pt x="143130" y="42114"/>
                    <a:pt x="140518" y="45641"/>
                    <a:pt x="138036" y="49560"/>
                  </a:cubicBezTo>
                  <a:cubicBezTo>
                    <a:pt x="140126" y="54916"/>
                    <a:pt x="142347" y="60402"/>
                    <a:pt x="144437" y="66019"/>
                  </a:cubicBezTo>
                  <a:cubicBezTo>
                    <a:pt x="150968" y="66672"/>
                    <a:pt x="159197" y="67978"/>
                    <a:pt x="168080" y="71636"/>
                  </a:cubicBezTo>
                  <a:cubicBezTo>
                    <a:pt x="169386" y="72158"/>
                    <a:pt x="170300" y="73465"/>
                    <a:pt x="170431" y="74901"/>
                  </a:cubicBezTo>
                  <a:cubicBezTo>
                    <a:pt x="171084" y="86788"/>
                    <a:pt x="169517" y="97761"/>
                    <a:pt x="165598" y="108211"/>
                  </a:cubicBezTo>
                  <a:cubicBezTo>
                    <a:pt x="165075" y="109778"/>
                    <a:pt x="163639" y="110692"/>
                    <a:pt x="161940" y="110692"/>
                  </a:cubicBezTo>
                  <a:lnTo>
                    <a:pt x="159328" y="110692"/>
                  </a:lnTo>
                  <a:cubicBezTo>
                    <a:pt x="153711" y="110301"/>
                    <a:pt x="147964" y="110170"/>
                    <a:pt x="141824" y="110562"/>
                  </a:cubicBezTo>
                  <a:cubicBezTo>
                    <a:pt x="139342" y="116179"/>
                    <a:pt x="135816" y="121926"/>
                    <a:pt x="130852" y="128196"/>
                  </a:cubicBezTo>
                  <a:cubicBezTo>
                    <a:pt x="134248" y="134074"/>
                    <a:pt x="137514" y="140344"/>
                    <a:pt x="140518" y="147529"/>
                  </a:cubicBezTo>
                  <a:cubicBezTo>
                    <a:pt x="141302" y="149358"/>
                    <a:pt x="140518" y="151317"/>
                    <a:pt x="138820" y="152231"/>
                  </a:cubicBezTo>
                  <a:cubicBezTo>
                    <a:pt x="126802" y="158763"/>
                    <a:pt x="114524" y="162812"/>
                    <a:pt x="102115" y="164118"/>
                  </a:cubicBezTo>
                  <a:cubicBezTo>
                    <a:pt x="101984" y="164118"/>
                    <a:pt x="101853" y="164118"/>
                    <a:pt x="101722" y="164118"/>
                  </a:cubicBezTo>
                  <a:close/>
                  <a:moveTo>
                    <a:pt x="91795" y="135903"/>
                  </a:moveTo>
                  <a:cubicBezTo>
                    <a:pt x="93101" y="135903"/>
                    <a:pt x="94277" y="136556"/>
                    <a:pt x="94930" y="137601"/>
                  </a:cubicBezTo>
                  <a:cubicBezTo>
                    <a:pt x="98979" y="143871"/>
                    <a:pt x="101592" y="150141"/>
                    <a:pt x="104074" y="156281"/>
                  </a:cubicBezTo>
                  <a:cubicBezTo>
                    <a:pt x="113479" y="154974"/>
                    <a:pt x="122884" y="151839"/>
                    <a:pt x="132158" y="147267"/>
                  </a:cubicBezTo>
                  <a:cubicBezTo>
                    <a:pt x="129284" y="140867"/>
                    <a:pt x="126149" y="135381"/>
                    <a:pt x="123014" y="129633"/>
                  </a:cubicBezTo>
                  <a:cubicBezTo>
                    <a:pt x="122230" y="128327"/>
                    <a:pt x="122361" y="126629"/>
                    <a:pt x="123406" y="125453"/>
                  </a:cubicBezTo>
                  <a:cubicBezTo>
                    <a:pt x="129415" y="118138"/>
                    <a:pt x="133334" y="111868"/>
                    <a:pt x="135685" y="105729"/>
                  </a:cubicBezTo>
                  <a:cubicBezTo>
                    <a:pt x="136207" y="104423"/>
                    <a:pt x="137383" y="103508"/>
                    <a:pt x="138820" y="103378"/>
                  </a:cubicBezTo>
                  <a:cubicBezTo>
                    <a:pt x="146135" y="102724"/>
                    <a:pt x="152927" y="102986"/>
                    <a:pt x="159328" y="103247"/>
                  </a:cubicBezTo>
                  <a:cubicBezTo>
                    <a:pt x="161940" y="95279"/>
                    <a:pt x="163116" y="86919"/>
                    <a:pt x="162855" y="77906"/>
                  </a:cubicBezTo>
                  <a:cubicBezTo>
                    <a:pt x="154756" y="74901"/>
                    <a:pt x="147049" y="73856"/>
                    <a:pt x="141302" y="73465"/>
                  </a:cubicBezTo>
                  <a:cubicBezTo>
                    <a:pt x="139865" y="73465"/>
                    <a:pt x="138559" y="72420"/>
                    <a:pt x="138036" y="70983"/>
                  </a:cubicBezTo>
                  <a:cubicBezTo>
                    <a:pt x="135685" y="64190"/>
                    <a:pt x="132942" y="57398"/>
                    <a:pt x="130199" y="50736"/>
                  </a:cubicBezTo>
                  <a:cubicBezTo>
                    <a:pt x="129807" y="49560"/>
                    <a:pt x="129937" y="48384"/>
                    <a:pt x="130591" y="47340"/>
                  </a:cubicBezTo>
                  <a:cubicBezTo>
                    <a:pt x="133595" y="42637"/>
                    <a:pt x="136469" y="38588"/>
                    <a:pt x="139212" y="34538"/>
                  </a:cubicBezTo>
                  <a:cubicBezTo>
                    <a:pt x="140518" y="32579"/>
                    <a:pt x="141824" y="30750"/>
                    <a:pt x="143130" y="28791"/>
                  </a:cubicBezTo>
                  <a:cubicBezTo>
                    <a:pt x="141171" y="27093"/>
                    <a:pt x="139212" y="25264"/>
                    <a:pt x="137252" y="23566"/>
                  </a:cubicBezTo>
                  <a:cubicBezTo>
                    <a:pt x="130721" y="18080"/>
                    <a:pt x="123668" y="13116"/>
                    <a:pt x="116091" y="8936"/>
                  </a:cubicBezTo>
                  <a:cubicBezTo>
                    <a:pt x="112172" y="15467"/>
                    <a:pt x="108776" y="21868"/>
                    <a:pt x="105641" y="28138"/>
                  </a:cubicBezTo>
                  <a:cubicBezTo>
                    <a:pt x="104988" y="29444"/>
                    <a:pt x="103420" y="30358"/>
                    <a:pt x="101984" y="30228"/>
                  </a:cubicBezTo>
                  <a:cubicBezTo>
                    <a:pt x="93493" y="29313"/>
                    <a:pt x="84872" y="29705"/>
                    <a:pt x="76512" y="31142"/>
                  </a:cubicBezTo>
                  <a:cubicBezTo>
                    <a:pt x="74814" y="31403"/>
                    <a:pt x="72985" y="30489"/>
                    <a:pt x="72332" y="28921"/>
                  </a:cubicBezTo>
                  <a:cubicBezTo>
                    <a:pt x="69719" y="22390"/>
                    <a:pt x="66715" y="15990"/>
                    <a:pt x="63449" y="9850"/>
                  </a:cubicBezTo>
                  <a:cubicBezTo>
                    <a:pt x="54175" y="14161"/>
                    <a:pt x="46076" y="19255"/>
                    <a:pt x="39414" y="25003"/>
                  </a:cubicBezTo>
                  <a:cubicBezTo>
                    <a:pt x="42941" y="31012"/>
                    <a:pt x="46729" y="36236"/>
                    <a:pt x="50126" y="40808"/>
                  </a:cubicBezTo>
                  <a:cubicBezTo>
                    <a:pt x="51040" y="41984"/>
                    <a:pt x="51171" y="43682"/>
                    <a:pt x="50256" y="44988"/>
                  </a:cubicBezTo>
                  <a:cubicBezTo>
                    <a:pt x="45423" y="52826"/>
                    <a:pt x="40721" y="60141"/>
                    <a:pt x="37324" y="67978"/>
                  </a:cubicBezTo>
                  <a:cubicBezTo>
                    <a:pt x="36541" y="69676"/>
                    <a:pt x="34842" y="70591"/>
                    <a:pt x="33014" y="70068"/>
                  </a:cubicBezTo>
                  <a:cubicBezTo>
                    <a:pt x="25307" y="68239"/>
                    <a:pt x="18123" y="66411"/>
                    <a:pt x="10808" y="64582"/>
                  </a:cubicBezTo>
                  <a:cubicBezTo>
                    <a:pt x="7281" y="76469"/>
                    <a:pt x="6497" y="87311"/>
                    <a:pt x="8326" y="97108"/>
                  </a:cubicBezTo>
                  <a:cubicBezTo>
                    <a:pt x="12898" y="96324"/>
                    <a:pt x="17339" y="95409"/>
                    <a:pt x="21519" y="94495"/>
                  </a:cubicBezTo>
                  <a:cubicBezTo>
                    <a:pt x="23870" y="93973"/>
                    <a:pt x="26221" y="93450"/>
                    <a:pt x="28573" y="93058"/>
                  </a:cubicBezTo>
                  <a:cubicBezTo>
                    <a:pt x="30271" y="92666"/>
                    <a:pt x="32099" y="93711"/>
                    <a:pt x="32752" y="95279"/>
                  </a:cubicBezTo>
                  <a:cubicBezTo>
                    <a:pt x="36671" y="104684"/>
                    <a:pt x="40851" y="112260"/>
                    <a:pt x="45685" y="118269"/>
                  </a:cubicBezTo>
                  <a:cubicBezTo>
                    <a:pt x="46729" y="119444"/>
                    <a:pt x="46729" y="121273"/>
                    <a:pt x="45946" y="122579"/>
                  </a:cubicBezTo>
                  <a:cubicBezTo>
                    <a:pt x="41896" y="129111"/>
                    <a:pt x="38239" y="134466"/>
                    <a:pt x="34581" y="139561"/>
                  </a:cubicBezTo>
                  <a:cubicBezTo>
                    <a:pt x="40198" y="145961"/>
                    <a:pt x="47252" y="151186"/>
                    <a:pt x="55220" y="154844"/>
                  </a:cubicBezTo>
                  <a:cubicBezTo>
                    <a:pt x="55873" y="153537"/>
                    <a:pt x="56657" y="152231"/>
                    <a:pt x="57310" y="150925"/>
                  </a:cubicBezTo>
                  <a:cubicBezTo>
                    <a:pt x="59661" y="146353"/>
                    <a:pt x="61882" y="142173"/>
                    <a:pt x="64233" y="137993"/>
                  </a:cubicBezTo>
                  <a:cubicBezTo>
                    <a:pt x="65017" y="136687"/>
                    <a:pt x="66323" y="136034"/>
                    <a:pt x="67891" y="136164"/>
                  </a:cubicBezTo>
                  <a:cubicBezTo>
                    <a:pt x="75336" y="136948"/>
                    <a:pt x="83435" y="137471"/>
                    <a:pt x="91142" y="136426"/>
                  </a:cubicBezTo>
                  <a:cubicBezTo>
                    <a:pt x="91272" y="136426"/>
                    <a:pt x="91534" y="136426"/>
                    <a:pt x="91664" y="136426"/>
                  </a:cubicBezTo>
                  <a:close/>
                  <a:moveTo>
                    <a:pt x="144306" y="29575"/>
                  </a:moveTo>
                  <a:lnTo>
                    <a:pt x="144306" y="29575"/>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73" name="Freeform: Shape 172">
              <a:extLst>
                <a:ext uri="{FF2B5EF4-FFF2-40B4-BE49-F238E27FC236}">
                  <a16:creationId xmlns:a16="http://schemas.microsoft.com/office/drawing/2014/main" id="{78ECC5ED-E92F-A3FF-C49D-090B14168419}"/>
                </a:ext>
              </a:extLst>
            </p:cNvPr>
            <p:cNvSpPr/>
            <p:nvPr/>
          </p:nvSpPr>
          <p:spPr>
            <a:xfrm>
              <a:off x="3532712" y="4139400"/>
              <a:ext cx="40643" cy="43076"/>
            </a:xfrm>
            <a:custGeom>
              <a:avLst/>
              <a:gdLst>
                <a:gd name="connsiteX0" fmla="*/ 18150 w 40643"/>
                <a:gd name="connsiteY0" fmla="*/ 43077 h 43076"/>
                <a:gd name="connsiteX1" fmla="*/ 8483 w 40643"/>
                <a:gd name="connsiteY1" fmla="*/ 40987 h 43076"/>
                <a:gd name="connsiteX2" fmla="*/ 2475 w 40643"/>
                <a:gd name="connsiteY2" fmla="*/ 36284 h 43076"/>
                <a:gd name="connsiteX3" fmla="*/ 124 w 40643"/>
                <a:gd name="connsiteY3" fmla="*/ 28316 h 43076"/>
                <a:gd name="connsiteX4" fmla="*/ 5479 w 40643"/>
                <a:gd name="connsiteY4" fmla="*/ 7808 h 43076"/>
                <a:gd name="connsiteX5" fmla="*/ 26118 w 40643"/>
                <a:gd name="connsiteY5" fmla="*/ 885 h 43076"/>
                <a:gd name="connsiteX6" fmla="*/ 27424 w 40643"/>
                <a:gd name="connsiteY6" fmla="*/ 1669 h 43076"/>
                <a:gd name="connsiteX7" fmla="*/ 40617 w 40643"/>
                <a:gd name="connsiteY7" fmla="*/ 19695 h 43076"/>
                <a:gd name="connsiteX8" fmla="*/ 30298 w 40643"/>
                <a:gd name="connsiteY8" fmla="*/ 39550 h 43076"/>
                <a:gd name="connsiteX9" fmla="*/ 18150 w 40643"/>
                <a:gd name="connsiteY9" fmla="*/ 42946 h 43076"/>
                <a:gd name="connsiteX10" fmla="*/ 20893 w 40643"/>
                <a:gd name="connsiteY10" fmla="*/ 7677 h 43076"/>
                <a:gd name="connsiteX11" fmla="*/ 11357 w 40643"/>
                <a:gd name="connsiteY11" fmla="*/ 12641 h 43076"/>
                <a:gd name="connsiteX12" fmla="*/ 7569 w 40643"/>
                <a:gd name="connsiteY12" fmla="*/ 27924 h 43076"/>
                <a:gd name="connsiteX13" fmla="*/ 8614 w 40643"/>
                <a:gd name="connsiteY13" fmla="*/ 32104 h 43076"/>
                <a:gd name="connsiteX14" fmla="*/ 11488 w 40643"/>
                <a:gd name="connsiteY14" fmla="*/ 34194 h 43076"/>
                <a:gd name="connsiteX15" fmla="*/ 26249 w 40643"/>
                <a:gd name="connsiteY15" fmla="*/ 33280 h 43076"/>
                <a:gd name="connsiteX16" fmla="*/ 33041 w 40643"/>
                <a:gd name="connsiteY16" fmla="*/ 20217 h 43076"/>
                <a:gd name="connsiteX17" fmla="*/ 24811 w 40643"/>
                <a:gd name="connsiteY17" fmla="*/ 8853 h 43076"/>
                <a:gd name="connsiteX18" fmla="*/ 24289 w 40643"/>
                <a:gd name="connsiteY18" fmla="*/ 8853 h 43076"/>
                <a:gd name="connsiteX19" fmla="*/ 22199 w 40643"/>
                <a:gd name="connsiteY19" fmla="*/ 7677 h 43076"/>
                <a:gd name="connsiteX20" fmla="*/ 20762 w 40643"/>
                <a:gd name="connsiteY20" fmla="*/ 7677 h 4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643" h="43076">
                  <a:moveTo>
                    <a:pt x="18150" y="43077"/>
                  </a:moveTo>
                  <a:cubicBezTo>
                    <a:pt x="14884" y="43077"/>
                    <a:pt x="11619" y="42424"/>
                    <a:pt x="8483" y="40987"/>
                  </a:cubicBezTo>
                  <a:cubicBezTo>
                    <a:pt x="5740" y="39811"/>
                    <a:pt x="3781" y="38244"/>
                    <a:pt x="2475" y="36284"/>
                  </a:cubicBezTo>
                  <a:cubicBezTo>
                    <a:pt x="646" y="33672"/>
                    <a:pt x="254" y="30668"/>
                    <a:pt x="124" y="28316"/>
                  </a:cubicBezTo>
                  <a:cubicBezTo>
                    <a:pt x="-530" y="20348"/>
                    <a:pt x="1430" y="13033"/>
                    <a:pt x="5479" y="7808"/>
                  </a:cubicBezTo>
                  <a:cubicBezTo>
                    <a:pt x="10573" y="1277"/>
                    <a:pt x="19064" y="-1597"/>
                    <a:pt x="26118" y="885"/>
                  </a:cubicBezTo>
                  <a:cubicBezTo>
                    <a:pt x="26640" y="1016"/>
                    <a:pt x="27032" y="1407"/>
                    <a:pt x="27424" y="1669"/>
                  </a:cubicBezTo>
                  <a:cubicBezTo>
                    <a:pt x="34739" y="4151"/>
                    <a:pt x="40225" y="11596"/>
                    <a:pt x="40617" y="19695"/>
                  </a:cubicBezTo>
                  <a:cubicBezTo>
                    <a:pt x="41009" y="27532"/>
                    <a:pt x="36960" y="35239"/>
                    <a:pt x="30298" y="39550"/>
                  </a:cubicBezTo>
                  <a:cubicBezTo>
                    <a:pt x="26640" y="41771"/>
                    <a:pt x="22460" y="42946"/>
                    <a:pt x="18150" y="42946"/>
                  </a:cubicBezTo>
                  <a:close/>
                  <a:moveTo>
                    <a:pt x="20893" y="7677"/>
                  </a:moveTo>
                  <a:cubicBezTo>
                    <a:pt x="17496" y="7677"/>
                    <a:pt x="13839" y="9506"/>
                    <a:pt x="11357" y="12641"/>
                  </a:cubicBezTo>
                  <a:cubicBezTo>
                    <a:pt x="8353" y="16429"/>
                    <a:pt x="7047" y="21915"/>
                    <a:pt x="7569" y="27924"/>
                  </a:cubicBezTo>
                  <a:cubicBezTo>
                    <a:pt x="7569" y="29361"/>
                    <a:pt x="7830" y="31059"/>
                    <a:pt x="8614" y="32104"/>
                  </a:cubicBezTo>
                  <a:cubicBezTo>
                    <a:pt x="9137" y="32888"/>
                    <a:pt x="10051" y="33541"/>
                    <a:pt x="11488" y="34194"/>
                  </a:cubicBezTo>
                  <a:cubicBezTo>
                    <a:pt x="16321" y="36415"/>
                    <a:pt x="22068" y="36023"/>
                    <a:pt x="26249" y="33280"/>
                  </a:cubicBezTo>
                  <a:cubicBezTo>
                    <a:pt x="30559" y="30537"/>
                    <a:pt x="33433" y="25312"/>
                    <a:pt x="33041" y="20217"/>
                  </a:cubicBezTo>
                  <a:cubicBezTo>
                    <a:pt x="32780" y="15123"/>
                    <a:pt x="29253" y="10290"/>
                    <a:pt x="24811" y="8853"/>
                  </a:cubicBezTo>
                  <a:lnTo>
                    <a:pt x="24289" y="8853"/>
                  </a:lnTo>
                  <a:cubicBezTo>
                    <a:pt x="24289" y="8853"/>
                    <a:pt x="22983" y="8331"/>
                    <a:pt x="22199" y="7677"/>
                  </a:cubicBezTo>
                  <a:cubicBezTo>
                    <a:pt x="21677" y="7677"/>
                    <a:pt x="21285" y="7677"/>
                    <a:pt x="20762" y="767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74" name="Graphic 717">
            <a:extLst>
              <a:ext uri="{FF2B5EF4-FFF2-40B4-BE49-F238E27FC236}">
                <a16:creationId xmlns:a16="http://schemas.microsoft.com/office/drawing/2014/main" id="{84A119C0-7163-1DC7-5007-63F901517222}"/>
              </a:ext>
            </a:extLst>
          </p:cNvPr>
          <p:cNvGrpSpPr/>
          <p:nvPr/>
        </p:nvGrpSpPr>
        <p:grpSpPr>
          <a:xfrm>
            <a:off x="6358433" y="4139079"/>
            <a:ext cx="261202" cy="258875"/>
            <a:chOff x="162722" y="5568258"/>
            <a:chExt cx="294041" cy="283081"/>
          </a:xfrm>
          <a:noFill/>
        </p:grpSpPr>
        <p:sp>
          <p:nvSpPr>
            <p:cNvPr id="175" name="Freeform: Shape 174">
              <a:extLst>
                <a:ext uri="{FF2B5EF4-FFF2-40B4-BE49-F238E27FC236}">
                  <a16:creationId xmlns:a16="http://schemas.microsoft.com/office/drawing/2014/main" id="{F2EA003E-01FB-8AEE-A386-D19031D4C992}"/>
                </a:ext>
              </a:extLst>
            </p:cNvPr>
            <p:cNvSpPr/>
            <p:nvPr/>
          </p:nvSpPr>
          <p:spPr>
            <a:xfrm>
              <a:off x="169331" y="5576243"/>
              <a:ext cx="278147" cy="268695"/>
            </a:xfrm>
            <a:custGeom>
              <a:avLst/>
              <a:gdLst>
                <a:gd name="connsiteX0" fmla="*/ 237393 w 278147"/>
                <a:gd name="connsiteY0" fmla="*/ 111554 h 268695"/>
                <a:gd name="connsiteX1" fmla="*/ 226290 w 278147"/>
                <a:gd name="connsiteY1" fmla="*/ 74195 h 268695"/>
                <a:gd name="connsiteX2" fmla="*/ 249541 w 278147"/>
                <a:gd name="connsiteY2" fmla="*/ 40624 h 268695"/>
                <a:gd name="connsiteX3" fmla="*/ 192196 w 278147"/>
                <a:gd name="connsiteY3" fmla="*/ 0 h 268695"/>
                <a:gd name="connsiteX4" fmla="*/ 169990 w 278147"/>
                <a:gd name="connsiteY4" fmla="*/ 36967 h 268695"/>
                <a:gd name="connsiteX5" fmla="*/ 168553 w 278147"/>
                <a:gd name="connsiteY5" fmla="*/ 38665 h 268695"/>
                <a:gd name="connsiteX6" fmla="*/ 165549 w 278147"/>
                <a:gd name="connsiteY6" fmla="*/ 39187 h 268695"/>
                <a:gd name="connsiteX7" fmla="*/ 127276 w 278147"/>
                <a:gd name="connsiteY7" fmla="*/ 38404 h 268695"/>
                <a:gd name="connsiteX8" fmla="*/ 107943 w 278147"/>
                <a:gd name="connsiteY8" fmla="*/ 3396 h 268695"/>
                <a:gd name="connsiteX9" fmla="*/ 105723 w 278147"/>
                <a:gd name="connsiteY9" fmla="*/ 1306 h 268695"/>
                <a:gd name="connsiteX10" fmla="*/ 102849 w 278147"/>
                <a:gd name="connsiteY10" fmla="*/ 2221 h 268695"/>
                <a:gd name="connsiteX11" fmla="*/ 57261 w 278147"/>
                <a:gd name="connsiteY11" fmla="*/ 30174 h 268695"/>
                <a:gd name="connsiteX12" fmla="*/ 56216 w 278147"/>
                <a:gd name="connsiteY12" fmla="*/ 31089 h 268695"/>
                <a:gd name="connsiteX13" fmla="*/ 56739 w 278147"/>
                <a:gd name="connsiteY13" fmla="*/ 34485 h 268695"/>
                <a:gd name="connsiteX14" fmla="*/ 77116 w 278147"/>
                <a:gd name="connsiteY14" fmla="*/ 63353 h 268695"/>
                <a:gd name="connsiteX15" fmla="*/ 55171 w 278147"/>
                <a:gd name="connsiteY15" fmla="*/ 99797 h 268695"/>
                <a:gd name="connsiteX16" fmla="*/ 47987 w 278147"/>
                <a:gd name="connsiteY16" fmla="*/ 106459 h 268695"/>
                <a:gd name="connsiteX17" fmla="*/ 39888 w 278147"/>
                <a:gd name="connsiteY17" fmla="*/ 105806 h 268695"/>
                <a:gd name="connsiteX18" fmla="*/ 8146 w 278147"/>
                <a:gd name="connsiteY18" fmla="*/ 95356 h 268695"/>
                <a:gd name="connsiteX19" fmla="*/ 3444 w 278147"/>
                <a:gd name="connsiteY19" fmla="*/ 163934 h 268695"/>
                <a:gd name="connsiteX20" fmla="*/ 43937 w 278147"/>
                <a:gd name="connsiteY20" fmla="*/ 159885 h 268695"/>
                <a:gd name="connsiteX21" fmla="*/ 67580 w 278147"/>
                <a:gd name="connsiteY21" fmla="*/ 201815 h 268695"/>
                <a:gd name="connsiteX22" fmla="*/ 48640 w 278147"/>
                <a:gd name="connsiteY22" fmla="*/ 233688 h 268695"/>
                <a:gd name="connsiteX23" fmla="*/ 92138 w 278147"/>
                <a:gd name="connsiteY23" fmla="*/ 266083 h 268695"/>
                <a:gd name="connsiteX24" fmla="*/ 114736 w 278147"/>
                <a:gd name="connsiteY24" fmla="*/ 232382 h 268695"/>
                <a:gd name="connsiteX25" fmla="*/ 154577 w 278147"/>
                <a:gd name="connsiteY25" fmla="*/ 233165 h 268695"/>
                <a:gd name="connsiteX26" fmla="*/ 169990 w 278147"/>
                <a:gd name="connsiteY26" fmla="*/ 268695 h 268695"/>
                <a:gd name="connsiteX27" fmla="*/ 229425 w 278147"/>
                <a:gd name="connsiteY27" fmla="*/ 247664 h 268695"/>
                <a:gd name="connsiteX28" fmla="*/ 215056 w 278147"/>
                <a:gd name="connsiteY28" fmla="*/ 211220 h 268695"/>
                <a:gd name="connsiteX29" fmla="*/ 236478 w 278147"/>
                <a:gd name="connsiteY29" fmla="*/ 175821 h 268695"/>
                <a:gd name="connsiteX30" fmla="*/ 276841 w 278147"/>
                <a:gd name="connsiteY30" fmla="*/ 172555 h 268695"/>
                <a:gd name="connsiteX31" fmla="*/ 278148 w 278147"/>
                <a:gd name="connsiteY31" fmla="*/ 122395 h 268695"/>
                <a:gd name="connsiteX32" fmla="*/ 237654 w 278147"/>
                <a:gd name="connsiteY32" fmla="*/ 111554 h 268695"/>
                <a:gd name="connsiteX33" fmla="*/ 168815 w 278147"/>
                <a:gd name="connsiteY33" fmla="*/ 130494 h 268695"/>
                <a:gd name="connsiteX34" fmla="*/ 166986 w 278147"/>
                <a:gd name="connsiteY34" fmla="*/ 137287 h 268695"/>
                <a:gd name="connsiteX35" fmla="*/ 165027 w 278147"/>
                <a:gd name="connsiteY35" fmla="*/ 141336 h 268695"/>
                <a:gd name="connsiteX36" fmla="*/ 159540 w 278147"/>
                <a:gd name="connsiteY36" fmla="*/ 147867 h 268695"/>
                <a:gd name="connsiteX37" fmla="*/ 145172 w 278147"/>
                <a:gd name="connsiteY37" fmla="*/ 156880 h 268695"/>
                <a:gd name="connsiteX38" fmla="*/ 138379 w 278147"/>
                <a:gd name="connsiteY38" fmla="*/ 158578 h 268695"/>
                <a:gd name="connsiteX39" fmla="*/ 132501 w 278147"/>
                <a:gd name="connsiteY39" fmla="*/ 158840 h 268695"/>
                <a:gd name="connsiteX40" fmla="*/ 128713 w 278147"/>
                <a:gd name="connsiteY40" fmla="*/ 158317 h 268695"/>
                <a:gd name="connsiteX41" fmla="*/ 127015 w 278147"/>
                <a:gd name="connsiteY41" fmla="*/ 157925 h 268695"/>
                <a:gd name="connsiteX42" fmla="*/ 111993 w 278147"/>
                <a:gd name="connsiteY42" fmla="*/ 145385 h 268695"/>
                <a:gd name="connsiteX43" fmla="*/ 108466 w 278147"/>
                <a:gd name="connsiteY43" fmla="*/ 134152 h 268695"/>
                <a:gd name="connsiteX44" fmla="*/ 110556 w 278147"/>
                <a:gd name="connsiteY44" fmla="*/ 123702 h 268695"/>
                <a:gd name="connsiteX45" fmla="*/ 117479 w 278147"/>
                <a:gd name="connsiteY45" fmla="*/ 110247 h 268695"/>
                <a:gd name="connsiteX46" fmla="*/ 129758 w 278147"/>
                <a:gd name="connsiteY46" fmla="*/ 98099 h 268695"/>
                <a:gd name="connsiteX47" fmla="*/ 145433 w 278147"/>
                <a:gd name="connsiteY47" fmla="*/ 97054 h 268695"/>
                <a:gd name="connsiteX48" fmla="*/ 151833 w 278147"/>
                <a:gd name="connsiteY48" fmla="*/ 96532 h 268695"/>
                <a:gd name="connsiteX49" fmla="*/ 161238 w 278147"/>
                <a:gd name="connsiteY49" fmla="*/ 102932 h 268695"/>
                <a:gd name="connsiteX50" fmla="*/ 166855 w 278147"/>
                <a:gd name="connsiteY50" fmla="*/ 112860 h 268695"/>
                <a:gd name="connsiteX51" fmla="*/ 168031 w 278147"/>
                <a:gd name="connsiteY51" fmla="*/ 116387 h 268695"/>
                <a:gd name="connsiteX52" fmla="*/ 168423 w 278147"/>
                <a:gd name="connsiteY52" fmla="*/ 118477 h 268695"/>
                <a:gd name="connsiteX53" fmla="*/ 168815 w 278147"/>
                <a:gd name="connsiteY53" fmla="*/ 121873 h 268695"/>
                <a:gd name="connsiteX54" fmla="*/ 168815 w 278147"/>
                <a:gd name="connsiteY54" fmla="*/ 121089 h 268695"/>
                <a:gd name="connsiteX55" fmla="*/ 168815 w 278147"/>
                <a:gd name="connsiteY55" fmla="*/ 121089 h 268695"/>
                <a:gd name="connsiteX56" fmla="*/ 169207 w 278147"/>
                <a:gd name="connsiteY56" fmla="*/ 124485 h 268695"/>
                <a:gd name="connsiteX57" fmla="*/ 169207 w 278147"/>
                <a:gd name="connsiteY57" fmla="*/ 126184 h 268695"/>
                <a:gd name="connsiteX58" fmla="*/ 168684 w 278147"/>
                <a:gd name="connsiteY58" fmla="*/ 130494 h 26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78147" h="268695">
                  <a:moveTo>
                    <a:pt x="237393" y="111554"/>
                  </a:moveTo>
                  <a:lnTo>
                    <a:pt x="226290" y="74195"/>
                  </a:lnTo>
                  <a:lnTo>
                    <a:pt x="249541" y="40624"/>
                  </a:lnTo>
                  <a:lnTo>
                    <a:pt x="192196" y="0"/>
                  </a:lnTo>
                  <a:cubicBezTo>
                    <a:pt x="184751" y="12279"/>
                    <a:pt x="177436" y="24688"/>
                    <a:pt x="169990" y="36967"/>
                  </a:cubicBezTo>
                  <a:cubicBezTo>
                    <a:pt x="169598" y="37620"/>
                    <a:pt x="169207" y="38273"/>
                    <a:pt x="168553" y="38665"/>
                  </a:cubicBezTo>
                  <a:cubicBezTo>
                    <a:pt x="167639" y="39187"/>
                    <a:pt x="166594" y="39187"/>
                    <a:pt x="165549" y="39187"/>
                  </a:cubicBezTo>
                  <a:cubicBezTo>
                    <a:pt x="152748" y="39057"/>
                    <a:pt x="139947" y="38796"/>
                    <a:pt x="127276" y="38404"/>
                  </a:cubicBezTo>
                  <a:cubicBezTo>
                    <a:pt x="121006" y="26125"/>
                    <a:pt x="114867" y="14499"/>
                    <a:pt x="107943" y="3396"/>
                  </a:cubicBezTo>
                  <a:cubicBezTo>
                    <a:pt x="107421" y="2482"/>
                    <a:pt x="106768" y="1567"/>
                    <a:pt x="105723" y="1306"/>
                  </a:cubicBezTo>
                  <a:cubicBezTo>
                    <a:pt x="104678" y="1045"/>
                    <a:pt x="103764" y="1567"/>
                    <a:pt x="102849" y="2221"/>
                  </a:cubicBezTo>
                  <a:cubicBezTo>
                    <a:pt x="87697" y="11495"/>
                    <a:pt x="72414" y="20900"/>
                    <a:pt x="57261" y="30174"/>
                  </a:cubicBezTo>
                  <a:cubicBezTo>
                    <a:pt x="56869" y="30435"/>
                    <a:pt x="56477" y="30697"/>
                    <a:pt x="56216" y="31089"/>
                  </a:cubicBezTo>
                  <a:cubicBezTo>
                    <a:pt x="55563" y="32134"/>
                    <a:pt x="56216" y="33440"/>
                    <a:pt x="56739" y="34485"/>
                  </a:cubicBezTo>
                  <a:cubicBezTo>
                    <a:pt x="62486" y="44804"/>
                    <a:pt x="69279" y="54601"/>
                    <a:pt x="77116" y="63353"/>
                  </a:cubicBezTo>
                  <a:cubicBezTo>
                    <a:pt x="70193" y="76285"/>
                    <a:pt x="63009" y="88302"/>
                    <a:pt x="55171" y="99797"/>
                  </a:cubicBezTo>
                  <a:cubicBezTo>
                    <a:pt x="53212" y="102541"/>
                    <a:pt x="51122" y="105545"/>
                    <a:pt x="47987" y="106459"/>
                  </a:cubicBezTo>
                  <a:cubicBezTo>
                    <a:pt x="45374" y="107243"/>
                    <a:pt x="42500" y="106459"/>
                    <a:pt x="39888" y="105806"/>
                  </a:cubicBezTo>
                  <a:cubicBezTo>
                    <a:pt x="29177" y="102671"/>
                    <a:pt x="18596" y="99275"/>
                    <a:pt x="8146" y="95356"/>
                  </a:cubicBezTo>
                  <a:cubicBezTo>
                    <a:pt x="-736" y="116909"/>
                    <a:pt x="-2434" y="141466"/>
                    <a:pt x="3444" y="163934"/>
                  </a:cubicBezTo>
                  <a:cubicBezTo>
                    <a:pt x="4358" y="165632"/>
                    <a:pt x="43937" y="159885"/>
                    <a:pt x="43937" y="159885"/>
                  </a:cubicBezTo>
                  <a:lnTo>
                    <a:pt x="67580" y="201815"/>
                  </a:lnTo>
                  <a:lnTo>
                    <a:pt x="48640" y="233688"/>
                  </a:lnTo>
                  <a:lnTo>
                    <a:pt x="92138" y="266083"/>
                  </a:lnTo>
                  <a:lnTo>
                    <a:pt x="114736" y="232382"/>
                  </a:lnTo>
                  <a:lnTo>
                    <a:pt x="154577" y="233165"/>
                  </a:lnTo>
                  <a:lnTo>
                    <a:pt x="169990" y="268695"/>
                  </a:lnTo>
                  <a:lnTo>
                    <a:pt x="229425" y="247664"/>
                  </a:lnTo>
                  <a:lnTo>
                    <a:pt x="215056" y="211220"/>
                  </a:lnTo>
                  <a:lnTo>
                    <a:pt x="236478" y="175821"/>
                  </a:lnTo>
                  <a:lnTo>
                    <a:pt x="276841" y="172555"/>
                  </a:lnTo>
                  <a:lnTo>
                    <a:pt x="278148" y="122395"/>
                  </a:lnTo>
                  <a:lnTo>
                    <a:pt x="237654" y="111554"/>
                  </a:lnTo>
                  <a:close/>
                  <a:moveTo>
                    <a:pt x="168815" y="130494"/>
                  </a:moveTo>
                  <a:cubicBezTo>
                    <a:pt x="169207" y="132323"/>
                    <a:pt x="167639" y="135719"/>
                    <a:pt x="166986" y="137287"/>
                  </a:cubicBezTo>
                  <a:cubicBezTo>
                    <a:pt x="166463" y="138723"/>
                    <a:pt x="165810" y="140030"/>
                    <a:pt x="165027" y="141336"/>
                  </a:cubicBezTo>
                  <a:cubicBezTo>
                    <a:pt x="163590" y="143687"/>
                    <a:pt x="161630" y="145908"/>
                    <a:pt x="159540" y="147867"/>
                  </a:cubicBezTo>
                  <a:cubicBezTo>
                    <a:pt x="155230" y="151917"/>
                    <a:pt x="150527" y="154790"/>
                    <a:pt x="145172" y="156880"/>
                  </a:cubicBezTo>
                  <a:cubicBezTo>
                    <a:pt x="142951" y="157664"/>
                    <a:pt x="140600" y="158186"/>
                    <a:pt x="138379" y="158578"/>
                  </a:cubicBezTo>
                  <a:cubicBezTo>
                    <a:pt x="136289" y="158971"/>
                    <a:pt x="134460" y="159101"/>
                    <a:pt x="132501" y="158840"/>
                  </a:cubicBezTo>
                  <a:cubicBezTo>
                    <a:pt x="131195" y="158709"/>
                    <a:pt x="129888" y="158317"/>
                    <a:pt x="128713" y="158317"/>
                  </a:cubicBezTo>
                  <a:cubicBezTo>
                    <a:pt x="132240" y="158317"/>
                    <a:pt x="128452" y="158317"/>
                    <a:pt x="127015" y="157925"/>
                  </a:cubicBezTo>
                  <a:cubicBezTo>
                    <a:pt x="120875" y="156227"/>
                    <a:pt x="114867" y="151002"/>
                    <a:pt x="111993" y="145385"/>
                  </a:cubicBezTo>
                  <a:cubicBezTo>
                    <a:pt x="110164" y="141989"/>
                    <a:pt x="108597" y="138070"/>
                    <a:pt x="108466" y="134152"/>
                  </a:cubicBezTo>
                  <a:cubicBezTo>
                    <a:pt x="108335" y="130625"/>
                    <a:pt x="109250" y="126967"/>
                    <a:pt x="110556" y="123702"/>
                  </a:cubicBezTo>
                  <a:cubicBezTo>
                    <a:pt x="112515" y="118999"/>
                    <a:pt x="114736" y="114427"/>
                    <a:pt x="117479" y="110247"/>
                  </a:cubicBezTo>
                  <a:cubicBezTo>
                    <a:pt x="120614" y="105545"/>
                    <a:pt x="124663" y="100712"/>
                    <a:pt x="129758" y="98099"/>
                  </a:cubicBezTo>
                  <a:cubicBezTo>
                    <a:pt x="134983" y="95487"/>
                    <a:pt x="140469" y="95095"/>
                    <a:pt x="145433" y="97054"/>
                  </a:cubicBezTo>
                  <a:cubicBezTo>
                    <a:pt x="147523" y="96140"/>
                    <a:pt x="149874" y="95748"/>
                    <a:pt x="151833" y="96532"/>
                  </a:cubicBezTo>
                  <a:cubicBezTo>
                    <a:pt x="155622" y="97969"/>
                    <a:pt x="158626" y="99797"/>
                    <a:pt x="161238" y="102932"/>
                  </a:cubicBezTo>
                  <a:cubicBezTo>
                    <a:pt x="163851" y="106067"/>
                    <a:pt x="165418" y="109072"/>
                    <a:pt x="166855" y="112860"/>
                  </a:cubicBezTo>
                  <a:cubicBezTo>
                    <a:pt x="167247" y="114036"/>
                    <a:pt x="167639" y="115211"/>
                    <a:pt x="168031" y="116387"/>
                  </a:cubicBezTo>
                  <a:cubicBezTo>
                    <a:pt x="168162" y="117040"/>
                    <a:pt x="168292" y="117823"/>
                    <a:pt x="168423" y="118477"/>
                  </a:cubicBezTo>
                  <a:cubicBezTo>
                    <a:pt x="168553" y="119652"/>
                    <a:pt x="168684" y="120697"/>
                    <a:pt x="168815" y="121873"/>
                  </a:cubicBezTo>
                  <a:lnTo>
                    <a:pt x="168815" y="121089"/>
                  </a:lnTo>
                  <a:cubicBezTo>
                    <a:pt x="168684" y="120175"/>
                    <a:pt x="168684" y="120044"/>
                    <a:pt x="168815" y="121089"/>
                  </a:cubicBezTo>
                  <a:cubicBezTo>
                    <a:pt x="168945" y="122265"/>
                    <a:pt x="169076" y="123310"/>
                    <a:pt x="169207" y="124485"/>
                  </a:cubicBezTo>
                  <a:cubicBezTo>
                    <a:pt x="169207" y="125008"/>
                    <a:pt x="169207" y="125661"/>
                    <a:pt x="169207" y="126184"/>
                  </a:cubicBezTo>
                  <a:cubicBezTo>
                    <a:pt x="169207" y="127620"/>
                    <a:pt x="169207" y="129057"/>
                    <a:pt x="168684" y="13049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76" name="Freeform: Shape 175">
              <a:extLst>
                <a:ext uri="{FF2B5EF4-FFF2-40B4-BE49-F238E27FC236}">
                  <a16:creationId xmlns:a16="http://schemas.microsoft.com/office/drawing/2014/main" id="{AE550D13-3F7D-AAD7-9102-B3B5B7641699}"/>
                </a:ext>
              </a:extLst>
            </p:cNvPr>
            <p:cNvSpPr/>
            <p:nvPr/>
          </p:nvSpPr>
          <p:spPr>
            <a:xfrm>
              <a:off x="270356" y="5708991"/>
              <a:ext cx="75911" cy="43962"/>
            </a:xfrm>
            <a:custGeom>
              <a:avLst/>
              <a:gdLst>
                <a:gd name="connsiteX0" fmla="*/ 75757 w 75911"/>
                <a:gd name="connsiteY0" fmla="*/ 5061 h 43962"/>
                <a:gd name="connsiteX1" fmla="*/ 64523 w 75911"/>
                <a:gd name="connsiteY1" fmla="*/ 4277 h 43962"/>
                <a:gd name="connsiteX2" fmla="*/ 57208 w 75911"/>
                <a:gd name="connsiteY2" fmla="*/ 15250 h 43962"/>
                <a:gd name="connsiteX3" fmla="*/ 44015 w 75911"/>
                <a:gd name="connsiteY3" fmla="*/ 22173 h 43962"/>
                <a:gd name="connsiteX4" fmla="*/ 31475 w 75911"/>
                <a:gd name="connsiteY4" fmla="*/ 24263 h 43962"/>
                <a:gd name="connsiteX5" fmla="*/ 28471 w 75911"/>
                <a:gd name="connsiteY5" fmla="*/ 23479 h 43962"/>
                <a:gd name="connsiteX6" fmla="*/ 19197 w 75911"/>
                <a:gd name="connsiteY6" fmla="*/ 18907 h 43962"/>
                <a:gd name="connsiteX7" fmla="*/ 10575 w 75911"/>
                <a:gd name="connsiteY7" fmla="*/ 14597 h 43962"/>
                <a:gd name="connsiteX8" fmla="*/ 4567 w 75911"/>
                <a:gd name="connsiteY8" fmla="*/ 32492 h 43962"/>
                <a:gd name="connsiteX9" fmla="*/ 53551 w 75911"/>
                <a:gd name="connsiteY9" fmla="*/ 39285 h 43962"/>
                <a:gd name="connsiteX10" fmla="*/ 72753 w 75911"/>
                <a:gd name="connsiteY10" fmla="*/ 15511 h 43962"/>
                <a:gd name="connsiteX11" fmla="*/ 75888 w 75911"/>
                <a:gd name="connsiteY11" fmla="*/ 5192 h 4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911" h="43962">
                  <a:moveTo>
                    <a:pt x="75757" y="5061"/>
                  </a:moveTo>
                  <a:cubicBezTo>
                    <a:pt x="75235" y="-1209"/>
                    <a:pt x="65830" y="-1862"/>
                    <a:pt x="64523" y="4277"/>
                  </a:cubicBezTo>
                  <a:cubicBezTo>
                    <a:pt x="62695" y="10155"/>
                    <a:pt x="63348" y="9110"/>
                    <a:pt x="57208" y="15250"/>
                  </a:cubicBezTo>
                  <a:cubicBezTo>
                    <a:pt x="51200" y="20083"/>
                    <a:pt x="53420" y="18646"/>
                    <a:pt x="44015" y="22173"/>
                  </a:cubicBezTo>
                  <a:cubicBezTo>
                    <a:pt x="35263" y="24785"/>
                    <a:pt x="38790" y="24263"/>
                    <a:pt x="31475" y="24263"/>
                  </a:cubicBezTo>
                  <a:cubicBezTo>
                    <a:pt x="30430" y="24132"/>
                    <a:pt x="29516" y="23871"/>
                    <a:pt x="28471" y="23479"/>
                  </a:cubicBezTo>
                  <a:cubicBezTo>
                    <a:pt x="24944" y="22173"/>
                    <a:pt x="25989" y="22826"/>
                    <a:pt x="19197" y="18907"/>
                  </a:cubicBezTo>
                  <a:cubicBezTo>
                    <a:pt x="16323" y="17470"/>
                    <a:pt x="13841" y="14858"/>
                    <a:pt x="10575" y="14597"/>
                  </a:cubicBezTo>
                  <a:cubicBezTo>
                    <a:pt x="648" y="12768"/>
                    <a:pt x="-4185" y="27398"/>
                    <a:pt x="4567" y="32492"/>
                  </a:cubicBezTo>
                  <a:cubicBezTo>
                    <a:pt x="20111" y="43334"/>
                    <a:pt x="35786" y="48298"/>
                    <a:pt x="53551" y="39285"/>
                  </a:cubicBezTo>
                  <a:cubicBezTo>
                    <a:pt x="62695" y="34190"/>
                    <a:pt x="69357" y="25569"/>
                    <a:pt x="72753" y="15511"/>
                  </a:cubicBezTo>
                  <a:cubicBezTo>
                    <a:pt x="74190" y="12245"/>
                    <a:pt x="76149" y="8718"/>
                    <a:pt x="75888" y="519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77" name="Freeform: Shape 176">
              <a:extLst>
                <a:ext uri="{FF2B5EF4-FFF2-40B4-BE49-F238E27FC236}">
                  <a16:creationId xmlns:a16="http://schemas.microsoft.com/office/drawing/2014/main" id="{8E4EA0C2-51D9-52C0-2035-E2673259ABA4}"/>
                </a:ext>
              </a:extLst>
            </p:cNvPr>
            <p:cNvSpPr/>
            <p:nvPr/>
          </p:nvSpPr>
          <p:spPr>
            <a:xfrm>
              <a:off x="339489" y="5812002"/>
              <a:ext cx="54430" cy="30768"/>
            </a:xfrm>
            <a:custGeom>
              <a:avLst/>
              <a:gdLst>
                <a:gd name="connsiteX0" fmla="*/ 39019 w 54430"/>
                <a:gd name="connsiteY0" fmla="*/ 1325 h 30768"/>
                <a:gd name="connsiteX1" fmla="*/ 20079 w 54430"/>
                <a:gd name="connsiteY1" fmla="*/ 6941 h 30768"/>
                <a:gd name="connsiteX2" fmla="*/ 4142 w 54430"/>
                <a:gd name="connsiteY2" fmla="*/ 11252 h 30768"/>
                <a:gd name="connsiteX3" fmla="*/ 13417 w 54430"/>
                <a:gd name="connsiteY3" fmla="*/ 30323 h 30768"/>
                <a:gd name="connsiteX4" fmla="*/ 51559 w 54430"/>
                <a:gd name="connsiteY4" fmla="*/ 17130 h 30768"/>
                <a:gd name="connsiteX5" fmla="*/ 39019 w 54430"/>
                <a:gd name="connsiteY5" fmla="*/ 1325 h 3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30" h="30768">
                  <a:moveTo>
                    <a:pt x="39019" y="1325"/>
                  </a:moveTo>
                  <a:cubicBezTo>
                    <a:pt x="33141" y="3415"/>
                    <a:pt x="31051" y="4982"/>
                    <a:pt x="20079" y="6941"/>
                  </a:cubicBezTo>
                  <a:cubicBezTo>
                    <a:pt x="14854" y="8640"/>
                    <a:pt x="8584" y="7725"/>
                    <a:pt x="4142" y="11252"/>
                  </a:cubicBezTo>
                  <a:cubicBezTo>
                    <a:pt x="-5132" y="18045"/>
                    <a:pt x="2575" y="33589"/>
                    <a:pt x="13417" y="30323"/>
                  </a:cubicBezTo>
                  <a:cubicBezTo>
                    <a:pt x="26479" y="27580"/>
                    <a:pt x="41370" y="27058"/>
                    <a:pt x="51559" y="17130"/>
                  </a:cubicBezTo>
                  <a:cubicBezTo>
                    <a:pt x="59527" y="7987"/>
                    <a:pt x="49469" y="-4031"/>
                    <a:pt x="39019" y="132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78" name="Freeform: Shape 177">
              <a:extLst>
                <a:ext uri="{FF2B5EF4-FFF2-40B4-BE49-F238E27FC236}">
                  <a16:creationId xmlns:a16="http://schemas.microsoft.com/office/drawing/2014/main" id="{801CD5AA-5400-CA45-A269-CAB68DF91204}"/>
                </a:ext>
              </a:extLst>
            </p:cNvPr>
            <p:cNvSpPr/>
            <p:nvPr/>
          </p:nvSpPr>
          <p:spPr>
            <a:xfrm>
              <a:off x="421745" y="5716253"/>
              <a:ext cx="28868" cy="37571"/>
            </a:xfrm>
            <a:custGeom>
              <a:avLst/>
              <a:gdLst>
                <a:gd name="connsiteX0" fmla="*/ 28868 w 28868"/>
                <a:gd name="connsiteY0" fmla="*/ 12299 h 37571"/>
                <a:gd name="connsiteX1" fmla="*/ 28868 w 28868"/>
                <a:gd name="connsiteY1" fmla="*/ 11907 h 37571"/>
                <a:gd name="connsiteX2" fmla="*/ 28868 w 28868"/>
                <a:gd name="connsiteY2" fmla="*/ 12168 h 37571"/>
                <a:gd name="connsiteX3" fmla="*/ 27301 w 28868"/>
                <a:gd name="connsiteY3" fmla="*/ 5767 h 37571"/>
                <a:gd name="connsiteX4" fmla="*/ 6401 w 28868"/>
                <a:gd name="connsiteY4" fmla="*/ 7466 h 37571"/>
                <a:gd name="connsiteX5" fmla="*/ 5747 w 28868"/>
                <a:gd name="connsiteY5" fmla="*/ 8902 h 37571"/>
                <a:gd name="connsiteX6" fmla="*/ 3658 w 28868"/>
                <a:gd name="connsiteY6" fmla="*/ 14258 h 37571"/>
                <a:gd name="connsiteX7" fmla="*/ 1698 w 28868"/>
                <a:gd name="connsiteY7" fmla="*/ 18568 h 37571"/>
                <a:gd name="connsiteX8" fmla="*/ 0 w 28868"/>
                <a:gd name="connsiteY8" fmla="*/ 24969 h 37571"/>
                <a:gd name="connsiteX9" fmla="*/ 24296 w 28868"/>
                <a:gd name="connsiteY9" fmla="*/ 28365 h 37571"/>
                <a:gd name="connsiteX10" fmla="*/ 28476 w 28868"/>
                <a:gd name="connsiteY10" fmla="*/ 14258 h 37571"/>
                <a:gd name="connsiteX11" fmla="*/ 28737 w 28868"/>
                <a:gd name="connsiteY11" fmla="*/ 12037 h 3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68" h="37571">
                  <a:moveTo>
                    <a:pt x="28868" y="12299"/>
                  </a:moveTo>
                  <a:cubicBezTo>
                    <a:pt x="28868" y="12299"/>
                    <a:pt x="28868" y="12037"/>
                    <a:pt x="28868" y="11907"/>
                  </a:cubicBezTo>
                  <a:cubicBezTo>
                    <a:pt x="28868" y="11907"/>
                    <a:pt x="28868" y="12168"/>
                    <a:pt x="28868" y="12168"/>
                  </a:cubicBezTo>
                  <a:cubicBezTo>
                    <a:pt x="28868" y="9947"/>
                    <a:pt x="28476" y="7727"/>
                    <a:pt x="27301" y="5767"/>
                  </a:cubicBezTo>
                  <a:cubicBezTo>
                    <a:pt x="22729" y="-2854"/>
                    <a:pt x="9536" y="-1417"/>
                    <a:pt x="6401" y="7466"/>
                  </a:cubicBezTo>
                  <a:cubicBezTo>
                    <a:pt x="6270" y="7857"/>
                    <a:pt x="6009" y="8380"/>
                    <a:pt x="5747" y="8902"/>
                  </a:cubicBezTo>
                  <a:cubicBezTo>
                    <a:pt x="4833" y="10600"/>
                    <a:pt x="4311" y="12429"/>
                    <a:pt x="3658" y="14258"/>
                  </a:cubicBezTo>
                  <a:cubicBezTo>
                    <a:pt x="3004" y="15564"/>
                    <a:pt x="2221" y="17523"/>
                    <a:pt x="1698" y="18568"/>
                  </a:cubicBezTo>
                  <a:cubicBezTo>
                    <a:pt x="523" y="20528"/>
                    <a:pt x="0" y="22748"/>
                    <a:pt x="0" y="24969"/>
                  </a:cubicBezTo>
                  <a:cubicBezTo>
                    <a:pt x="131" y="39599"/>
                    <a:pt x="20508" y="42473"/>
                    <a:pt x="24296" y="28365"/>
                  </a:cubicBezTo>
                  <a:cubicBezTo>
                    <a:pt x="26256" y="23794"/>
                    <a:pt x="27823" y="19091"/>
                    <a:pt x="28476" y="14258"/>
                  </a:cubicBezTo>
                  <a:cubicBezTo>
                    <a:pt x="28607" y="13605"/>
                    <a:pt x="28737" y="12821"/>
                    <a:pt x="28737" y="1203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79" name="Freeform: Shape 178">
              <a:extLst>
                <a:ext uri="{FF2B5EF4-FFF2-40B4-BE49-F238E27FC236}">
                  <a16:creationId xmlns:a16="http://schemas.microsoft.com/office/drawing/2014/main" id="{40CA7531-F753-FB45-8875-50F87B32BC2B}"/>
                </a:ext>
              </a:extLst>
            </p:cNvPr>
            <p:cNvSpPr/>
            <p:nvPr/>
          </p:nvSpPr>
          <p:spPr>
            <a:xfrm>
              <a:off x="162722" y="5568258"/>
              <a:ext cx="294041" cy="283081"/>
            </a:xfrm>
            <a:custGeom>
              <a:avLst/>
              <a:gdLst>
                <a:gd name="connsiteX0" fmla="*/ 175946 w 294041"/>
                <a:gd name="connsiteY0" fmla="*/ 282820 h 283081"/>
                <a:gd name="connsiteX1" fmla="*/ 169937 w 294041"/>
                <a:gd name="connsiteY1" fmla="*/ 278771 h 283081"/>
                <a:gd name="connsiteX2" fmla="*/ 155569 w 294041"/>
                <a:gd name="connsiteY2" fmla="*/ 247682 h 283081"/>
                <a:gd name="connsiteX3" fmla="*/ 120822 w 294041"/>
                <a:gd name="connsiteY3" fmla="*/ 247290 h 283081"/>
                <a:gd name="connsiteX4" fmla="*/ 111026 w 294041"/>
                <a:gd name="connsiteY4" fmla="*/ 265838 h 283081"/>
                <a:gd name="connsiteX5" fmla="*/ 104625 w 294041"/>
                <a:gd name="connsiteY5" fmla="*/ 277856 h 283081"/>
                <a:gd name="connsiteX6" fmla="*/ 96526 w 294041"/>
                <a:gd name="connsiteY6" fmla="*/ 280860 h 283081"/>
                <a:gd name="connsiteX7" fmla="*/ 47150 w 294041"/>
                <a:gd name="connsiteY7" fmla="*/ 244547 h 283081"/>
                <a:gd name="connsiteX8" fmla="*/ 46889 w 294041"/>
                <a:gd name="connsiteY8" fmla="*/ 236840 h 283081"/>
                <a:gd name="connsiteX9" fmla="*/ 66482 w 294041"/>
                <a:gd name="connsiteY9" fmla="*/ 207972 h 283081"/>
                <a:gd name="connsiteX10" fmla="*/ 47150 w 294041"/>
                <a:gd name="connsiteY10" fmla="*/ 173617 h 283081"/>
                <a:gd name="connsiteX11" fmla="*/ 40227 w 294041"/>
                <a:gd name="connsiteY11" fmla="*/ 175054 h 283081"/>
                <a:gd name="connsiteX12" fmla="*/ 10706 w 294041"/>
                <a:gd name="connsiteY12" fmla="*/ 180540 h 283081"/>
                <a:gd name="connsiteX13" fmla="*/ 3521 w 294041"/>
                <a:gd name="connsiteY13" fmla="*/ 175838 h 283081"/>
                <a:gd name="connsiteX14" fmla="*/ 8485 w 294041"/>
                <a:gd name="connsiteY14" fmla="*/ 100859 h 283081"/>
                <a:gd name="connsiteX15" fmla="*/ 16192 w 294041"/>
                <a:gd name="connsiteY15" fmla="*/ 96680 h 283081"/>
                <a:gd name="connsiteX16" fmla="*/ 17106 w 294041"/>
                <a:gd name="connsiteY16" fmla="*/ 96941 h 283081"/>
                <a:gd name="connsiteX17" fmla="*/ 54988 w 294041"/>
                <a:gd name="connsiteY17" fmla="*/ 106476 h 283081"/>
                <a:gd name="connsiteX18" fmla="*/ 73667 w 294041"/>
                <a:gd name="connsiteY18" fmla="*/ 73820 h 283081"/>
                <a:gd name="connsiteX19" fmla="*/ 54334 w 294041"/>
                <a:gd name="connsiteY19" fmla="*/ 44168 h 283081"/>
                <a:gd name="connsiteX20" fmla="*/ 55641 w 294041"/>
                <a:gd name="connsiteY20" fmla="*/ 36331 h 283081"/>
                <a:gd name="connsiteX21" fmla="*/ 109850 w 294041"/>
                <a:gd name="connsiteY21" fmla="*/ 2107 h 283081"/>
                <a:gd name="connsiteX22" fmla="*/ 118079 w 294041"/>
                <a:gd name="connsiteY22" fmla="*/ 4850 h 283081"/>
                <a:gd name="connsiteX23" fmla="*/ 135060 w 294041"/>
                <a:gd name="connsiteY23" fmla="*/ 39727 h 283081"/>
                <a:gd name="connsiteX24" fmla="*/ 173072 w 294041"/>
                <a:gd name="connsiteY24" fmla="*/ 38421 h 283081"/>
                <a:gd name="connsiteX25" fmla="*/ 192927 w 294041"/>
                <a:gd name="connsiteY25" fmla="*/ 3021 h 283081"/>
                <a:gd name="connsiteX26" fmla="*/ 201418 w 294041"/>
                <a:gd name="connsiteY26" fmla="*/ 670 h 283081"/>
                <a:gd name="connsiteX27" fmla="*/ 245569 w 294041"/>
                <a:gd name="connsiteY27" fmla="*/ 30322 h 283081"/>
                <a:gd name="connsiteX28" fmla="*/ 256019 w 294041"/>
                <a:gd name="connsiteY28" fmla="*/ 39597 h 283081"/>
                <a:gd name="connsiteX29" fmla="*/ 261505 w 294041"/>
                <a:gd name="connsiteY29" fmla="*/ 47303 h 283081"/>
                <a:gd name="connsiteX30" fmla="*/ 260591 w 294041"/>
                <a:gd name="connsiteY30" fmla="*/ 52528 h 283081"/>
                <a:gd name="connsiteX31" fmla="*/ 251055 w 294041"/>
                <a:gd name="connsiteY31" fmla="*/ 66375 h 283081"/>
                <a:gd name="connsiteX32" fmla="*/ 238123 w 294041"/>
                <a:gd name="connsiteY32" fmla="*/ 85315 h 283081"/>
                <a:gd name="connsiteX33" fmla="*/ 249096 w 294041"/>
                <a:gd name="connsiteY33" fmla="*/ 113661 h 283081"/>
                <a:gd name="connsiteX34" fmla="*/ 289851 w 294041"/>
                <a:gd name="connsiteY34" fmla="*/ 123458 h 283081"/>
                <a:gd name="connsiteX35" fmla="*/ 293770 w 294041"/>
                <a:gd name="connsiteY35" fmla="*/ 129074 h 283081"/>
                <a:gd name="connsiteX36" fmla="*/ 285540 w 294041"/>
                <a:gd name="connsiteY36" fmla="*/ 186680 h 283081"/>
                <a:gd name="connsiteX37" fmla="*/ 279270 w 294041"/>
                <a:gd name="connsiteY37" fmla="*/ 190860 h 283081"/>
                <a:gd name="connsiteX38" fmla="*/ 274829 w 294041"/>
                <a:gd name="connsiteY38" fmla="*/ 190860 h 283081"/>
                <a:gd name="connsiteX39" fmla="*/ 244785 w 294041"/>
                <a:gd name="connsiteY39" fmla="*/ 190599 h 283081"/>
                <a:gd name="connsiteX40" fmla="*/ 225975 w 294041"/>
                <a:gd name="connsiteY40" fmla="*/ 221034 h 283081"/>
                <a:gd name="connsiteX41" fmla="*/ 242695 w 294041"/>
                <a:gd name="connsiteY41" fmla="*/ 254474 h 283081"/>
                <a:gd name="connsiteX42" fmla="*/ 239822 w 294041"/>
                <a:gd name="connsiteY42" fmla="*/ 262573 h 283081"/>
                <a:gd name="connsiteX43" fmla="*/ 176469 w 294041"/>
                <a:gd name="connsiteY43" fmla="*/ 283081 h 283081"/>
                <a:gd name="connsiteX44" fmla="*/ 175815 w 294041"/>
                <a:gd name="connsiteY44" fmla="*/ 283081 h 283081"/>
                <a:gd name="connsiteX45" fmla="*/ 158834 w 294041"/>
                <a:gd name="connsiteY45" fmla="*/ 234227 h 283081"/>
                <a:gd name="connsiteX46" fmla="*/ 164320 w 294041"/>
                <a:gd name="connsiteY46" fmla="*/ 237232 h 283081"/>
                <a:gd name="connsiteX47" fmla="*/ 180126 w 294041"/>
                <a:gd name="connsiteY47" fmla="*/ 269366 h 283081"/>
                <a:gd name="connsiteX48" fmla="*/ 228588 w 294041"/>
                <a:gd name="connsiteY48" fmla="*/ 253690 h 283081"/>
                <a:gd name="connsiteX49" fmla="*/ 212652 w 294041"/>
                <a:gd name="connsiteY49" fmla="*/ 223255 h 283081"/>
                <a:gd name="connsiteX50" fmla="*/ 213305 w 294041"/>
                <a:gd name="connsiteY50" fmla="*/ 215940 h 283081"/>
                <a:gd name="connsiteX51" fmla="*/ 234335 w 294041"/>
                <a:gd name="connsiteY51" fmla="*/ 181847 h 283081"/>
                <a:gd name="connsiteX52" fmla="*/ 239822 w 294041"/>
                <a:gd name="connsiteY52" fmla="*/ 177667 h 283081"/>
                <a:gd name="connsiteX53" fmla="*/ 275221 w 294041"/>
                <a:gd name="connsiteY53" fmla="*/ 177406 h 283081"/>
                <a:gd name="connsiteX54" fmla="*/ 281360 w 294041"/>
                <a:gd name="connsiteY54" fmla="*/ 133646 h 283081"/>
                <a:gd name="connsiteX55" fmla="*/ 244132 w 294041"/>
                <a:gd name="connsiteY55" fmla="*/ 125939 h 283081"/>
                <a:gd name="connsiteX56" fmla="*/ 238646 w 294041"/>
                <a:gd name="connsiteY56" fmla="*/ 121629 h 283081"/>
                <a:gd name="connsiteX57" fmla="*/ 225192 w 294041"/>
                <a:gd name="connsiteY57" fmla="*/ 86752 h 283081"/>
                <a:gd name="connsiteX58" fmla="*/ 225714 w 294041"/>
                <a:gd name="connsiteY58" fmla="*/ 80874 h 283081"/>
                <a:gd name="connsiteX59" fmla="*/ 240736 w 294041"/>
                <a:gd name="connsiteY59" fmla="*/ 58798 h 283081"/>
                <a:gd name="connsiteX60" fmla="*/ 247528 w 294041"/>
                <a:gd name="connsiteY60" fmla="*/ 49001 h 283081"/>
                <a:gd name="connsiteX61" fmla="*/ 237340 w 294041"/>
                <a:gd name="connsiteY61" fmla="*/ 40119 h 283081"/>
                <a:gd name="connsiteX62" fmla="*/ 200895 w 294041"/>
                <a:gd name="connsiteY62" fmla="*/ 14908 h 283081"/>
                <a:gd name="connsiteX63" fmla="*/ 182739 w 294041"/>
                <a:gd name="connsiteY63" fmla="*/ 48087 h 283081"/>
                <a:gd name="connsiteX64" fmla="*/ 176338 w 294041"/>
                <a:gd name="connsiteY64" fmla="*/ 51483 h 283081"/>
                <a:gd name="connsiteX65" fmla="*/ 132317 w 294041"/>
                <a:gd name="connsiteY65" fmla="*/ 53181 h 283081"/>
                <a:gd name="connsiteX66" fmla="*/ 125133 w 294041"/>
                <a:gd name="connsiteY66" fmla="*/ 49263 h 283081"/>
                <a:gd name="connsiteX67" fmla="*/ 109719 w 294041"/>
                <a:gd name="connsiteY67" fmla="*/ 16345 h 283081"/>
                <a:gd name="connsiteX68" fmla="*/ 68311 w 294041"/>
                <a:gd name="connsiteY68" fmla="*/ 42470 h 283081"/>
                <a:gd name="connsiteX69" fmla="*/ 86860 w 294041"/>
                <a:gd name="connsiteY69" fmla="*/ 69640 h 283081"/>
                <a:gd name="connsiteX70" fmla="*/ 87121 w 294041"/>
                <a:gd name="connsiteY70" fmla="*/ 76955 h 283081"/>
                <a:gd name="connsiteX71" fmla="*/ 64784 w 294041"/>
                <a:gd name="connsiteY71" fmla="*/ 116665 h 283081"/>
                <a:gd name="connsiteX72" fmla="*/ 57339 w 294041"/>
                <a:gd name="connsiteY72" fmla="*/ 120323 h 283081"/>
                <a:gd name="connsiteX73" fmla="*/ 19066 w 294041"/>
                <a:gd name="connsiteY73" fmla="*/ 110787 h 283081"/>
                <a:gd name="connsiteX74" fmla="*/ 14886 w 294041"/>
                <a:gd name="connsiteY74" fmla="*/ 166956 h 283081"/>
                <a:gd name="connsiteX75" fmla="*/ 37614 w 294041"/>
                <a:gd name="connsiteY75" fmla="*/ 162514 h 283081"/>
                <a:gd name="connsiteX76" fmla="*/ 49763 w 294041"/>
                <a:gd name="connsiteY76" fmla="*/ 160032 h 283081"/>
                <a:gd name="connsiteX77" fmla="*/ 56947 w 294041"/>
                <a:gd name="connsiteY77" fmla="*/ 163951 h 283081"/>
                <a:gd name="connsiteX78" fmla="*/ 79284 w 294041"/>
                <a:gd name="connsiteY78" fmla="*/ 203661 h 283081"/>
                <a:gd name="connsiteX79" fmla="*/ 79676 w 294041"/>
                <a:gd name="connsiteY79" fmla="*/ 211107 h 283081"/>
                <a:gd name="connsiteX80" fmla="*/ 60082 w 294041"/>
                <a:gd name="connsiteY80" fmla="*/ 240367 h 283081"/>
                <a:gd name="connsiteX81" fmla="*/ 95612 w 294041"/>
                <a:gd name="connsiteY81" fmla="*/ 266753 h 283081"/>
                <a:gd name="connsiteX82" fmla="*/ 99139 w 294041"/>
                <a:gd name="connsiteY82" fmla="*/ 259961 h 283081"/>
                <a:gd name="connsiteX83" fmla="*/ 111156 w 294041"/>
                <a:gd name="connsiteY83" fmla="*/ 237493 h 283081"/>
                <a:gd name="connsiteX84" fmla="*/ 117426 w 294041"/>
                <a:gd name="connsiteY84" fmla="*/ 234227 h 283081"/>
                <a:gd name="connsiteX85" fmla="*/ 157397 w 294041"/>
                <a:gd name="connsiteY85" fmla="*/ 234619 h 283081"/>
                <a:gd name="connsiteX86" fmla="*/ 158312 w 294041"/>
                <a:gd name="connsiteY86" fmla="*/ 234619 h 28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94041" h="283081">
                  <a:moveTo>
                    <a:pt x="175946" y="282820"/>
                  </a:moveTo>
                  <a:cubicBezTo>
                    <a:pt x="173334" y="282820"/>
                    <a:pt x="170982" y="281252"/>
                    <a:pt x="169937" y="278771"/>
                  </a:cubicBezTo>
                  <a:cubicBezTo>
                    <a:pt x="165757" y="268059"/>
                    <a:pt x="161708" y="257871"/>
                    <a:pt x="155569" y="247682"/>
                  </a:cubicBezTo>
                  <a:cubicBezTo>
                    <a:pt x="143812" y="248988"/>
                    <a:pt x="132056" y="248335"/>
                    <a:pt x="120822" y="247290"/>
                  </a:cubicBezTo>
                  <a:cubicBezTo>
                    <a:pt x="117557" y="253299"/>
                    <a:pt x="114291" y="259438"/>
                    <a:pt x="111026" y="265838"/>
                  </a:cubicBezTo>
                  <a:cubicBezTo>
                    <a:pt x="108936" y="269757"/>
                    <a:pt x="106846" y="273807"/>
                    <a:pt x="104625" y="277856"/>
                  </a:cubicBezTo>
                  <a:cubicBezTo>
                    <a:pt x="103057" y="280730"/>
                    <a:pt x="99661" y="282036"/>
                    <a:pt x="96526" y="280860"/>
                  </a:cubicBezTo>
                  <a:cubicBezTo>
                    <a:pt x="76932" y="273153"/>
                    <a:pt x="59821" y="260614"/>
                    <a:pt x="47150" y="244547"/>
                  </a:cubicBezTo>
                  <a:cubicBezTo>
                    <a:pt x="45321" y="242326"/>
                    <a:pt x="45321" y="239191"/>
                    <a:pt x="46889" y="236840"/>
                  </a:cubicBezTo>
                  <a:cubicBezTo>
                    <a:pt x="53159" y="227957"/>
                    <a:pt x="59690" y="218813"/>
                    <a:pt x="66482" y="207972"/>
                  </a:cubicBezTo>
                  <a:cubicBezTo>
                    <a:pt x="59429" y="198436"/>
                    <a:pt x="53028" y="187072"/>
                    <a:pt x="47150" y="173617"/>
                  </a:cubicBezTo>
                  <a:cubicBezTo>
                    <a:pt x="44929" y="174140"/>
                    <a:pt x="42578" y="174532"/>
                    <a:pt x="40227" y="175054"/>
                  </a:cubicBezTo>
                  <a:cubicBezTo>
                    <a:pt x="30822" y="177014"/>
                    <a:pt x="21156" y="179104"/>
                    <a:pt x="10706" y="180540"/>
                  </a:cubicBezTo>
                  <a:cubicBezTo>
                    <a:pt x="7440" y="180932"/>
                    <a:pt x="4436" y="178973"/>
                    <a:pt x="3521" y="175838"/>
                  </a:cubicBezTo>
                  <a:cubicBezTo>
                    <a:pt x="-2487" y="153501"/>
                    <a:pt x="-789" y="128291"/>
                    <a:pt x="8485" y="100859"/>
                  </a:cubicBezTo>
                  <a:cubicBezTo>
                    <a:pt x="9530" y="97724"/>
                    <a:pt x="12926" y="95896"/>
                    <a:pt x="16192" y="96680"/>
                  </a:cubicBezTo>
                  <a:lnTo>
                    <a:pt x="17106" y="96941"/>
                  </a:lnTo>
                  <a:cubicBezTo>
                    <a:pt x="29516" y="100076"/>
                    <a:pt x="41925" y="103211"/>
                    <a:pt x="54988" y="106476"/>
                  </a:cubicBezTo>
                  <a:cubicBezTo>
                    <a:pt x="60343" y="95243"/>
                    <a:pt x="66744" y="84662"/>
                    <a:pt x="73667" y="73820"/>
                  </a:cubicBezTo>
                  <a:cubicBezTo>
                    <a:pt x="67397" y="65329"/>
                    <a:pt x="60474" y="55532"/>
                    <a:pt x="54334" y="44168"/>
                  </a:cubicBezTo>
                  <a:cubicBezTo>
                    <a:pt x="52898" y="41556"/>
                    <a:pt x="53420" y="38290"/>
                    <a:pt x="55641" y="36331"/>
                  </a:cubicBezTo>
                  <a:cubicBezTo>
                    <a:pt x="70140" y="23138"/>
                    <a:pt x="88297" y="11643"/>
                    <a:pt x="109850" y="2107"/>
                  </a:cubicBezTo>
                  <a:cubicBezTo>
                    <a:pt x="112854" y="801"/>
                    <a:pt x="116512" y="1977"/>
                    <a:pt x="118079" y="4850"/>
                  </a:cubicBezTo>
                  <a:cubicBezTo>
                    <a:pt x="124349" y="16084"/>
                    <a:pt x="130097" y="27840"/>
                    <a:pt x="135060" y="39727"/>
                  </a:cubicBezTo>
                  <a:cubicBezTo>
                    <a:pt x="147600" y="37898"/>
                    <a:pt x="160402" y="37376"/>
                    <a:pt x="173072" y="38421"/>
                  </a:cubicBezTo>
                  <a:cubicBezTo>
                    <a:pt x="178950" y="27056"/>
                    <a:pt x="185220" y="15300"/>
                    <a:pt x="192927" y="3021"/>
                  </a:cubicBezTo>
                  <a:cubicBezTo>
                    <a:pt x="194756" y="148"/>
                    <a:pt x="198414" y="-767"/>
                    <a:pt x="201418" y="670"/>
                  </a:cubicBezTo>
                  <a:cubicBezTo>
                    <a:pt x="217093" y="8900"/>
                    <a:pt x="231984" y="18827"/>
                    <a:pt x="245569" y="30322"/>
                  </a:cubicBezTo>
                  <a:cubicBezTo>
                    <a:pt x="249096" y="33327"/>
                    <a:pt x="252623" y="36461"/>
                    <a:pt x="256019" y="39597"/>
                  </a:cubicBezTo>
                  <a:cubicBezTo>
                    <a:pt x="258109" y="41425"/>
                    <a:pt x="260591" y="43776"/>
                    <a:pt x="261505" y="47303"/>
                  </a:cubicBezTo>
                  <a:cubicBezTo>
                    <a:pt x="261897" y="49132"/>
                    <a:pt x="261636" y="50961"/>
                    <a:pt x="260591" y="52528"/>
                  </a:cubicBezTo>
                  <a:cubicBezTo>
                    <a:pt x="257456" y="57100"/>
                    <a:pt x="254321" y="61672"/>
                    <a:pt x="251055" y="66375"/>
                  </a:cubicBezTo>
                  <a:cubicBezTo>
                    <a:pt x="246875" y="72383"/>
                    <a:pt x="242565" y="78653"/>
                    <a:pt x="238123" y="85315"/>
                  </a:cubicBezTo>
                  <a:cubicBezTo>
                    <a:pt x="241781" y="94590"/>
                    <a:pt x="245569" y="104125"/>
                    <a:pt x="249096" y="113661"/>
                  </a:cubicBezTo>
                  <a:cubicBezTo>
                    <a:pt x="260460" y="114836"/>
                    <a:pt x="274568" y="117187"/>
                    <a:pt x="289851" y="123458"/>
                  </a:cubicBezTo>
                  <a:cubicBezTo>
                    <a:pt x="292202" y="124372"/>
                    <a:pt x="293639" y="126592"/>
                    <a:pt x="293770" y="129074"/>
                  </a:cubicBezTo>
                  <a:cubicBezTo>
                    <a:pt x="294945" y="149713"/>
                    <a:pt x="292333" y="168523"/>
                    <a:pt x="285540" y="186680"/>
                  </a:cubicBezTo>
                  <a:cubicBezTo>
                    <a:pt x="284626" y="189293"/>
                    <a:pt x="282013" y="190991"/>
                    <a:pt x="279270" y="190860"/>
                  </a:cubicBezTo>
                  <a:lnTo>
                    <a:pt x="274829" y="190860"/>
                  </a:lnTo>
                  <a:cubicBezTo>
                    <a:pt x="265163" y="190337"/>
                    <a:pt x="255235" y="189945"/>
                    <a:pt x="244785" y="190599"/>
                  </a:cubicBezTo>
                  <a:cubicBezTo>
                    <a:pt x="240605" y="200396"/>
                    <a:pt x="234466" y="210193"/>
                    <a:pt x="225975" y="221034"/>
                  </a:cubicBezTo>
                  <a:cubicBezTo>
                    <a:pt x="231723" y="231223"/>
                    <a:pt x="237601" y="241934"/>
                    <a:pt x="242695" y="254474"/>
                  </a:cubicBezTo>
                  <a:cubicBezTo>
                    <a:pt x="244002" y="257479"/>
                    <a:pt x="242695" y="261005"/>
                    <a:pt x="239822" y="262573"/>
                  </a:cubicBezTo>
                  <a:cubicBezTo>
                    <a:pt x="219052" y="273937"/>
                    <a:pt x="197760" y="280730"/>
                    <a:pt x="176469" y="283081"/>
                  </a:cubicBezTo>
                  <a:cubicBezTo>
                    <a:pt x="176207" y="283081"/>
                    <a:pt x="175946" y="283081"/>
                    <a:pt x="175815" y="283081"/>
                  </a:cubicBezTo>
                  <a:close/>
                  <a:moveTo>
                    <a:pt x="158834" y="234227"/>
                  </a:moveTo>
                  <a:cubicBezTo>
                    <a:pt x="161055" y="234227"/>
                    <a:pt x="163014" y="235272"/>
                    <a:pt x="164320" y="237232"/>
                  </a:cubicBezTo>
                  <a:cubicBezTo>
                    <a:pt x="171244" y="248074"/>
                    <a:pt x="175946" y="258785"/>
                    <a:pt x="180126" y="269366"/>
                  </a:cubicBezTo>
                  <a:cubicBezTo>
                    <a:pt x="196324" y="267014"/>
                    <a:pt x="212652" y="261789"/>
                    <a:pt x="228588" y="253690"/>
                  </a:cubicBezTo>
                  <a:cubicBezTo>
                    <a:pt x="223624" y="242587"/>
                    <a:pt x="218138" y="232790"/>
                    <a:pt x="212652" y="223255"/>
                  </a:cubicBezTo>
                  <a:cubicBezTo>
                    <a:pt x="211345" y="220903"/>
                    <a:pt x="211607" y="218030"/>
                    <a:pt x="213305" y="215940"/>
                  </a:cubicBezTo>
                  <a:cubicBezTo>
                    <a:pt x="223624" y="203400"/>
                    <a:pt x="230286" y="192558"/>
                    <a:pt x="234335" y="181847"/>
                  </a:cubicBezTo>
                  <a:cubicBezTo>
                    <a:pt x="235250" y="179496"/>
                    <a:pt x="237340" y="177928"/>
                    <a:pt x="239822" y="177667"/>
                  </a:cubicBezTo>
                  <a:cubicBezTo>
                    <a:pt x="252492" y="176491"/>
                    <a:pt x="264118" y="176883"/>
                    <a:pt x="275221" y="177406"/>
                  </a:cubicBezTo>
                  <a:cubicBezTo>
                    <a:pt x="279793" y="163559"/>
                    <a:pt x="281883" y="149191"/>
                    <a:pt x="281360" y="133646"/>
                  </a:cubicBezTo>
                  <a:cubicBezTo>
                    <a:pt x="267253" y="128421"/>
                    <a:pt x="254190" y="126723"/>
                    <a:pt x="244132" y="125939"/>
                  </a:cubicBezTo>
                  <a:cubicBezTo>
                    <a:pt x="241650" y="125678"/>
                    <a:pt x="239430" y="124110"/>
                    <a:pt x="238646" y="121629"/>
                  </a:cubicBezTo>
                  <a:cubicBezTo>
                    <a:pt x="234466" y="110003"/>
                    <a:pt x="229763" y="98247"/>
                    <a:pt x="225192" y="86752"/>
                  </a:cubicBezTo>
                  <a:cubicBezTo>
                    <a:pt x="224408" y="84793"/>
                    <a:pt x="224669" y="82572"/>
                    <a:pt x="225714" y="80874"/>
                  </a:cubicBezTo>
                  <a:cubicBezTo>
                    <a:pt x="230939" y="72775"/>
                    <a:pt x="235903" y="65722"/>
                    <a:pt x="240736" y="58798"/>
                  </a:cubicBezTo>
                  <a:cubicBezTo>
                    <a:pt x="243087" y="55532"/>
                    <a:pt x="245308" y="52267"/>
                    <a:pt x="247528" y="49001"/>
                  </a:cubicBezTo>
                  <a:cubicBezTo>
                    <a:pt x="244002" y="45866"/>
                    <a:pt x="240736" y="42862"/>
                    <a:pt x="237340" y="40119"/>
                  </a:cubicBezTo>
                  <a:cubicBezTo>
                    <a:pt x="225975" y="30583"/>
                    <a:pt x="213827" y="22093"/>
                    <a:pt x="200895" y="14908"/>
                  </a:cubicBezTo>
                  <a:cubicBezTo>
                    <a:pt x="194103" y="26273"/>
                    <a:pt x="188355" y="37376"/>
                    <a:pt x="182739" y="48087"/>
                  </a:cubicBezTo>
                  <a:cubicBezTo>
                    <a:pt x="181563" y="50438"/>
                    <a:pt x="178950" y="51745"/>
                    <a:pt x="176338" y="51483"/>
                  </a:cubicBezTo>
                  <a:cubicBezTo>
                    <a:pt x="161708" y="50046"/>
                    <a:pt x="146947" y="50569"/>
                    <a:pt x="132317" y="53181"/>
                  </a:cubicBezTo>
                  <a:cubicBezTo>
                    <a:pt x="129313" y="53704"/>
                    <a:pt x="126309" y="52137"/>
                    <a:pt x="125133" y="49263"/>
                  </a:cubicBezTo>
                  <a:cubicBezTo>
                    <a:pt x="120561" y="38029"/>
                    <a:pt x="115467" y="26926"/>
                    <a:pt x="109719" y="16345"/>
                  </a:cubicBezTo>
                  <a:cubicBezTo>
                    <a:pt x="93652" y="23922"/>
                    <a:pt x="79806" y="32673"/>
                    <a:pt x="68311" y="42470"/>
                  </a:cubicBezTo>
                  <a:cubicBezTo>
                    <a:pt x="74320" y="52789"/>
                    <a:pt x="80982" y="61933"/>
                    <a:pt x="86860" y="69640"/>
                  </a:cubicBezTo>
                  <a:cubicBezTo>
                    <a:pt x="88427" y="71730"/>
                    <a:pt x="88558" y="74734"/>
                    <a:pt x="87121" y="76955"/>
                  </a:cubicBezTo>
                  <a:cubicBezTo>
                    <a:pt x="78761" y="90409"/>
                    <a:pt x="70793" y="103080"/>
                    <a:pt x="64784" y="116665"/>
                  </a:cubicBezTo>
                  <a:cubicBezTo>
                    <a:pt x="63478" y="119539"/>
                    <a:pt x="60343" y="121106"/>
                    <a:pt x="57339" y="120323"/>
                  </a:cubicBezTo>
                  <a:cubicBezTo>
                    <a:pt x="44146" y="117057"/>
                    <a:pt x="31475" y="113922"/>
                    <a:pt x="19066" y="110787"/>
                  </a:cubicBezTo>
                  <a:cubicBezTo>
                    <a:pt x="12926" y="131164"/>
                    <a:pt x="11489" y="150105"/>
                    <a:pt x="14886" y="166956"/>
                  </a:cubicBezTo>
                  <a:cubicBezTo>
                    <a:pt x="22723" y="165649"/>
                    <a:pt x="30299" y="164082"/>
                    <a:pt x="37614" y="162514"/>
                  </a:cubicBezTo>
                  <a:cubicBezTo>
                    <a:pt x="41664" y="161600"/>
                    <a:pt x="45713" y="160816"/>
                    <a:pt x="49763" y="160032"/>
                  </a:cubicBezTo>
                  <a:cubicBezTo>
                    <a:pt x="52767" y="159379"/>
                    <a:pt x="55771" y="161078"/>
                    <a:pt x="56947" y="163951"/>
                  </a:cubicBezTo>
                  <a:cubicBezTo>
                    <a:pt x="63609" y="180279"/>
                    <a:pt x="70924" y="193211"/>
                    <a:pt x="79284" y="203661"/>
                  </a:cubicBezTo>
                  <a:cubicBezTo>
                    <a:pt x="80982" y="205751"/>
                    <a:pt x="81112" y="208755"/>
                    <a:pt x="79676" y="211107"/>
                  </a:cubicBezTo>
                  <a:cubicBezTo>
                    <a:pt x="72752" y="222341"/>
                    <a:pt x="66352" y="231615"/>
                    <a:pt x="60082" y="240367"/>
                  </a:cubicBezTo>
                  <a:cubicBezTo>
                    <a:pt x="69748" y="251470"/>
                    <a:pt x="81896" y="260483"/>
                    <a:pt x="95612" y="266753"/>
                  </a:cubicBezTo>
                  <a:cubicBezTo>
                    <a:pt x="96787" y="264532"/>
                    <a:pt x="97963" y="262181"/>
                    <a:pt x="99139" y="259961"/>
                  </a:cubicBezTo>
                  <a:cubicBezTo>
                    <a:pt x="103188" y="252123"/>
                    <a:pt x="107107" y="244808"/>
                    <a:pt x="111156" y="237493"/>
                  </a:cubicBezTo>
                  <a:cubicBezTo>
                    <a:pt x="112462" y="235272"/>
                    <a:pt x="114944" y="233966"/>
                    <a:pt x="117426" y="234227"/>
                  </a:cubicBezTo>
                  <a:cubicBezTo>
                    <a:pt x="130358" y="235534"/>
                    <a:pt x="144204" y="236579"/>
                    <a:pt x="157397" y="234619"/>
                  </a:cubicBezTo>
                  <a:cubicBezTo>
                    <a:pt x="157659" y="234619"/>
                    <a:pt x="158050" y="234619"/>
                    <a:pt x="158312" y="23461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80" name="Freeform: Shape 179">
              <a:extLst>
                <a:ext uri="{FF2B5EF4-FFF2-40B4-BE49-F238E27FC236}">
                  <a16:creationId xmlns:a16="http://schemas.microsoft.com/office/drawing/2014/main" id="{2384EDA0-F018-B4C7-88C0-39A49E8BADCB}"/>
                </a:ext>
              </a:extLst>
            </p:cNvPr>
            <p:cNvSpPr/>
            <p:nvPr/>
          </p:nvSpPr>
          <p:spPr>
            <a:xfrm>
              <a:off x="271859" y="5663860"/>
              <a:ext cx="70395" cy="74096"/>
            </a:xfrm>
            <a:custGeom>
              <a:avLst/>
              <a:gdLst>
                <a:gd name="connsiteX0" fmla="*/ 31541 w 70395"/>
                <a:gd name="connsiteY0" fmla="*/ 74097 h 74096"/>
                <a:gd name="connsiteX1" fmla="*/ 14821 w 70395"/>
                <a:gd name="connsiteY1" fmla="*/ 70570 h 74096"/>
                <a:gd name="connsiteX2" fmla="*/ 4371 w 70395"/>
                <a:gd name="connsiteY2" fmla="*/ 62602 h 74096"/>
                <a:gd name="connsiteX3" fmla="*/ 191 w 70395"/>
                <a:gd name="connsiteY3" fmla="*/ 48886 h 74096"/>
                <a:gd name="connsiteX4" fmla="*/ 9596 w 70395"/>
                <a:gd name="connsiteY4" fmla="*/ 13487 h 74096"/>
                <a:gd name="connsiteX5" fmla="*/ 45126 w 70395"/>
                <a:gd name="connsiteY5" fmla="*/ 1469 h 74096"/>
                <a:gd name="connsiteX6" fmla="*/ 47477 w 70395"/>
                <a:gd name="connsiteY6" fmla="*/ 2906 h 74096"/>
                <a:gd name="connsiteX7" fmla="*/ 70336 w 70395"/>
                <a:gd name="connsiteY7" fmla="*/ 33995 h 74096"/>
                <a:gd name="connsiteX8" fmla="*/ 52571 w 70395"/>
                <a:gd name="connsiteY8" fmla="*/ 68219 h 74096"/>
                <a:gd name="connsiteX9" fmla="*/ 31541 w 70395"/>
                <a:gd name="connsiteY9" fmla="*/ 74097 h 74096"/>
                <a:gd name="connsiteX10" fmla="*/ 36243 w 70395"/>
                <a:gd name="connsiteY10" fmla="*/ 12965 h 74096"/>
                <a:gd name="connsiteX11" fmla="*/ 19784 w 70395"/>
                <a:gd name="connsiteY11" fmla="*/ 21455 h 74096"/>
                <a:gd name="connsiteX12" fmla="*/ 13123 w 70395"/>
                <a:gd name="connsiteY12" fmla="*/ 47972 h 74096"/>
                <a:gd name="connsiteX13" fmla="*/ 14951 w 70395"/>
                <a:gd name="connsiteY13" fmla="*/ 55287 h 74096"/>
                <a:gd name="connsiteX14" fmla="*/ 20046 w 70395"/>
                <a:gd name="connsiteY14" fmla="*/ 58944 h 74096"/>
                <a:gd name="connsiteX15" fmla="*/ 45648 w 70395"/>
                <a:gd name="connsiteY15" fmla="*/ 57377 h 74096"/>
                <a:gd name="connsiteX16" fmla="*/ 57404 w 70395"/>
                <a:gd name="connsiteY16" fmla="*/ 34779 h 74096"/>
                <a:gd name="connsiteX17" fmla="*/ 43166 w 70395"/>
                <a:gd name="connsiteY17" fmla="*/ 15054 h 74096"/>
                <a:gd name="connsiteX18" fmla="*/ 42252 w 70395"/>
                <a:gd name="connsiteY18" fmla="*/ 14793 h 74096"/>
                <a:gd name="connsiteX19" fmla="*/ 38725 w 70395"/>
                <a:gd name="connsiteY19" fmla="*/ 13095 h 74096"/>
                <a:gd name="connsiteX20" fmla="*/ 36243 w 70395"/>
                <a:gd name="connsiteY20" fmla="*/ 12834 h 7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395" h="74096">
                  <a:moveTo>
                    <a:pt x="31541" y="74097"/>
                  </a:moveTo>
                  <a:cubicBezTo>
                    <a:pt x="25924" y="74097"/>
                    <a:pt x="20176" y="72921"/>
                    <a:pt x="14821" y="70570"/>
                  </a:cubicBezTo>
                  <a:cubicBezTo>
                    <a:pt x="10118" y="68480"/>
                    <a:pt x="6722" y="65867"/>
                    <a:pt x="4371" y="62602"/>
                  </a:cubicBezTo>
                  <a:cubicBezTo>
                    <a:pt x="1236" y="58161"/>
                    <a:pt x="452" y="52936"/>
                    <a:pt x="191" y="48886"/>
                  </a:cubicBezTo>
                  <a:cubicBezTo>
                    <a:pt x="-854" y="35171"/>
                    <a:pt x="2411" y="22631"/>
                    <a:pt x="9596" y="13487"/>
                  </a:cubicBezTo>
                  <a:cubicBezTo>
                    <a:pt x="18348" y="2253"/>
                    <a:pt x="32978" y="-2711"/>
                    <a:pt x="45126" y="1469"/>
                  </a:cubicBezTo>
                  <a:cubicBezTo>
                    <a:pt x="46040" y="1731"/>
                    <a:pt x="46824" y="2253"/>
                    <a:pt x="47477" y="2906"/>
                  </a:cubicBezTo>
                  <a:cubicBezTo>
                    <a:pt x="60147" y="7347"/>
                    <a:pt x="69552" y="20018"/>
                    <a:pt x="70336" y="33995"/>
                  </a:cubicBezTo>
                  <a:cubicBezTo>
                    <a:pt x="71120" y="47449"/>
                    <a:pt x="64066" y="60904"/>
                    <a:pt x="52571" y="68219"/>
                  </a:cubicBezTo>
                  <a:cubicBezTo>
                    <a:pt x="46301" y="72138"/>
                    <a:pt x="38986" y="74097"/>
                    <a:pt x="31541" y="74097"/>
                  </a:cubicBezTo>
                  <a:close/>
                  <a:moveTo>
                    <a:pt x="36243" y="12965"/>
                  </a:moveTo>
                  <a:cubicBezTo>
                    <a:pt x="30365" y="12965"/>
                    <a:pt x="23964" y="16099"/>
                    <a:pt x="19784" y="21455"/>
                  </a:cubicBezTo>
                  <a:cubicBezTo>
                    <a:pt x="14690" y="27986"/>
                    <a:pt x="12339" y="37391"/>
                    <a:pt x="13123" y="47972"/>
                  </a:cubicBezTo>
                  <a:cubicBezTo>
                    <a:pt x="13253" y="50323"/>
                    <a:pt x="13645" y="53328"/>
                    <a:pt x="14951" y="55287"/>
                  </a:cubicBezTo>
                  <a:cubicBezTo>
                    <a:pt x="15866" y="56593"/>
                    <a:pt x="17564" y="57769"/>
                    <a:pt x="20046" y="58944"/>
                  </a:cubicBezTo>
                  <a:cubicBezTo>
                    <a:pt x="28406" y="62602"/>
                    <a:pt x="38203" y="62079"/>
                    <a:pt x="45648" y="57377"/>
                  </a:cubicBezTo>
                  <a:cubicBezTo>
                    <a:pt x="53224" y="52674"/>
                    <a:pt x="57927" y="43531"/>
                    <a:pt x="57404" y="34779"/>
                  </a:cubicBezTo>
                  <a:cubicBezTo>
                    <a:pt x="56882" y="26027"/>
                    <a:pt x="50873" y="17798"/>
                    <a:pt x="43166" y="15054"/>
                  </a:cubicBezTo>
                  <a:lnTo>
                    <a:pt x="42252" y="14793"/>
                  </a:lnTo>
                  <a:cubicBezTo>
                    <a:pt x="41468" y="14532"/>
                    <a:pt x="40031" y="14140"/>
                    <a:pt x="38725" y="13095"/>
                  </a:cubicBezTo>
                  <a:cubicBezTo>
                    <a:pt x="37941" y="12965"/>
                    <a:pt x="37027" y="12834"/>
                    <a:pt x="36243" y="1283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81" name="Graphic 717">
            <a:extLst>
              <a:ext uri="{FF2B5EF4-FFF2-40B4-BE49-F238E27FC236}">
                <a16:creationId xmlns:a16="http://schemas.microsoft.com/office/drawing/2014/main" id="{1BDEA4D9-8B65-54C6-EE2C-B4C1D235D214}"/>
              </a:ext>
            </a:extLst>
          </p:cNvPr>
          <p:cNvGrpSpPr/>
          <p:nvPr/>
        </p:nvGrpSpPr>
        <p:grpSpPr>
          <a:xfrm>
            <a:off x="8475399" y="3904827"/>
            <a:ext cx="261318" cy="258756"/>
            <a:chOff x="2545840" y="5312102"/>
            <a:chExt cx="294172" cy="282950"/>
          </a:xfrm>
          <a:noFill/>
        </p:grpSpPr>
        <p:sp>
          <p:nvSpPr>
            <p:cNvPr id="182" name="Freeform: Shape 181">
              <a:extLst>
                <a:ext uri="{FF2B5EF4-FFF2-40B4-BE49-F238E27FC236}">
                  <a16:creationId xmlns:a16="http://schemas.microsoft.com/office/drawing/2014/main" id="{767ABCA8-F726-CBD4-A19E-B64D58DCE5E7}"/>
                </a:ext>
              </a:extLst>
            </p:cNvPr>
            <p:cNvSpPr/>
            <p:nvPr/>
          </p:nvSpPr>
          <p:spPr>
            <a:xfrm>
              <a:off x="2552318" y="5320087"/>
              <a:ext cx="278147" cy="268695"/>
            </a:xfrm>
            <a:custGeom>
              <a:avLst/>
              <a:gdLst>
                <a:gd name="connsiteX0" fmla="*/ 237393 w 278147"/>
                <a:gd name="connsiteY0" fmla="*/ 111554 h 268695"/>
                <a:gd name="connsiteX1" fmla="*/ 226290 w 278147"/>
                <a:gd name="connsiteY1" fmla="*/ 74195 h 268695"/>
                <a:gd name="connsiteX2" fmla="*/ 249541 w 278147"/>
                <a:gd name="connsiteY2" fmla="*/ 40625 h 268695"/>
                <a:gd name="connsiteX3" fmla="*/ 192196 w 278147"/>
                <a:gd name="connsiteY3" fmla="*/ 0 h 268695"/>
                <a:gd name="connsiteX4" fmla="*/ 169990 w 278147"/>
                <a:gd name="connsiteY4" fmla="*/ 36967 h 268695"/>
                <a:gd name="connsiteX5" fmla="*/ 168553 w 278147"/>
                <a:gd name="connsiteY5" fmla="*/ 38665 h 268695"/>
                <a:gd name="connsiteX6" fmla="*/ 165549 w 278147"/>
                <a:gd name="connsiteY6" fmla="*/ 39187 h 268695"/>
                <a:gd name="connsiteX7" fmla="*/ 127276 w 278147"/>
                <a:gd name="connsiteY7" fmla="*/ 38404 h 268695"/>
                <a:gd name="connsiteX8" fmla="*/ 107944 w 278147"/>
                <a:gd name="connsiteY8" fmla="*/ 3396 h 268695"/>
                <a:gd name="connsiteX9" fmla="*/ 105723 w 278147"/>
                <a:gd name="connsiteY9" fmla="*/ 1306 h 268695"/>
                <a:gd name="connsiteX10" fmla="*/ 102849 w 278147"/>
                <a:gd name="connsiteY10" fmla="*/ 2221 h 268695"/>
                <a:gd name="connsiteX11" fmla="*/ 57261 w 278147"/>
                <a:gd name="connsiteY11" fmla="*/ 30175 h 268695"/>
                <a:gd name="connsiteX12" fmla="*/ 56216 w 278147"/>
                <a:gd name="connsiteY12" fmla="*/ 31089 h 268695"/>
                <a:gd name="connsiteX13" fmla="*/ 56739 w 278147"/>
                <a:gd name="connsiteY13" fmla="*/ 34485 h 268695"/>
                <a:gd name="connsiteX14" fmla="*/ 77116 w 278147"/>
                <a:gd name="connsiteY14" fmla="*/ 63353 h 268695"/>
                <a:gd name="connsiteX15" fmla="*/ 55171 w 278147"/>
                <a:gd name="connsiteY15" fmla="*/ 99798 h 268695"/>
                <a:gd name="connsiteX16" fmla="*/ 47987 w 278147"/>
                <a:gd name="connsiteY16" fmla="*/ 106460 h 268695"/>
                <a:gd name="connsiteX17" fmla="*/ 39888 w 278147"/>
                <a:gd name="connsiteY17" fmla="*/ 105806 h 268695"/>
                <a:gd name="connsiteX18" fmla="*/ 8146 w 278147"/>
                <a:gd name="connsiteY18" fmla="*/ 95356 h 268695"/>
                <a:gd name="connsiteX19" fmla="*/ 3444 w 278147"/>
                <a:gd name="connsiteY19" fmla="*/ 163934 h 268695"/>
                <a:gd name="connsiteX20" fmla="*/ 43937 w 278147"/>
                <a:gd name="connsiteY20" fmla="*/ 159885 h 268695"/>
                <a:gd name="connsiteX21" fmla="*/ 67580 w 278147"/>
                <a:gd name="connsiteY21" fmla="*/ 201815 h 268695"/>
                <a:gd name="connsiteX22" fmla="*/ 48640 w 278147"/>
                <a:gd name="connsiteY22" fmla="*/ 233688 h 268695"/>
                <a:gd name="connsiteX23" fmla="*/ 92138 w 278147"/>
                <a:gd name="connsiteY23" fmla="*/ 266083 h 268695"/>
                <a:gd name="connsiteX24" fmla="*/ 114736 w 278147"/>
                <a:gd name="connsiteY24" fmla="*/ 232382 h 268695"/>
                <a:gd name="connsiteX25" fmla="*/ 154576 w 278147"/>
                <a:gd name="connsiteY25" fmla="*/ 233165 h 268695"/>
                <a:gd name="connsiteX26" fmla="*/ 169990 w 278147"/>
                <a:gd name="connsiteY26" fmla="*/ 268695 h 268695"/>
                <a:gd name="connsiteX27" fmla="*/ 229425 w 278147"/>
                <a:gd name="connsiteY27" fmla="*/ 247665 h 268695"/>
                <a:gd name="connsiteX28" fmla="*/ 215056 w 278147"/>
                <a:gd name="connsiteY28" fmla="*/ 211220 h 268695"/>
                <a:gd name="connsiteX29" fmla="*/ 236478 w 278147"/>
                <a:gd name="connsiteY29" fmla="*/ 175821 h 268695"/>
                <a:gd name="connsiteX30" fmla="*/ 276841 w 278147"/>
                <a:gd name="connsiteY30" fmla="*/ 172556 h 268695"/>
                <a:gd name="connsiteX31" fmla="*/ 278148 w 278147"/>
                <a:gd name="connsiteY31" fmla="*/ 122396 h 268695"/>
                <a:gd name="connsiteX32" fmla="*/ 237654 w 278147"/>
                <a:gd name="connsiteY32" fmla="*/ 111554 h 268695"/>
                <a:gd name="connsiteX33" fmla="*/ 168815 w 278147"/>
                <a:gd name="connsiteY33" fmla="*/ 130494 h 268695"/>
                <a:gd name="connsiteX34" fmla="*/ 166986 w 278147"/>
                <a:gd name="connsiteY34" fmla="*/ 137287 h 268695"/>
                <a:gd name="connsiteX35" fmla="*/ 165026 w 278147"/>
                <a:gd name="connsiteY35" fmla="*/ 141336 h 268695"/>
                <a:gd name="connsiteX36" fmla="*/ 159540 w 278147"/>
                <a:gd name="connsiteY36" fmla="*/ 147867 h 268695"/>
                <a:gd name="connsiteX37" fmla="*/ 145172 w 278147"/>
                <a:gd name="connsiteY37" fmla="*/ 156880 h 268695"/>
                <a:gd name="connsiteX38" fmla="*/ 138379 w 278147"/>
                <a:gd name="connsiteY38" fmla="*/ 158579 h 268695"/>
                <a:gd name="connsiteX39" fmla="*/ 132501 w 278147"/>
                <a:gd name="connsiteY39" fmla="*/ 158840 h 268695"/>
                <a:gd name="connsiteX40" fmla="*/ 128713 w 278147"/>
                <a:gd name="connsiteY40" fmla="*/ 158318 h 268695"/>
                <a:gd name="connsiteX41" fmla="*/ 127015 w 278147"/>
                <a:gd name="connsiteY41" fmla="*/ 157926 h 268695"/>
                <a:gd name="connsiteX42" fmla="*/ 111993 w 278147"/>
                <a:gd name="connsiteY42" fmla="*/ 145385 h 268695"/>
                <a:gd name="connsiteX43" fmla="*/ 108466 w 278147"/>
                <a:gd name="connsiteY43" fmla="*/ 134152 h 268695"/>
                <a:gd name="connsiteX44" fmla="*/ 110556 w 278147"/>
                <a:gd name="connsiteY44" fmla="*/ 123702 h 268695"/>
                <a:gd name="connsiteX45" fmla="*/ 117479 w 278147"/>
                <a:gd name="connsiteY45" fmla="*/ 110247 h 268695"/>
                <a:gd name="connsiteX46" fmla="*/ 129758 w 278147"/>
                <a:gd name="connsiteY46" fmla="*/ 98099 h 268695"/>
                <a:gd name="connsiteX47" fmla="*/ 145433 w 278147"/>
                <a:gd name="connsiteY47" fmla="*/ 97055 h 268695"/>
                <a:gd name="connsiteX48" fmla="*/ 151833 w 278147"/>
                <a:gd name="connsiteY48" fmla="*/ 96532 h 268695"/>
                <a:gd name="connsiteX49" fmla="*/ 161238 w 278147"/>
                <a:gd name="connsiteY49" fmla="*/ 102932 h 268695"/>
                <a:gd name="connsiteX50" fmla="*/ 166855 w 278147"/>
                <a:gd name="connsiteY50" fmla="*/ 112860 h 268695"/>
                <a:gd name="connsiteX51" fmla="*/ 168031 w 278147"/>
                <a:gd name="connsiteY51" fmla="*/ 116387 h 268695"/>
                <a:gd name="connsiteX52" fmla="*/ 168423 w 278147"/>
                <a:gd name="connsiteY52" fmla="*/ 118477 h 268695"/>
                <a:gd name="connsiteX53" fmla="*/ 168815 w 278147"/>
                <a:gd name="connsiteY53" fmla="*/ 121873 h 268695"/>
                <a:gd name="connsiteX54" fmla="*/ 168815 w 278147"/>
                <a:gd name="connsiteY54" fmla="*/ 121089 h 268695"/>
                <a:gd name="connsiteX55" fmla="*/ 168815 w 278147"/>
                <a:gd name="connsiteY55" fmla="*/ 121089 h 268695"/>
                <a:gd name="connsiteX56" fmla="*/ 169207 w 278147"/>
                <a:gd name="connsiteY56" fmla="*/ 124486 h 268695"/>
                <a:gd name="connsiteX57" fmla="*/ 169207 w 278147"/>
                <a:gd name="connsiteY57" fmla="*/ 126184 h 268695"/>
                <a:gd name="connsiteX58" fmla="*/ 168684 w 278147"/>
                <a:gd name="connsiteY58" fmla="*/ 130494 h 26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78147" h="268695">
                  <a:moveTo>
                    <a:pt x="237393" y="111554"/>
                  </a:moveTo>
                  <a:lnTo>
                    <a:pt x="226290" y="74195"/>
                  </a:lnTo>
                  <a:lnTo>
                    <a:pt x="249541" y="40625"/>
                  </a:lnTo>
                  <a:lnTo>
                    <a:pt x="192196" y="0"/>
                  </a:lnTo>
                  <a:cubicBezTo>
                    <a:pt x="184751" y="12279"/>
                    <a:pt x="177436" y="24688"/>
                    <a:pt x="169990" y="36967"/>
                  </a:cubicBezTo>
                  <a:cubicBezTo>
                    <a:pt x="169598" y="37620"/>
                    <a:pt x="169207" y="38273"/>
                    <a:pt x="168553" y="38665"/>
                  </a:cubicBezTo>
                  <a:cubicBezTo>
                    <a:pt x="167639" y="39187"/>
                    <a:pt x="166594" y="39187"/>
                    <a:pt x="165549" y="39187"/>
                  </a:cubicBezTo>
                  <a:cubicBezTo>
                    <a:pt x="152748" y="39057"/>
                    <a:pt x="139947" y="38796"/>
                    <a:pt x="127276" y="38404"/>
                  </a:cubicBezTo>
                  <a:cubicBezTo>
                    <a:pt x="121006" y="26125"/>
                    <a:pt x="114867" y="14500"/>
                    <a:pt x="107944" y="3396"/>
                  </a:cubicBezTo>
                  <a:cubicBezTo>
                    <a:pt x="107421" y="2482"/>
                    <a:pt x="106768" y="1568"/>
                    <a:pt x="105723" y="1306"/>
                  </a:cubicBezTo>
                  <a:cubicBezTo>
                    <a:pt x="104678" y="1045"/>
                    <a:pt x="103763" y="1568"/>
                    <a:pt x="102849" y="2221"/>
                  </a:cubicBezTo>
                  <a:cubicBezTo>
                    <a:pt x="87697" y="11495"/>
                    <a:pt x="72414" y="20900"/>
                    <a:pt x="57261" y="30175"/>
                  </a:cubicBezTo>
                  <a:cubicBezTo>
                    <a:pt x="56869" y="30436"/>
                    <a:pt x="56477" y="30697"/>
                    <a:pt x="56216" y="31089"/>
                  </a:cubicBezTo>
                  <a:cubicBezTo>
                    <a:pt x="55563" y="32134"/>
                    <a:pt x="56216" y="33440"/>
                    <a:pt x="56739" y="34485"/>
                  </a:cubicBezTo>
                  <a:cubicBezTo>
                    <a:pt x="62486" y="44805"/>
                    <a:pt x="69278" y="54601"/>
                    <a:pt x="77116" y="63353"/>
                  </a:cubicBezTo>
                  <a:cubicBezTo>
                    <a:pt x="70193" y="76285"/>
                    <a:pt x="63009" y="88302"/>
                    <a:pt x="55171" y="99798"/>
                  </a:cubicBezTo>
                  <a:cubicBezTo>
                    <a:pt x="53212" y="102541"/>
                    <a:pt x="51122" y="105545"/>
                    <a:pt x="47987" y="106460"/>
                  </a:cubicBezTo>
                  <a:cubicBezTo>
                    <a:pt x="45374" y="107243"/>
                    <a:pt x="42501" y="106460"/>
                    <a:pt x="39888" y="105806"/>
                  </a:cubicBezTo>
                  <a:cubicBezTo>
                    <a:pt x="29177" y="102671"/>
                    <a:pt x="18596" y="99275"/>
                    <a:pt x="8146" y="95356"/>
                  </a:cubicBezTo>
                  <a:cubicBezTo>
                    <a:pt x="-736" y="116909"/>
                    <a:pt x="-2434" y="141467"/>
                    <a:pt x="3444" y="163934"/>
                  </a:cubicBezTo>
                  <a:cubicBezTo>
                    <a:pt x="4358" y="165633"/>
                    <a:pt x="43937" y="159885"/>
                    <a:pt x="43937" y="159885"/>
                  </a:cubicBezTo>
                  <a:lnTo>
                    <a:pt x="67580" y="201815"/>
                  </a:lnTo>
                  <a:lnTo>
                    <a:pt x="48640" y="233688"/>
                  </a:lnTo>
                  <a:lnTo>
                    <a:pt x="92138" y="266083"/>
                  </a:lnTo>
                  <a:lnTo>
                    <a:pt x="114736" y="232382"/>
                  </a:lnTo>
                  <a:lnTo>
                    <a:pt x="154576" y="233165"/>
                  </a:lnTo>
                  <a:lnTo>
                    <a:pt x="169990" y="268695"/>
                  </a:lnTo>
                  <a:lnTo>
                    <a:pt x="229425" y="247665"/>
                  </a:lnTo>
                  <a:lnTo>
                    <a:pt x="215056" y="211220"/>
                  </a:lnTo>
                  <a:lnTo>
                    <a:pt x="236478" y="175821"/>
                  </a:lnTo>
                  <a:lnTo>
                    <a:pt x="276841" y="172556"/>
                  </a:lnTo>
                  <a:lnTo>
                    <a:pt x="278148" y="122396"/>
                  </a:lnTo>
                  <a:lnTo>
                    <a:pt x="237654" y="111554"/>
                  </a:lnTo>
                  <a:close/>
                  <a:moveTo>
                    <a:pt x="168815" y="130494"/>
                  </a:moveTo>
                  <a:cubicBezTo>
                    <a:pt x="169207" y="132323"/>
                    <a:pt x="167639" y="135719"/>
                    <a:pt x="166986" y="137287"/>
                  </a:cubicBezTo>
                  <a:cubicBezTo>
                    <a:pt x="166463" y="138724"/>
                    <a:pt x="165810" y="140030"/>
                    <a:pt x="165026" y="141336"/>
                  </a:cubicBezTo>
                  <a:cubicBezTo>
                    <a:pt x="163590" y="143687"/>
                    <a:pt x="161630" y="145908"/>
                    <a:pt x="159540" y="147867"/>
                  </a:cubicBezTo>
                  <a:cubicBezTo>
                    <a:pt x="155230" y="151917"/>
                    <a:pt x="150527" y="154790"/>
                    <a:pt x="145172" y="156880"/>
                  </a:cubicBezTo>
                  <a:cubicBezTo>
                    <a:pt x="142951" y="157664"/>
                    <a:pt x="140600" y="158187"/>
                    <a:pt x="138379" y="158579"/>
                  </a:cubicBezTo>
                  <a:cubicBezTo>
                    <a:pt x="136289" y="158971"/>
                    <a:pt x="134460" y="159101"/>
                    <a:pt x="132501" y="158840"/>
                  </a:cubicBezTo>
                  <a:cubicBezTo>
                    <a:pt x="131195" y="158709"/>
                    <a:pt x="129888" y="158318"/>
                    <a:pt x="128713" y="158318"/>
                  </a:cubicBezTo>
                  <a:cubicBezTo>
                    <a:pt x="132240" y="158318"/>
                    <a:pt x="128451" y="158318"/>
                    <a:pt x="127015" y="157926"/>
                  </a:cubicBezTo>
                  <a:cubicBezTo>
                    <a:pt x="120875" y="156228"/>
                    <a:pt x="114867" y="151003"/>
                    <a:pt x="111993" y="145385"/>
                  </a:cubicBezTo>
                  <a:cubicBezTo>
                    <a:pt x="110164" y="141989"/>
                    <a:pt x="108597" y="138070"/>
                    <a:pt x="108466" y="134152"/>
                  </a:cubicBezTo>
                  <a:cubicBezTo>
                    <a:pt x="108335" y="130625"/>
                    <a:pt x="109250" y="126967"/>
                    <a:pt x="110556" y="123702"/>
                  </a:cubicBezTo>
                  <a:cubicBezTo>
                    <a:pt x="112515" y="118999"/>
                    <a:pt x="114736" y="114427"/>
                    <a:pt x="117479" y="110247"/>
                  </a:cubicBezTo>
                  <a:cubicBezTo>
                    <a:pt x="120614" y="105545"/>
                    <a:pt x="124663" y="100712"/>
                    <a:pt x="129758" y="98099"/>
                  </a:cubicBezTo>
                  <a:cubicBezTo>
                    <a:pt x="134983" y="95487"/>
                    <a:pt x="140469" y="95095"/>
                    <a:pt x="145433" y="97055"/>
                  </a:cubicBezTo>
                  <a:cubicBezTo>
                    <a:pt x="147523" y="96140"/>
                    <a:pt x="149874" y="95748"/>
                    <a:pt x="151833" y="96532"/>
                  </a:cubicBezTo>
                  <a:cubicBezTo>
                    <a:pt x="155621" y="97969"/>
                    <a:pt x="158626" y="99798"/>
                    <a:pt x="161238" y="102932"/>
                  </a:cubicBezTo>
                  <a:cubicBezTo>
                    <a:pt x="163851" y="106068"/>
                    <a:pt x="165418" y="109072"/>
                    <a:pt x="166855" y="112860"/>
                  </a:cubicBezTo>
                  <a:cubicBezTo>
                    <a:pt x="167247" y="114036"/>
                    <a:pt x="167639" y="115211"/>
                    <a:pt x="168031" y="116387"/>
                  </a:cubicBezTo>
                  <a:cubicBezTo>
                    <a:pt x="168162" y="117040"/>
                    <a:pt x="168292" y="117824"/>
                    <a:pt x="168423" y="118477"/>
                  </a:cubicBezTo>
                  <a:cubicBezTo>
                    <a:pt x="168553" y="119652"/>
                    <a:pt x="168684" y="120698"/>
                    <a:pt x="168815" y="121873"/>
                  </a:cubicBezTo>
                  <a:cubicBezTo>
                    <a:pt x="168815" y="121612"/>
                    <a:pt x="168815" y="121351"/>
                    <a:pt x="168815" y="121089"/>
                  </a:cubicBezTo>
                  <a:cubicBezTo>
                    <a:pt x="168815" y="120175"/>
                    <a:pt x="168815" y="120044"/>
                    <a:pt x="168815" y="121089"/>
                  </a:cubicBezTo>
                  <a:cubicBezTo>
                    <a:pt x="168945" y="122265"/>
                    <a:pt x="169076" y="123310"/>
                    <a:pt x="169207" y="124486"/>
                  </a:cubicBezTo>
                  <a:cubicBezTo>
                    <a:pt x="169207" y="125008"/>
                    <a:pt x="169207" y="125661"/>
                    <a:pt x="169207" y="126184"/>
                  </a:cubicBezTo>
                  <a:cubicBezTo>
                    <a:pt x="169207" y="127621"/>
                    <a:pt x="169207" y="129057"/>
                    <a:pt x="168684" y="130494"/>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83" name="Freeform: Shape 182">
              <a:extLst>
                <a:ext uri="{FF2B5EF4-FFF2-40B4-BE49-F238E27FC236}">
                  <a16:creationId xmlns:a16="http://schemas.microsoft.com/office/drawing/2014/main" id="{577977C2-2FC9-757C-F145-5C21511B8499}"/>
                </a:ext>
              </a:extLst>
            </p:cNvPr>
            <p:cNvSpPr/>
            <p:nvPr/>
          </p:nvSpPr>
          <p:spPr>
            <a:xfrm>
              <a:off x="2722477" y="5555977"/>
              <a:ext cx="54430" cy="30768"/>
            </a:xfrm>
            <a:custGeom>
              <a:avLst/>
              <a:gdLst>
                <a:gd name="connsiteX0" fmla="*/ 39019 w 54430"/>
                <a:gd name="connsiteY0" fmla="*/ 1325 h 30768"/>
                <a:gd name="connsiteX1" fmla="*/ 20079 w 54430"/>
                <a:gd name="connsiteY1" fmla="*/ 6942 h 30768"/>
                <a:gd name="connsiteX2" fmla="*/ 4142 w 54430"/>
                <a:gd name="connsiteY2" fmla="*/ 11252 h 30768"/>
                <a:gd name="connsiteX3" fmla="*/ 13417 w 54430"/>
                <a:gd name="connsiteY3" fmla="*/ 30323 h 30768"/>
                <a:gd name="connsiteX4" fmla="*/ 51559 w 54430"/>
                <a:gd name="connsiteY4" fmla="*/ 17131 h 30768"/>
                <a:gd name="connsiteX5" fmla="*/ 39019 w 54430"/>
                <a:gd name="connsiteY5" fmla="*/ 1325 h 3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30" h="30768">
                  <a:moveTo>
                    <a:pt x="39019" y="1325"/>
                  </a:moveTo>
                  <a:cubicBezTo>
                    <a:pt x="33141" y="3415"/>
                    <a:pt x="31051" y="4982"/>
                    <a:pt x="20079" y="6942"/>
                  </a:cubicBezTo>
                  <a:cubicBezTo>
                    <a:pt x="14853" y="8640"/>
                    <a:pt x="8584" y="7726"/>
                    <a:pt x="4142" y="11252"/>
                  </a:cubicBezTo>
                  <a:cubicBezTo>
                    <a:pt x="-5132" y="18045"/>
                    <a:pt x="2575" y="33589"/>
                    <a:pt x="13417" y="30323"/>
                  </a:cubicBezTo>
                  <a:cubicBezTo>
                    <a:pt x="26479" y="27580"/>
                    <a:pt x="41370" y="27058"/>
                    <a:pt x="51559" y="17131"/>
                  </a:cubicBezTo>
                  <a:cubicBezTo>
                    <a:pt x="59527" y="7987"/>
                    <a:pt x="49469" y="-4031"/>
                    <a:pt x="39019" y="132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84" name="Freeform: Shape 183">
              <a:extLst>
                <a:ext uri="{FF2B5EF4-FFF2-40B4-BE49-F238E27FC236}">
                  <a16:creationId xmlns:a16="http://schemas.microsoft.com/office/drawing/2014/main" id="{3BCA9CBB-9F50-FBF2-E393-FE3D0DE488DB}"/>
                </a:ext>
              </a:extLst>
            </p:cNvPr>
            <p:cNvSpPr/>
            <p:nvPr/>
          </p:nvSpPr>
          <p:spPr>
            <a:xfrm>
              <a:off x="2804733" y="5460228"/>
              <a:ext cx="28868" cy="37571"/>
            </a:xfrm>
            <a:custGeom>
              <a:avLst/>
              <a:gdLst>
                <a:gd name="connsiteX0" fmla="*/ 28868 w 28868"/>
                <a:gd name="connsiteY0" fmla="*/ 12298 h 37571"/>
                <a:gd name="connsiteX1" fmla="*/ 28868 w 28868"/>
                <a:gd name="connsiteY1" fmla="*/ 11907 h 37571"/>
                <a:gd name="connsiteX2" fmla="*/ 28868 w 28868"/>
                <a:gd name="connsiteY2" fmla="*/ 12168 h 37571"/>
                <a:gd name="connsiteX3" fmla="*/ 27301 w 28868"/>
                <a:gd name="connsiteY3" fmla="*/ 5767 h 37571"/>
                <a:gd name="connsiteX4" fmla="*/ 6401 w 28868"/>
                <a:gd name="connsiteY4" fmla="*/ 7465 h 37571"/>
                <a:gd name="connsiteX5" fmla="*/ 5748 w 28868"/>
                <a:gd name="connsiteY5" fmla="*/ 8902 h 37571"/>
                <a:gd name="connsiteX6" fmla="*/ 3657 w 28868"/>
                <a:gd name="connsiteY6" fmla="*/ 14258 h 37571"/>
                <a:gd name="connsiteX7" fmla="*/ 1698 w 28868"/>
                <a:gd name="connsiteY7" fmla="*/ 18569 h 37571"/>
                <a:gd name="connsiteX8" fmla="*/ 0 w 28868"/>
                <a:gd name="connsiteY8" fmla="*/ 24969 h 37571"/>
                <a:gd name="connsiteX9" fmla="*/ 24296 w 28868"/>
                <a:gd name="connsiteY9" fmla="*/ 28365 h 37571"/>
                <a:gd name="connsiteX10" fmla="*/ 28476 w 28868"/>
                <a:gd name="connsiteY10" fmla="*/ 14258 h 37571"/>
                <a:gd name="connsiteX11" fmla="*/ 28737 w 28868"/>
                <a:gd name="connsiteY11" fmla="*/ 12037 h 3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68" h="37571">
                  <a:moveTo>
                    <a:pt x="28868" y="12298"/>
                  </a:moveTo>
                  <a:cubicBezTo>
                    <a:pt x="28868" y="12298"/>
                    <a:pt x="28868" y="12037"/>
                    <a:pt x="28868" y="11907"/>
                  </a:cubicBezTo>
                  <a:cubicBezTo>
                    <a:pt x="28868" y="11907"/>
                    <a:pt x="28868" y="12168"/>
                    <a:pt x="28868" y="12168"/>
                  </a:cubicBezTo>
                  <a:cubicBezTo>
                    <a:pt x="28868" y="9947"/>
                    <a:pt x="28476" y="7726"/>
                    <a:pt x="27301" y="5767"/>
                  </a:cubicBezTo>
                  <a:cubicBezTo>
                    <a:pt x="22729" y="-2854"/>
                    <a:pt x="9536" y="-1417"/>
                    <a:pt x="6401" y="7465"/>
                  </a:cubicBezTo>
                  <a:cubicBezTo>
                    <a:pt x="6270" y="7857"/>
                    <a:pt x="6009" y="8380"/>
                    <a:pt x="5748" y="8902"/>
                  </a:cubicBezTo>
                  <a:cubicBezTo>
                    <a:pt x="4833" y="10600"/>
                    <a:pt x="4311" y="12429"/>
                    <a:pt x="3657" y="14258"/>
                  </a:cubicBezTo>
                  <a:cubicBezTo>
                    <a:pt x="3004" y="15564"/>
                    <a:pt x="2221" y="17523"/>
                    <a:pt x="1698" y="18569"/>
                  </a:cubicBezTo>
                  <a:cubicBezTo>
                    <a:pt x="523" y="20528"/>
                    <a:pt x="0" y="22748"/>
                    <a:pt x="0" y="24969"/>
                  </a:cubicBezTo>
                  <a:cubicBezTo>
                    <a:pt x="131" y="39599"/>
                    <a:pt x="20508" y="42473"/>
                    <a:pt x="24296" y="28365"/>
                  </a:cubicBezTo>
                  <a:cubicBezTo>
                    <a:pt x="26256" y="23793"/>
                    <a:pt x="27823" y="19091"/>
                    <a:pt x="28476" y="14258"/>
                  </a:cubicBezTo>
                  <a:cubicBezTo>
                    <a:pt x="28607" y="13605"/>
                    <a:pt x="28737" y="12821"/>
                    <a:pt x="28737" y="1203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85" name="Freeform: Shape 184">
              <a:extLst>
                <a:ext uri="{FF2B5EF4-FFF2-40B4-BE49-F238E27FC236}">
                  <a16:creationId xmlns:a16="http://schemas.microsoft.com/office/drawing/2014/main" id="{B60101C5-D672-E55B-C7CD-4F150B14BD63}"/>
                </a:ext>
              </a:extLst>
            </p:cNvPr>
            <p:cNvSpPr/>
            <p:nvPr/>
          </p:nvSpPr>
          <p:spPr>
            <a:xfrm>
              <a:off x="2545840" y="5312102"/>
              <a:ext cx="294172" cy="282950"/>
            </a:xfrm>
            <a:custGeom>
              <a:avLst/>
              <a:gdLst>
                <a:gd name="connsiteX0" fmla="*/ 175815 w 294172"/>
                <a:gd name="connsiteY0" fmla="*/ 282820 h 282950"/>
                <a:gd name="connsiteX1" fmla="*/ 169807 w 294172"/>
                <a:gd name="connsiteY1" fmla="*/ 278770 h 282950"/>
                <a:gd name="connsiteX2" fmla="*/ 155438 w 294172"/>
                <a:gd name="connsiteY2" fmla="*/ 247682 h 282950"/>
                <a:gd name="connsiteX3" fmla="*/ 120692 w 294172"/>
                <a:gd name="connsiteY3" fmla="*/ 247290 h 282950"/>
                <a:gd name="connsiteX4" fmla="*/ 110895 w 294172"/>
                <a:gd name="connsiteY4" fmla="*/ 265839 h 282950"/>
                <a:gd name="connsiteX5" fmla="*/ 104494 w 294172"/>
                <a:gd name="connsiteY5" fmla="*/ 277856 h 282950"/>
                <a:gd name="connsiteX6" fmla="*/ 96396 w 294172"/>
                <a:gd name="connsiteY6" fmla="*/ 280860 h 282950"/>
                <a:gd name="connsiteX7" fmla="*/ 47019 w 294172"/>
                <a:gd name="connsiteY7" fmla="*/ 244547 h 282950"/>
                <a:gd name="connsiteX8" fmla="*/ 46758 w 294172"/>
                <a:gd name="connsiteY8" fmla="*/ 236840 h 282950"/>
                <a:gd name="connsiteX9" fmla="*/ 66352 w 294172"/>
                <a:gd name="connsiteY9" fmla="*/ 207972 h 282950"/>
                <a:gd name="connsiteX10" fmla="*/ 47019 w 294172"/>
                <a:gd name="connsiteY10" fmla="*/ 173618 h 282950"/>
                <a:gd name="connsiteX11" fmla="*/ 40227 w 294172"/>
                <a:gd name="connsiteY11" fmla="*/ 175054 h 282950"/>
                <a:gd name="connsiteX12" fmla="*/ 10706 w 294172"/>
                <a:gd name="connsiteY12" fmla="*/ 180541 h 282950"/>
                <a:gd name="connsiteX13" fmla="*/ 3521 w 294172"/>
                <a:gd name="connsiteY13" fmla="*/ 175838 h 282950"/>
                <a:gd name="connsiteX14" fmla="*/ 8485 w 294172"/>
                <a:gd name="connsiteY14" fmla="*/ 100859 h 282950"/>
                <a:gd name="connsiteX15" fmla="*/ 16192 w 294172"/>
                <a:gd name="connsiteY15" fmla="*/ 96679 h 282950"/>
                <a:gd name="connsiteX16" fmla="*/ 55118 w 294172"/>
                <a:gd name="connsiteY16" fmla="*/ 106476 h 282950"/>
                <a:gd name="connsiteX17" fmla="*/ 73798 w 294172"/>
                <a:gd name="connsiteY17" fmla="*/ 73820 h 282950"/>
                <a:gd name="connsiteX18" fmla="*/ 54465 w 294172"/>
                <a:gd name="connsiteY18" fmla="*/ 44168 h 282950"/>
                <a:gd name="connsiteX19" fmla="*/ 55771 w 294172"/>
                <a:gd name="connsiteY19" fmla="*/ 36331 h 282950"/>
                <a:gd name="connsiteX20" fmla="*/ 109981 w 294172"/>
                <a:gd name="connsiteY20" fmla="*/ 2107 h 282950"/>
                <a:gd name="connsiteX21" fmla="*/ 118210 w 294172"/>
                <a:gd name="connsiteY21" fmla="*/ 4850 h 282950"/>
                <a:gd name="connsiteX22" fmla="*/ 135191 w 294172"/>
                <a:gd name="connsiteY22" fmla="*/ 39727 h 282950"/>
                <a:gd name="connsiteX23" fmla="*/ 173203 w 294172"/>
                <a:gd name="connsiteY23" fmla="*/ 38421 h 282950"/>
                <a:gd name="connsiteX24" fmla="*/ 193058 w 294172"/>
                <a:gd name="connsiteY24" fmla="*/ 3022 h 282950"/>
                <a:gd name="connsiteX25" fmla="*/ 201549 w 294172"/>
                <a:gd name="connsiteY25" fmla="*/ 670 h 282950"/>
                <a:gd name="connsiteX26" fmla="*/ 245700 w 294172"/>
                <a:gd name="connsiteY26" fmla="*/ 30322 h 282950"/>
                <a:gd name="connsiteX27" fmla="*/ 256411 w 294172"/>
                <a:gd name="connsiteY27" fmla="*/ 39727 h 282950"/>
                <a:gd name="connsiteX28" fmla="*/ 261636 w 294172"/>
                <a:gd name="connsiteY28" fmla="*/ 47172 h 282950"/>
                <a:gd name="connsiteX29" fmla="*/ 260722 w 294172"/>
                <a:gd name="connsiteY29" fmla="*/ 52398 h 282950"/>
                <a:gd name="connsiteX30" fmla="*/ 251186 w 294172"/>
                <a:gd name="connsiteY30" fmla="*/ 66244 h 282950"/>
                <a:gd name="connsiteX31" fmla="*/ 238254 w 294172"/>
                <a:gd name="connsiteY31" fmla="*/ 85184 h 282950"/>
                <a:gd name="connsiteX32" fmla="*/ 249226 w 294172"/>
                <a:gd name="connsiteY32" fmla="*/ 113530 h 282950"/>
                <a:gd name="connsiteX33" fmla="*/ 289982 w 294172"/>
                <a:gd name="connsiteY33" fmla="*/ 123327 h 282950"/>
                <a:gd name="connsiteX34" fmla="*/ 293900 w 294172"/>
                <a:gd name="connsiteY34" fmla="*/ 128944 h 282950"/>
                <a:gd name="connsiteX35" fmla="*/ 285671 w 294172"/>
                <a:gd name="connsiteY35" fmla="*/ 186549 h 282950"/>
                <a:gd name="connsiteX36" fmla="*/ 279401 w 294172"/>
                <a:gd name="connsiteY36" fmla="*/ 190729 h 282950"/>
                <a:gd name="connsiteX37" fmla="*/ 274960 w 294172"/>
                <a:gd name="connsiteY37" fmla="*/ 190729 h 282950"/>
                <a:gd name="connsiteX38" fmla="*/ 244916 w 294172"/>
                <a:gd name="connsiteY38" fmla="*/ 190468 h 282950"/>
                <a:gd name="connsiteX39" fmla="*/ 226106 w 294172"/>
                <a:gd name="connsiteY39" fmla="*/ 220904 h 282950"/>
                <a:gd name="connsiteX40" fmla="*/ 242826 w 294172"/>
                <a:gd name="connsiteY40" fmla="*/ 254344 h 282950"/>
                <a:gd name="connsiteX41" fmla="*/ 239952 w 294172"/>
                <a:gd name="connsiteY41" fmla="*/ 262442 h 282950"/>
                <a:gd name="connsiteX42" fmla="*/ 176599 w 294172"/>
                <a:gd name="connsiteY42" fmla="*/ 282950 h 282950"/>
                <a:gd name="connsiteX43" fmla="*/ 175946 w 294172"/>
                <a:gd name="connsiteY43" fmla="*/ 282950 h 282950"/>
                <a:gd name="connsiteX44" fmla="*/ 158704 w 294172"/>
                <a:gd name="connsiteY44" fmla="*/ 234227 h 282950"/>
                <a:gd name="connsiteX45" fmla="*/ 164190 w 294172"/>
                <a:gd name="connsiteY45" fmla="*/ 237232 h 282950"/>
                <a:gd name="connsiteX46" fmla="*/ 179995 w 294172"/>
                <a:gd name="connsiteY46" fmla="*/ 269365 h 282950"/>
                <a:gd name="connsiteX47" fmla="*/ 228457 w 294172"/>
                <a:gd name="connsiteY47" fmla="*/ 253691 h 282950"/>
                <a:gd name="connsiteX48" fmla="*/ 212521 w 294172"/>
                <a:gd name="connsiteY48" fmla="*/ 223255 h 282950"/>
                <a:gd name="connsiteX49" fmla="*/ 213174 w 294172"/>
                <a:gd name="connsiteY49" fmla="*/ 215940 h 282950"/>
                <a:gd name="connsiteX50" fmla="*/ 234205 w 294172"/>
                <a:gd name="connsiteY50" fmla="*/ 181847 h 282950"/>
                <a:gd name="connsiteX51" fmla="*/ 239691 w 294172"/>
                <a:gd name="connsiteY51" fmla="*/ 177667 h 282950"/>
                <a:gd name="connsiteX52" fmla="*/ 275090 w 294172"/>
                <a:gd name="connsiteY52" fmla="*/ 177405 h 282950"/>
                <a:gd name="connsiteX53" fmla="*/ 281230 w 294172"/>
                <a:gd name="connsiteY53" fmla="*/ 133646 h 282950"/>
                <a:gd name="connsiteX54" fmla="*/ 244002 w 294172"/>
                <a:gd name="connsiteY54" fmla="*/ 125940 h 282950"/>
                <a:gd name="connsiteX55" fmla="*/ 238515 w 294172"/>
                <a:gd name="connsiteY55" fmla="*/ 121629 h 282950"/>
                <a:gd name="connsiteX56" fmla="*/ 225061 w 294172"/>
                <a:gd name="connsiteY56" fmla="*/ 86752 h 282950"/>
                <a:gd name="connsiteX57" fmla="*/ 225583 w 294172"/>
                <a:gd name="connsiteY57" fmla="*/ 80874 h 282950"/>
                <a:gd name="connsiteX58" fmla="*/ 240475 w 294172"/>
                <a:gd name="connsiteY58" fmla="*/ 58798 h 282950"/>
                <a:gd name="connsiteX59" fmla="*/ 247267 w 294172"/>
                <a:gd name="connsiteY59" fmla="*/ 49001 h 282950"/>
                <a:gd name="connsiteX60" fmla="*/ 237078 w 294172"/>
                <a:gd name="connsiteY60" fmla="*/ 40119 h 282950"/>
                <a:gd name="connsiteX61" fmla="*/ 200634 w 294172"/>
                <a:gd name="connsiteY61" fmla="*/ 14908 h 282950"/>
                <a:gd name="connsiteX62" fmla="*/ 182608 w 294172"/>
                <a:gd name="connsiteY62" fmla="*/ 47957 h 282950"/>
                <a:gd name="connsiteX63" fmla="*/ 176207 w 294172"/>
                <a:gd name="connsiteY63" fmla="*/ 51483 h 282950"/>
                <a:gd name="connsiteX64" fmla="*/ 132187 w 294172"/>
                <a:gd name="connsiteY64" fmla="*/ 53181 h 282950"/>
                <a:gd name="connsiteX65" fmla="*/ 125002 w 294172"/>
                <a:gd name="connsiteY65" fmla="*/ 49262 h 282950"/>
                <a:gd name="connsiteX66" fmla="*/ 109589 w 294172"/>
                <a:gd name="connsiteY66" fmla="*/ 16345 h 282950"/>
                <a:gd name="connsiteX67" fmla="*/ 68181 w 294172"/>
                <a:gd name="connsiteY67" fmla="*/ 42470 h 282950"/>
                <a:gd name="connsiteX68" fmla="*/ 86729 w 294172"/>
                <a:gd name="connsiteY68" fmla="*/ 69640 h 282950"/>
                <a:gd name="connsiteX69" fmla="*/ 86991 w 294172"/>
                <a:gd name="connsiteY69" fmla="*/ 76955 h 282950"/>
                <a:gd name="connsiteX70" fmla="*/ 64654 w 294172"/>
                <a:gd name="connsiteY70" fmla="*/ 116665 h 282950"/>
                <a:gd name="connsiteX71" fmla="*/ 57208 w 294172"/>
                <a:gd name="connsiteY71" fmla="*/ 120322 h 282950"/>
                <a:gd name="connsiteX72" fmla="*/ 18935 w 294172"/>
                <a:gd name="connsiteY72" fmla="*/ 110787 h 282950"/>
                <a:gd name="connsiteX73" fmla="*/ 14755 w 294172"/>
                <a:gd name="connsiteY73" fmla="*/ 166956 h 282950"/>
                <a:gd name="connsiteX74" fmla="*/ 37614 w 294172"/>
                <a:gd name="connsiteY74" fmla="*/ 162514 h 282950"/>
                <a:gd name="connsiteX75" fmla="*/ 49763 w 294172"/>
                <a:gd name="connsiteY75" fmla="*/ 160032 h 282950"/>
                <a:gd name="connsiteX76" fmla="*/ 56947 w 294172"/>
                <a:gd name="connsiteY76" fmla="*/ 163951 h 282950"/>
                <a:gd name="connsiteX77" fmla="*/ 79284 w 294172"/>
                <a:gd name="connsiteY77" fmla="*/ 203661 h 282950"/>
                <a:gd name="connsiteX78" fmla="*/ 79676 w 294172"/>
                <a:gd name="connsiteY78" fmla="*/ 211107 h 282950"/>
                <a:gd name="connsiteX79" fmla="*/ 60082 w 294172"/>
                <a:gd name="connsiteY79" fmla="*/ 240367 h 282950"/>
                <a:gd name="connsiteX80" fmla="*/ 95612 w 294172"/>
                <a:gd name="connsiteY80" fmla="*/ 266753 h 282950"/>
                <a:gd name="connsiteX81" fmla="*/ 99139 w 294172"/>
                <a:gd name="connsiteY81" fmla="*/ 259960 h 282950"/>
                <a:gd name="connsiteX82" fmla="*/ 111156 w 294172"/>
                <a:gd name="connsiteY82" fmla="*/ 237493 h 282950"/>
                <a:gd name="connsiteX83" fmla="*/ 117426 w 294172"/>
                <a:gd name="connsiteY83" fmla="*/ 234227 h 282950"/>
                <a:gd name="connsiteX84" fmla="*/ 157397 w 294172"/>
                <a:gd name="connsiteY84" fmla="*/ 234619 h 282950"/>
                <a:gd name="connsiteX85" fmla="*/ 158312 w 294172"/>
                <a:gd name="connsiteY85" fmla="*/ 234619 h 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94172" h="282950">
                  <a:moveTo>
                    <a:pt x="175815" y="282820"/>
                  </a:moveTo>
                  <a:cubicBezTo>
                    <a:pt x="173203" y="282820"/>
                    <a:pt x="170852" y="281252"/>
                    <a:pt x="169807" y="278770"/>
                  </a:cubicBezTo>
                  <a:cubicBezTo>
                    <a:pt x="165627" y="268059"/>
                    <a:pt x="161577" y="257870"/>
                    <a:pt x="155438" y="247682"/>
                  </a:cubicBezTo>
                  <a:cubicBezTo>
                    <a:pt x="143682" y="248988"/>
                    <a:pt x="131925" y="248335"/>
                    <a:pt x="120692" y="247290"/>
                  </a:cubicBezTo>
                  <a:cubicBezTo>
                    <a:pt x="117426" y="253299"/>
                    <a:pt x="114161" y="259438"/>
                    <a:pt x="110895" y="265839"/>
                  </a:cubicBezTo>
                  <a:cubicBezTo>
                    <a:pt x="108805" y="269757"/>
                    <a:pt x="106715" y="273807"/>
                    <a:pt x="104494" y="277856"/>
                  </a:cubicBezTo>
                  <a:cubicBezTo>
                    <a:pt x="102927" y="280730"/>
                    <a:pt x="99531" y="282036"/>
                    <a:pt x="96396" y="280860"/>
                  </a:cubicBezTo>
                  <a:cubicBezTo>
                    <a:pt x="76802" y="273154"/>
                    <a:pt x="59690" y="260614"/>
                    <a:pt x="47019" y="244547"/>
                  </a:cubicBezTo>
                  <a:cubicBezTo>
                    <a:pt x="45191" y="242326"/>
                    <a:pt x="45191" y="239191"/>
                    <a:pt x="46758" y="236840"/>
                  </a:cubicBezTo>
                  <a:cubicBezTo>
                    <a:pt x="53028" y="227957"/>
                    <a:pt x="59559" y="218814"/>
                    <a:pt x="66352" y="207972"/>
                  </a:cubicBezTo>
                  <a:cubicBezTo>
                    <a:pt x="59298" y="198436"/>
                    <a:pt x="52897" y="187072"/>
                    <a:pt x="47019" y="173618"/>
                  </a:cubicBezTo>
                  <a:cubicBezTo>
                    <a:pt x="44799" y="174140"/>
                    <a:pt x="42448" y="174532"/>
                    <a:pt x="40227" y="175054"/>
                  </a:cubicBezTo>
                  <a:cubicBezTo>
                    <a:pt x="30822" y="177013"/>
                    <a:pt x="21156" y="179104"/>
                    <a:pt x="10706" y="180541"/>
                  </a:cubicBezTo>
                  <a:cubicBezTo>
                    <a:pt x="7440" y="180932"/>
                    <a:pt x="4436" y="178973"/>
                    <a:pt x="3521" y="175838"/>
                  </a:cubicBezTo>
                  <a:cubicBezTo>
                    <a:pt x="-2487" y="153501"/>
                    <a:pt x="-789" y="128291"/>
                    <a:pt x="8485" y="100859"/>
                  </a:cubicBezTo>
                  <a:cubicBezTo>
                    <a:pt x="9530" y="97725"/>
                    <a:pt x="12926" y="95896"/>
                    <a:pt x="16192" y="96679"/>
                  </a:cubicBezTo>
                  <a:cubicBezTo>
                    <a:pt x="28993" y="99945"/>
                    <a:pt x="41664" y="103211"/>
                    <a:pt x="55118" y="106476"/>
                  </a:cubicBezTo>
                  <a:cubicBezTo>
                    <a:pt x="60474" y="95243"/>
                    <a:pt x="67136" y="84401"/>
                    <a:pt x="73798" y="73820"/>
                  </a:cubicBezTo>
                  <a:cubicBezTo>
                    <a:pt x="67528" y="65329"/>
                    <a:pt x="60604" y="55533"/>
                    <a:pt x="54465" y="44168"/>
                  </a:cubicBezTo>
                  <a:cubicBezTo>
                    <a:pt x="53028" y="41556"/>
                    <a:pt x="53551" y="38290"/>
                    <a:pt x="55771" y="36331"/>
                  </a:cubicBezTo>
                  <a:cubicBezTo>
                    <a:pt x="70271" y="23138"/>
                    <a:pt x="88427" y="11643"/>
                    <a:pt x="109981" y="2107"/>
                  </a:cubicBezTo>
                  <a:cubicBezTo>
                    <a:pt x="112985" y="801"/>
                    <a:pt x="116642" y="1976"/>
                    <a:pt x="118210" y="4850"/>
                  </a:cubicBezTo>
                  <a:cubicBezTo>
                    <a:pt x="124480" y="16084"/>
                    <a:pt x="130227" y="27840"/>
                    <a:pt x="135191" y="39727"/>
                  </a:cubicBezTo>
                  <a:cubicBezTo>
                    <a:pt x="147731" y="37898"/>
                    <a:pt x="160532" y="37376"/>
                    <a:pt x="173203" y="38421"/>
                  </a:cubicBezTo>
                  <a:cubicBezTo>
                    <a:pt x="179081" y="27057"/>
                    <a:pt x="185351" y="15300"/>
                    <a:pt x="193058" y="3022"/>
                  </a:cubicBezTo>
                  <a:cubicBezTo>
                    <a:pt x="194887" y="148"/>
                    <a:pt x="198544" y="-767"/>
                    <a:pt x="201549" y="670"/>
                  </a:cubicBezTo>
                  <a:cubicBezTo>
                    <a:pt x="217223" y="8899"/>
                    <a:pt x="232115" y="18827"/>
                    <a:pt x="245700" y="30322"/>
                  </a:cubicBezTo>
                  <a:cubicBezTo>
                    <a:pt x="249357" y="33457"/>
                    <a:pt x="252884" y="36592"/>
                    <a:pt x="256411" y="39727"/>
                  </a:cubicBezTo>
                  <a:cubicBezTo>
                    <a:pt x="258240" y="41425"/>
                    <a:pt x="260852" y="43646"/>
                    <a:pt x="261636" y="47172"/>
                  </a:cubicBezTo>
                  <a:cubicBezTo>
                    <a:pt x="262028" y="49001"/>
                    <a:pt x="261636" y="50830"/>
                    <a:pt x="260722" y="52398"/>
                  </a:cubicBezTo>
                  <a:cubicBezTo>
                    <a:pt x="257587" y="56969"/>
                    <a:pt x="254452" y="61541"/>
                    <a:pt x="251186" y="66244"/>
                  </a:cubicBezTo>
                  <a:cubicBezTo>
                    <a:pt x="247006" y="72253"/>
                    <a:pt x="242695" y="78523"/>
                    <a:pt x="238254" y="85184"/>
                  </a:cubicBezTo>
                  <a:cubicBezTo>
                    <a:pt x="241912" y="94459"/>
                    <a:pt x="245700" y="103994"/>
                    <a:pt x="249226" y="113530"/>
                  </a:cubicBezTo>
                  <a:cubicBezTo>
                    <a:pt x="260591" y="114706"/>
                    <a:pt x="274698" y="117057"/>
                    <a:pt x="289982" y="123327"/>
                  </a:cubicBezTo>
                  <a:cubicBezTo>
                    <a:pt x="292333" y="124241"/>
                    <a:pt x="293770" y="126462"/>
                    <a:pt x="293900" y="128944"/>
                  </a:cubicBezTo>
                  <a:cubicBezTo>
                    <a:pt x="295076" y="149583"/>
                    <a:pt x="292463" y="168393"/>
                    <a:pt x="285671" y="186549"/>
                  </a:cubicBezTo>
                  <a:cubicBezTo>
                    <a:pt x="284756" y="189162"/>
                    <a:pt x="282144" y="190860"/>
                    <a:pt x="279401" y="190729"/>
                  </a:cubicBezTo>
                  <a:lnTo>
                    <a:pt x="274960" y="190729"/>
                  </a:lnTo>
                  <a:cubicBezTo>
                    <a:pt x="265293" y="190207"/>
                    <a:pt x="255366" y="189815"/>
                    <a:pt x="244916" y="190468"/>
                  </a:cubicBezTo>
                  <a:cubicBezTo>
                    <a:pt x="240736" y="200265"/>
                    <a:pt x="234597" y="210062"/>
                    <a:pt x="226106" y="220904"/>
                  </a:cubicBezTo>
                  <a:cubicBezTo>
                    <a:pt x="231854" y="231092"/>
                    <a:pt x="237732" y="241804"/>
                    <a:pt x="242826" y="254344"/>
                  </a:cubicBezTo>
                  <a:cubicBezTo>
                    <a:pt x="244132" y="257348"/>
                    <a:pt x="242826" y="260875"/>
                    <a:pt x="239952" y="262442"/>
                  </a:cubicBezTo>
                  <a:cubicBezTo>
                    <a:pt x="219183" y="273807"/>
                    <a:pt x="197891" y="280599"/>
                    <a:pt x="176599" y="282950"/>
                  </a:cubicBezTo>
                  <a:cubicBezTo>
                    <a:pt x="176338" y="282950"/>
                    <a:pt x="176077" y="282950"/>
                    <a:pt x="175946" y="282950"/>
                  </a:cubicBezTo>
                  <a:close/>
                  <a:moveTo>
                    <a:pt x="158704" y="234227"/>
                  </a:moveTo>
                  <a:cubicBezTo>
                    <a:pt x="160924" y="234227"/>
                    <a:pt x="162884" y="235272"/>
                    <a:pt x="164190" y="237232"/>
                  </a:cubicBezTo>
                  <a:cubicBezTo>
                    <a:pt x="171113" y="248073"/>
                    <a:pt x="175815" y="258915"/>
                    <a:pt x="179995" y="269365"/>
                  </a:cubicBezTo>
                  <a:cubicBezTo>
                    <a:pt x="196193" y="267014"/>
                    <a:pt x="212521" y="261789"/>
                    <a:pt x="228457" y="253691"/>
                  </a:cubicBezTo>
                  <a:cubicBezTo>
                    <a:pt x="223494" y="242587"/>
                    <a:pt x="218007" y="232791"/>
                    <a:pt x="212521" y="223255"/>
                  </a:cubicBezTo>
                  <a:cubicBezTo>
                    <a:pt x="211215" y="220904"/>
                    <a:pt x="211476" y="218030"/>
                    <a:pt x="213174" y="215940"/>
                  </a:cubicBezTo>
                  <a:cubicBezTo>
                    <a:pt x="223494" y="203400"/>
                    <a:pt x="230155" y="192558"/>
                    <a:pt x="234205" y="181847"/>
                  </a:cubicBezTo>
                  <a:cubicBezTo>
                    <a:pt x="235119" y="179495"/>
                    <a:pt x="237209" y="177928"/>
                    <a:pt x="239691" y="177667"/>
                  </a:cubicBezTo>
                  <a:cubicBezTo>
                    <a:pt x="252362" y="176491"/>
                    <a:pt x="263987" y="176883"/>
                    <a:pt x="275090" y="177405"/>
                  </a:cubicBezTo>
                  <a:cubicBezTo>
                    <a:pt x="279662" y="163559"/>
                    <a:pt x="281752" y="149191"/>
                    <a:pt x="281230" y="133646"/>
                  </a:cubicBezTo>
                  <a:cubicBezTo>
                    <a:pt x="267122" y="128421"/>
                    <a:pt x="254060" y="126723"/>
                    <a:pt x="244002" y="125940"/>
                  </a:cubicBezTo>
                  <a:cubicBezTo>
                    <a:pt x="241520" y="125678"/>
                    <a:pt x="239299" y="124111"/>
                    <a:pt x="238515" y="121629"/>
                  </a:cubicBezTo>
                  <a:cubicBezTo>
                    <a:pt x="234335" y="109873"/>
                    <a:pt x="229633" y="98116"/>
                    <a:pt x="225061" y="86752"/>
                  </a:cubicBezTo>
                  <a:cubicBezTo>
                    <a:pt x="224277" y="84792"/>
                    <a:pt x="224538" y="82572"/>
                    <a:pt x="225583" y="80874"/>
                  </a:cubicBezTo>
                  <a:cubicBezTo>
                    <a:pt x="230809" y="72775"/>
                    <a:pt x="235772" y="65721"/>
                    <a:pt x="240475" y="58798"/>
                  </a:cubicBezTo>
                  <a:cubicBezTo>
                    <a:pt x="242826" y="55533"/>
                    <a:pt x="245047" y="52267"/>
                    <a:pt x="247267" y="49001"/>
                  </a:cubicBezTo>
                  <a:cubicBezTo>
                    <a:pt x="243871" y="45997"/>
                    <a:pt x="240605" y="42993"/>
                    <a:pt x="237078" y="40119"/>
                  </a:cubicBezTo>
                  <a:cubicBezTo>
                    <a:pt x="225714" y="30583"/>
                    <a:pt x="213566" y="22093"/>
                    <a:pt x="200634" y="14908"/>
                  </a:cubicBezTo>
                  <a:cubicBezTo>
                    <a:pt x="193842" y="26273"/>
                    <a:pt x="188094" y="37245"/>
                    <a:pt x="182608" y="47957"/>
                  </a:cubicBezTo>
                  <a:cubicBezTo>
                    <a:pt x="181432" y="50308"/>
                    <a:pt x="178820" y="51744"/>
                    <a:pt x="176207" y="51483"/>
                  </a:cubicBezTo>
                  <a:cubicBezTo>
                    <a:pt x="161577" y="50046"/>
                    <a:pt x="146817" y="50569"/>
                    <a:pt x="132187" y="53181"/>
                  </a:cubicBezTo>
                  <a:cubicBezTo>
                    <a:pt x="129182" y="53704"/>
                    <a:pt x="126178" y="52136"/>
                    <a:pt x="125002" y="49262"/>
                  </a:cubicBezTo>
                  <a:cubicBezTo>
                    <a:pt x="120431" y="38029"/>
                    <a:pt x="115336" y="26926"/>
                    <a:pt x="109589" y="16345"/>
                  </a:cubicBezTo>
                  <a:cubicBezTo>
                    <a:pt x="93522" y="23921"/>
                    <a:pt x="79676" y="32673"/>
                    <a:pt x="68181" y="42470"/>
                  </a:cubicBezTo>
                  <a:cubicBezTo>
                    <a:pt x="74189" y="52790"/>
                    <a:pt x="80851" y="61933"/>
                    <a:pt x="86729" y="69640"/>
                  </a:cubicBezTo>
                  <a:cubicBezTo>
                    <a:pt x="88297" y="71730"/>
                    <a:pt x="88427" y="74734"/>
                    <a:pt x="86991" y="76955"/>
                  </a:cubicBezTo>
                  <a:cubicBezTo>
                    <a:pt x="78631" y="90410"/>
                    <a:pt x="70662" y="103080"/>
                    <a:pt x="64654" y="116665"/>
                  </a:cubicBezTo>
                  <a:cubicBezTo>
                    <a:pt x="63347" y="119539"/>
                    <a:pt x="60213" y="121106"/>
                    <a:pt x="57208" y="120322"/>
                  </a:cubicBezTo>
                  <a:cubicBezTo>
                    <a:pt x="44015" y="117057"/>
                    <a:pt x="31344" y="113922"/>
                    <a:pt x="18935" y="110787"/>
                  </a:cubicBezTo>
                  <a:cubicBezTo>
                    <a:pt x="12796" y="131164"/>
                    <a:pt x="11359" y="150105"/>
                    <a:pt x="14755" y="166956"/>
                  </a:cubicBezTo>
                  <a:cubicBezTo>
                    <a:pt x="22723" y="165649"/>
                    <a:pt x="30299" y="164082"/>
                    <a:pt x="37614" y="162514"/>
                  </a:cubicBezTo>
                  <a:cubicBezTo>
                    <a:pt x="41664" y="161600"/>
                    <a:pt x="45713" y="160816"/>
                    <a:pt x="49763" y="160032"/>
                  </a:cubicBezTo>
                  <a:cubicBezTo>
                    <a:pt x="52767" y="159379"/>
                    <a:pt x="55771" y="161077"/>
                    <a:pt x="56947" y="163951"/>
                  </a:cubicBezTo>
                  <a:cubicBezTo>
                    <a:pt x="63609" y="180279"/>
                    <a:pt x="70924" y="193211"/>
                    <a:pt x="79284" y="203661"/>
                  </a:cubicBezTo>
                  <a:cubicBezTo>
                    <a:pt x="80982" y="205751"/>
                    <a:pt x="81112" y="208756"/>
                    <a:pt x="79676" y="211107"/>
                  </a:cubicBezTo>
                  <a:cubicBezTo>
                    <a:pt x="72752" y="222340"/>
                    <a:pt x="66352" y="231615"/>
                    <a:pt x="60082" y="240367"/>
                  </a:cubicBezTo>
                  <a:cubicBezTo>
                    <a:pt x="69748" y="251470"/>
                    <a:pt x="81896" y="260483"/>
                    <a:pt x="95612" y="266753"/>
                  </a:cubicBezTo>
                  <a:cubicBezTo>
                    <a:pt x="96787" y="264402"/>
                    <a:pt x="97963" y="262181"/>
                    <a:pt x="99139" y="259960"/>
                  </a:cubicBezTo>
                  <a:cubicBezTo>
                    <a:pt x="103188" y="252123"/>
                    <a:pt x="107107" y="244808"/>
                    <a:pt x="111156" y="237493"/>
                  </a:cubicBezTo>
                  <a:cubicBezTo>
                    <a:pt x="112463" y="235272"/>
                    <a:pt x="114944" y="233966"/>
                    <a:pt x="117426" y="234227"/>
                  </a:cubicBezTo>
                  <a:cubicBezTo>
                    <a:pt x="130358" y="235534"/>
                    <a:pt x="144204" y="236578"/>
                    <a:pt x="157397" y="234619"/>
                  </a:cubicBezTo>
                  <a:cubicBezTo>
                    <a:pt x="157659" y="234619"/>
                    <a:pt x="158050" y="234619"/>
                    <a:pt x="158312" y="23461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86" name="Freeform: Shape 185">
              <a:extLst>
                <a:ext uri="{FF2B5EF4-FFF2-40B4-BE49-F238E27FC236}">
                  <a16:creationId xmlns:a16="http://schemas.microsoft.com/office/drawing/2014/main" id="{7C19F1F4-9AE2-5659-4887-563B56881A7C}"/>
                </a:ext>
              </a:extLst>
            </p:cNvPr>
            <p:cNvSpPr/>
            <p:nvPr/>
          </p:nvSpPr>
          <p:spPr>
            <a:xfrm>
              <a:off x="2654715" y="5407835"/>
              <a:ext cx="70395" cy="74096"/>
            </a:xfrm>
            <a:custGeom>
              <a:avLst/>
              <a:gdLst>
                <a:gd name="connsiteX0" fmla="*/ 31541 w 70395"/>
                <a:gd name="connsiteY0" fmla="*/ 74097 h 74096"/>
                <a:gd name="connsiteX1" fmla="*/ 14821 w 70395"/>
                <a:gd name="connsiteY1" fmla="*/ 70570 h 74096"/>
                <a:gd name="connsiteX2" fmla="*/ 4371 w 70395"/>
                <a:gd name="connsiteY2" fmla="*/ 62602 h 74096"/>
                <a:gd name="connsiteX3" fmla="*/ 191 w 70395"/>
                <a:gd name="connsiteY3" fmla="*/ 48886 h 74096"/>
                <a:gd name="connsiteX4" fmla="*/ 9596 w 70395"/>
                <a:gd name="connsiteY4" fmla="*/ 13487 h 74096"/>
                <a:gd name="connsiteX5" fmla="*/ 45126 w 70395"/>
                <a:gd name="connsiteY5" fmla="*/ 1469 h 74096"/>
                <a:gd name="connsiteX6" fmla="*/ 47477 w 70395"/>
                <a:gd name="connsiteY6" fmla="*/ 2906 h 74096"/>
                <a:gd name="connsiteX7" fmla="*/ 70336 w 70395"/>
                <a:gd name="connsiteY7" fmla="*/ 33995 h 74096"/>
                <a:gd name="connsiteX8" fmla="*/ 52571 w 70395"/>
                <a:gd name="connsiteY8" fmla="*/ 68219 h 74096"/>
                <a:gd name="connsiteX9" fmla="*/ 31541 w 70395"/>
                <a:gd name="connsiteY9" fmla="*/ 74097 h 74096"/>
                <a:gd name="connsiteX10" fmla="*/ 36243 w 70395"/>
                <a:gd name="connsiteY10" fmla="*/ 12965 h 74096"/>
                <a:gd name="connsiteX11" fmla="*/ 19784 w 70395"/>
                <a:gd name="connsiteY11" fmla="*/ 21455 h 74096"/>
                <a:gd name="connsiteX12" fmla="*/ 13123 w 70395"/>
                <a:gd name="connsiteY12" fmla="*/ 47972 h 74096"/>
                <a:gd name="connsiteX13" fmla="*/ 14951 w 70395"/>
                <a:gd name="connsiteY13" fmla="*/ 55287 h 74096"/>
                <a:gd name="connsiteX14" fmla="*/ 20046 w 70395"/>
                <a:gd name="connsiteY14" fmla="*/ 58944 h 74096"/>
                <a:gd name="connsiteX15" fmla="*/ 45648 w 70395"/>
                <a:gd name="connsiteY15" fmla="*/ 57377 h 74096"/>
                <a:gd name="connsiteX16" fmla="*/ 57404 w 70395"/>
                <a:gd name="connsiteY16" fmla="*/ 34779 h 74096"/>
                <a:gd name="connsiteX17" fmla="*/ 43166 w 70395"/>
                <a:gd name="connsiteY17" fmla="*/ 15055 h 74096"/>
                <a:gd name="connsiteX18" fmla="*/ 42252 w 70395"/>
                <a:gd name="connsiteY18" fmla="*/ 14793 h 74096"/>
                <a:gd name="connsiteX19" fmla="*/ 38725 w 70395"/>
                <a:gd name="connsiteY19" fmla="*/ 13095 h 74096"/>
                <a:gd name="connsiteX20" fmla="*/ 36243 w 70395"/>
                <a:gd name="connsiteY20" fmla="*/ 12965 h 7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395" h="74096">
                  <a:moveTo>
                    <a:pt x="31541" y="74097"/>
                  </a:moveTo>
                  <a:cubicBezTo>
                    <a:pt x="25924" y="74097"/>
                    <a:pt x="20176" y="72921"/>
                    <a:pt x="14821" y="70570"/>
                  </a:cubicBezTo>
                  <a:cubicBezTo>
                    <a:pt x="10118" y="68480"/>
                    <a:pt x="6722" y="65867"/>
                    <a:pt x="4371" y="62602"/>
                  </a:cubicBezTo>
                  <a:cubicBezTo>
                    <a:pt x="1236" y="58161"/>
                    <a:pt x="452" y="52936"/>
                    <a:pt x="191" y="48886"/>
                  </a:cubicBezTo>
                  <a:cubicBezTo>
                    <a:pt x="-854" y="35171"/>
                    <a:pt x="2411" y="22631"/>
                    <a:pt x="9596" y="13487"/>
                  </a:cubicBezTo>
                  <a:cubicBezTo>
                    <a:pt x="18348" y="2253"/>
                    <a:pt x="32978" y="-2711"/>
                    <a:pt x="45126" y="1469"/>
                  </a:cubicBezTo>
                  <a:cubicBezTo>
                    <a:pt x="46040" y="1731"/>
                    <a:pt x="46824" y="2253"/>
                    <a:pt x="47477" y="2906"/>
                  </a:cubicBezTo>
                  <a:cubicBezTo>
                    <a:pt x="60147" y="7348"/>
                    <a:pt x="69552" y="20018"/>
                    <a:pt x="70336" y="33995"/>
                  </a:cubicBezTo>
                  <a:cubicBezTo>
                    <a:pt x="71120" y="47449"/>
                    <a:pt x="64066" y="60904"/>
                    <a:pt x="52571" y="68219"/>
                  </a:cubicBezTo>
                  <a:cubicBezTo>
                    <a:pt x="46301" y="72138"/>
                    <a:pt x="38986" y="74097"/>
                    <a:pt x="31541" y="74097"/>
                  </a:cubicBezTo>
                  <a:close/>
                  <a:moveTo>
                    <a:pt x="36243" y="12965"/>
                  </a:moveTo>
                  <a:cubicBezTo>
                    <a:pt x="30365" y="12965"/>
                    <a:pt x="23965" y="16099"/>
                    <a:pt x="19784" y="21455"/>
                  </a:cubicBezTo>
                  <a:cubicBezTo>
                    <a:pt x="14690" y="27986"/>
                    <a:pt x="12339" y="37391"/>
                    <a:pt x="13123" y="47972"/>
                  </a:cubicBezTo>
                  <a:cubicBezTo>
                    <a:pt x="13253" y="50323"/>
                    <a:pt x="13645" y="53328"/>
                    <a:pt x="14951" y="55287"/>
                  </a:cubicBezTo>
                  <a:cubicBezTo>
                    <a:pt x="15866" y="56593"/>
                    <a:pt x="17564" y="57769"/>
                    <a:pt x="20046" y="58944"/>
                  </a:cubicBezTo>
                  <a:cubicBezTo>
                    <a:pt x="28406" y="62602"/>
                    <a:pt x="38203" y="62079"/>
                    <a:pt x="45648" y="57377"/>
                  </a:cubicBezTo>
                  <a:cubicBezTo>
                    <a:pt x="53224" y="52674"/>
                    <a:pt x="57927" y="43531"/>
                    <a:pt x="57404" y="34779"/>
                  </a:cubicBezTo>
                  <a:cubicBezTo>
                    <a:pt x="56882" y="26027"/>
                    <a:pt x="50873" y="17798"/>
                    <a:pt x="43166" y="15055"/>
                  </a:cubicBezTo>
                  <a:lnTo>
                    <a:pt x="42252" y="14793"/>
                  </a:lnTo>
                  <a:cubicBezTo>
                    <a:pt x="41468" y="14532"/>
                    <a:pt x="40031" y="14140"/>
                    <a:pt x="38725" y="13095"/>
                  </a:cubicBezTo>
                  <a:cubicBezTo>
                    <a:pt x="37941" y="12965"/>
                    <a:pt x="37027" y="12965"/>
                    <a:pt x="36243" y="1296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87" name="Graphic 717">
            <a:extLst>
              <a:ext uri="{FF2B5EF4-FFF2-40B4-BE49-F238E27FC236}">
                <a16:creationId xmlns:a16="http://schemas.microsoft.com/office/drawing/2014/main" id="{7864CF9F-2C1E-36AE-6368-8CA5C24C80AF}"/>
              </a:ext>
            </a:extLst>
          </p:cNvPr>
          <p:cNvGrpSpPr/>
          <p:nvPr/>
        </p:nvGrpSpPr>
        <p:grpSpPr>
          <a:xfrm>
            <a:off x="8028728" y="4842492"/>
            <a:ext cx="631120" cy="619436"/>
            <a:chOff x="2054947" y="5961978"/>
            <a:chExt cx="588595" cy="561163"/>
          </a:xfrm>
          <a:noFill/>
        </p:grpSpPr>
        <p:grpSp>
          <p:nvGrpSpPr>
            <p:cNvPr id="188" name="Graphic 717">
              <a:extLst>
                <a:ext uri="{FF2B5EF4-FFF2-40B4-BE49-F238E27FC236}">
                  <a16:creationId xmlns:a16="http://schemas.microsoft.com/office/drawing/2014/main" id="{BA01C7C4-E697-E732-A40F-95DFC20D27C6}"/>
                </a:ext>
              </a:extLst>
            </p:cNvPr>
            <p:cNvGrpSpPr/>
            <p:nvPr/>
          </p:nvGrpSpPr>
          <p:grpSpPr>
            <a:xfrm>
              <a:off x="2054947" y="5961978"/>
              <a:ext cx="588595" cy="561163"/>
              <a:chOff x="2054947" y="5961978"/>
              <a:chExt cx="588595" cy="561163"/>
            </a:xfrm>
            <a:grpFill/>
          </p:grpSpPr>
          <p:grpSp>
            <p:nvGrpSpPr>
              <p:cNvPr id="192" name="Graphic 717">
                <a:extLst>
                  <a:ext uri="{FF2B5EF4-FFF2-40B4-BE49-F238E27FC236}">
                    <a16:creationId xmlns:a16="http://schemas.microsoft.com/office/drawing/2014/main" id="{1BCD01E0-298E-BA6C-5B26-33764536A5DA}"/>
                  </a:ext>
                </a:extLst>
              </p:cNvPr>
              <p:cNvGrpSpPr/>
              <p:nvPr/>
            </p:nvGrpSpPr>
            <p:grpSpPr>
              <a:xfrm>
                <a:off x="2408922" y="6291912"/>
                <a:ext cx="234620" cy="231230"/>
                <a:chOff x="2408922" y="6291912"/>
                <a:chExt cx="234620" cy="231230"/>
              </a:xfrm>
              <a:grpFill/>
            </p:grpSpPr>
            <p:sp>
              <p:nvSpPr>
                <p:cNvPr id="196" name="Freeform: Shape 195">
                  <a:extLst>
                    <a:ext uri="{FF2B5EF4-FFF2-40B4-BE49-F238E27FC236}">
                      <a16:creationId xmlns:a16="http://schemas.microsoft.com/office/drawing/2014/main" id="{735743B0-9942-E177-B73F-F10FD035CC47}"/>
                    </a:ext>
                  </a:extLst>
                </p:cNvPr>
                <p:cNvSpPr/>
                <p:nvPr/>
              </p:nvSpPr>
              <p:spPr>
                <a:xfrm>
                  <a:off x="2413773" y="6296769"/>
                  <a:ext cx="224936" cy="221408"/>
                </a:xfrm>
                <a:custGeom>
                  <a:avLst/>
                  <a:gdLst>
                    <a:gd name="connsiteX0" fmla="*/ 0 w 224936"/>
                    <a:gd name="connsiteY0" fmla="*/ 49768 h 221408"/>
                    <a:gd name="connsiteX1" fmla="*/ 104761 w 224936"/>
                    <a:gd name="connsiteY1" fmla="*/ 152831 h 221408"/>
                    <a:gd name="connsiteX2" fmla="*/ 161844 w 224936"/>
                    <a:gd name="connsiteY2" fmla="*/ 204950 h 221408"/>
                    <a:gd name="connsiteX3" fmla="*/ 197896 w 224936"/>
                    <a:gd name="connsiteY3" fmla="*/ 221409 h 221408"/>
                    <a:gd name="connsiteX4" fmla="*/ 224936 w 224936"/>
                    <a:gd name="connsiteY4" fmla="*/ 195415 h 221408"/>
                    <a:gd name="connsiteX5" fmla="*/ 209261 w 224936"/>
                    <a:gd name="connsiteY5" fmla="*/ 166547 h 221408"/>
                    <a:gd name="connsiteX6" fmla="*/ 35269 w 224936"/>
                    <a:gd name="connsiteY6" fmla="*/ 0 h 221408"/>
                    <a:gd name="connsiteX7" fmla="*/ 0 w 224936"/>
                    <a:gd name="connsiteY7" fmla="*/ 49768 h 22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936" h="221408">
                      <a:moveTo>
                        <a:pt x="0" y="49768"/>
                      </a:moveTo>
                      <a:cubicBezTo>
                        <a:pt x="34877" y="84122"/>
                        <a:pt x="69884" y="118477"/>
                        <a:pt x="104761" y="152831"/>
                      </a:cubicBezTo>
                      <a:cubicBezTo>
                        <a:pt x="123179" y="170988"/>
                        <a:pt x="141728" y="189144"/>
                        <a:pt x="161844" y="204950"/>
                      </a:cubicBezTo>
                      <a:cubicBezTo>
                        <a:pt x="172686" y="213441"/>
                        <a:pt x="184703" y="221409"/>
                        <a:pt x="197896" y="221409"/>
                      </a:cubicBezTo>
                      <a:cubicBezTo>
                        <a:pt x="211089" y="221409"/>
                        <a:pt x="225066" y="210306"/>
                        <a:pt x="224936" y="195415"/>
                      </a:cubicBezTo>
                      <a:cubicBezTo>
                        <a:pt x="224936" y="183789"/>
                        <a:pt x="216837" y="174515"/>
                        <a:pt x="209261" y="166547"/>
                      </a:cubicBezTo>
                      <a:cubicBezTo>
                        <a:pt x="153615" y="107896"/>
                        <a:pt x="95617" y="52381"/>
                        <a:pt x="35269" y="0"/>
                      </a:cubicBezTo>
                      <a:cubicBezTo>
                        <a:pt x="24165" y="16197"/>
                        <a:pt x="13193" y="32395"/>
                        <a:pt x="0" y="4976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97" name="Freeform: Shape 196">
                  <a:extLst>
                    <a:ext uri="{FF2B5EF4-FFF2-40B4-BE49-F238E27FC236}">
                      <a16:creationId xmlns:a16="http://schemas.microsoft.com/office/drawing/2014/main" id="{1174D57C-C910-C655-5ABF-09E43060B995}"/>
                    </a:ext>
                  </a:extLst>
                </p:cNvPr>
                <p:cNvSpPr/>
                <p:nvPr/>
              </p:nvSpPr>
              <p:spPr>
                <a:xfrm>
                  <a:off x="2408922" y="6291912"/>
                  <a:ext cx="234620" cy="231230"/>
                </a:xfrm>
                <a:custGeom>
                  <a:avLst/>
                  <a:gdLst>
                    <a:gd name="connsiteX0" fmla="*/ 202748 w 234620"/>
                    <a:gd name="connsiteY0" fmla="*/ 231100 h 231230"/>
                    <a:gd name="connsiteX1" fmla="*/ 202748 w 234620"/>
                    <a:gd name="connsiteY1" fmla="*/ 231100 h 231230"/>
                    <a:gd name="connsiteX2" fmla="*/ 163691 w 234620"/>
                    <a:gd name="connsiteY2" fmla="*/ 213596 h 231230"/>
                    <a:gd name="connsiteX3" fmla="*/ 106216 w 234620"/>
                    <a:gd name="connsiteY3" fmla="*/ 161215 h 231230"/>
                    <a:gd name="connsiteX4" fmla="*/ 1455 w 234620"/>
                    <a:gd name="connsiteY4" fmla="*/ 58152 h 231230"/>
                    <a:gd name="connsiteX5" fmla="*/ 933 w 234620"/>
                    <a:gd name="connsiteY5" fmla="*/ 51752 h 231230"/>
                    <a:gd name="connsiteX6" fmla="*/ 36071 w 234620"/>
                    <a:gd name="connsiteY6" fmla="*/ 2115 h 231230"/>
                    <a:gd name="connsiteX7" fmla="*/ 39467 w 234620"/>
                    <a:gd name="connsiteY7" fmla="*/ 25 h 231230"/>
                    <a:gd name="connsiteX8" fmla="*/ 43255 w 234620"/>
                    <a:gd name="connsiteY8" fmla="*/ 1200 h 231230"/>
                    <a:gd name="connsiteX9" fmla="*/ 217639 w 234620"/>
                    <a:gd name="connsiteY9" fmla="*/ 168008 h 231230"/>
                    <a:gd name="connsiteX10" fmla="*/ 234620 w 234620"/>
                    <a:gd name="connsiteY10" fmla="*/ 200272 h 231230"/>
                    <a:gd name="connsiteX11" fmla="*/ 225738 w 234620"/>
                    <a:gd name="connsiteY11" fmla="*/ 221303 h 231230"/>
                    <a:gd name="connsiteX12" fmla="*/ 202617 w 234620"/>
                    <a:gd name="connsiteY12" fmla="*/ 231230 h 231230"/>
                    <a:gd name="connsiteX13" fmla="*/ 11383 w 234620"/>
                    <a:gd name="connsiteY13" fmla="*/ 54103 h 231230"/>
                    <a:gd name="connsiteX14" fmla="*/ 113139 w 234620"/>
                    <a:gd name="connsiteY14" fmla="*/ 154162 h 231230"/>
                    <a:gd name="connsiteX15" fmla="*/ 169700 w 234620"/>
                    <a:gd name="connsiteY15" fmla="*/ 205889 h 231230"/>
                    <a:gd name="connsiteX16" fmla="*/ 202748 w 234620"/>
                    <a:gd name="connsiteY16" fmla="*/ 221433 h 231230"/>
                    <a:gd name="connsiteX17" fmla="*/ 202748 w 234620"/>
                    <a:gd name="connsiteY17" fmla="*/ 221433 h 231230"/>
                    <a:gd name="connsiteX18" fmla="*/ 218945 w 234620"/>
                    <a:gd name="connsiteY18" fmla="*/ 214380 h 231230"/>
                    <a:gd name="connsiteX19" fmla="*/ 224954 w 234620"/>
                    <a:gd name="connsiteY19" fmla="*/ 200272 h 231230"/>
                    <a:gd name="connsiteX20" fmla="*/ 210716 w 234620"/>
                    <a:gd name="connsiteY20" fmla="*/ 174670 h 231230"/>
                    <a:gd name="connsiteX21" fmla="*/ 41165 w 234620"/>
                    <a:gd name="connsiteY21" fmla="*/ 12042 h 231230"/>
                    <a:gd name="connsiteX22" fmla="*/ 11383 w 234620"/>
                    <a:gd name="connsiteY22" fmla="*/ 54103 h 2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4620" h="231230">
                      <a:moveTo>
                        <a:pt x="202748" y="231100"/>
                      </a:moveTo>
                      <a:lnTo>
                        <a:pt x="202748" y="231100"/>
                      </a:lnTo>
                      <a:cubicBezTo>
                        <a:pt x="188118" y="231100"/>
                        <a:pt x="175317" y="222609"/>
                        <a:pt x="163691" y="213596"/>
                      </a:cubicBezTo>
                      <a:cubicBezTo>
                        <a:pt x="143314" y="197660"/>
                        <a:pt x="124504" y="179111"/>
                        <a:pt x="106216" y="161215"/>
                      </a:cubicBezTo>
                      <a:lnTo>
                        <a:pt x="1455" y="58152"/>
                      </a:lnTo>
                      <a:cubicBezTo>
                        <a:pt x="-243" y="56454"/>
                        <a:pt x="-504" y="53711"/>
                        <a:pt x="933" y="51752"/>
                      </a:cubicBezTo>
                      <a:cubicBezTo>
                        <a:pt x="13995" y="34379"/>
                        <a:pt x="25229" y="18051"/>
                        <a:pt x="36071" y="2115"/>
                      </a:cubicBezTo>
                      <a:cubicBezTo>
                        <a:pt x="36854" y="939"/>
                        <a:pt x="38030" y="155"/>
                        <a:pt x="39467" y="25"/>
                      </a:cubicBezTo>
                      <a:cubicBezTo>
                        <a:pt x="40773" y="-106"/>
                        <a:pt x="42210" y="286"/>
                        <a:pt x="43255" y="1200"/>
                      </a:cubicBezTo>
                      <a:cubicBezTo>
                        <a:pt x="103473" y="53450"/>
                        <a:pt x="162124" y="109488"/>
                        <a:pt x="217639" y="168008"/>
                      </a:cubicBezTo>
                      <a:cubicBezTo>
                        <a:pt x="225738" y="176629"/>
                        <a:pt x="234490" y="186949"/>
                        <a:pt x="234620" y="200272"/>
                      </a:cubicBezTo>
                      <a:cubicBezTo>
                        <a:pt x="234620" y="207979"/>
                        <a:pt x="231485" y="215425"/>
                        <a:pt x="225738" y="221303"/>
                      </a:cubicBezTo>
                      <a:cubicBezTo>
                        <a:pt x="219598" y="227442"/>
                        <a:pt x="210977" y="231230"/>
                        <a:pt x="202617" y="231230"/>
                      </a:cubicBezTo>
                      <a:close/>
                      <a:moveTo>
                        <a:pt x="11383" y="54103"/>
                      </a:moveTo>
                      <a:lnTo>
                        <a:pt x="113139" y="154162"/>
                      </a:lnTo>
                      <a:cubicBezTo>
                        <a:pt x="131166" y="171927"/>
                        <a:pt x="149845" y="190214"/>
                        <a:pt x="169700" y="205889"/>
                      </a:cubicBezTo>
                      <a:cubicBezTo>
                        <a:pt x="180019" y="213988"/>
                        <a:pt x="191122" y="221303"/>
                        <a:pt x="202748" y="221433"/>
                      </a:cubicBezTo>
                      <a:lnTo>
                        <a:pt x="202748" y="221433"/>
                      </a:lnTo>
                      <a:cubicBezTo>
                        <a:pt x="208495" y="221433"/>
                        <a:pt x="214504" y="218821"/>
                        <a:pt x="218945" y="214380"/>
                      </a:cubicBezTo>
                      <a:cubicBezTo>
                        <a:pt x="222864" y="210461"/>
                        <a:pt x="224954" y="205367"/>
                        <a:pt x="224954" y="200272"/>
                      </a:cubicBezTo>
                      <a:cubicBezTo>
                        <a:pt x="224954" y="190475"/>
                        <a:pt x="217900" y="182246"/>
                        <a:pt x="210716" y="174670"/>
                      </a:cubicBezTo>
                      <a:cubicBezTo>
                        <a:pt x="156768" y="117717"/>
                        <a:pt x="99685" y="62985"/>
                        <a:pt x="41165" y="12042"/>
                      </a:cubicBezTo>
                      <a:cubicBezTo>
                        <a:pt x="31891" y="25496"/>
                        <a:pt x="22355" y="39473"/>
                        <a:pt x="11383" y="5410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93" name="Graphic 717">
                <a:extLst>
                  <a:ext uri="{FF2B5EF4-FFF2-40B4-BE49-F238E27FC236}">
                    <a16:creationId xmlns:a16="http://schemas.microsoft.com/office/drawing/2014/main" id="{C62AEBE2-9156-9C8C-BD5A-AC37DF5E3423}"/>
                  </a:ext>
                </a:extLst>
              </p:cNvPr>
              <p:cNvGrpSpPr/>
              <p:nvPr/>
            </p:nvGrpSpPr>
            <p:grpSpPr>
              <a:xfrm>
                <a:off x="2054947" y="5961978"/>
                <a:ext cx="445169" cy="445169"/>
                <a:chOff x="2054947" y="5961978"/>
                <a:chExt cx="445169" cy="445169"/>
              </a:xfrm>
              <a:grpFill/>
            </p:grpSpPr>
            <p:sp>
              <p:nvSpPr>
                <p:cNvPr id="194" name="Freeform: Shape 193">
                  <a:extLst>
                    <a:ext uri="{FF2B5EF4-FFF2-40B4-BE49-F238E27FC236}">
                      <a16:creationId xmlns:a16="http://schemas.microsoft.com/office/drawing/2014/main" id="{7EBF5EF2-3CD1-4B19-1641-CED6FDB57C68}"/>
                    </a:ext>
                  </a:extLst>
                </p:cNvPr>
                <p:cNvSpPr/>
                <p:nvPr/>
              </p:nvSpPr>
              <p:spPr>
                <a:xfrm>
                  <a:off x="2059780" y="5966811"/>
                  <a:ext cx="435502" cy="435502"/>
                </a:xfrm>
                <a:custGeom>
                  <a:avLst/>
                  <a:gdLst>
                    <a:gd name="connsiteX0" fmla="*/ 217751 w 435502"/>
                    <a:gd name="connsiteY0" fmla="*/ 0 h 435502"/>
                    <a:gd name="connsiteX1" fmla="*/ 0 w 435502"/>
                    <a:gd name="connsiteY1" fmla="*/ 217752 h 435502"/>
                    <a:gd name="connsiteX2" fmla="*/ 217751 w 435502"/>
                    <a:gd name="connsiteY2" fmla="*/ 435503 h 435502"/>
                    <a:gd name="connsiteX3" fmla="*/ 435503 w 435502"/>
                    <a:gd name="connsiteY3" fmla="*/ 217752 h 435502"/>
                    <a:gd name="connsiteX4" fmla="*/ 217751 w 435502"/>
                    <a:gd name="connsiteY4" fmla="*/ 0 h 435502"/>
                    <a:gd name="connsiteX5" fmla="*/ 217751 w 435502"/>
                    <a:gd name="connsiteY5" fmla="*/ 383123 h 435502"/>
                    <a:gd name="connsiteX6" fmla="*/ 52380 w 435502"/>
                    <a:gd name="connsiteY6" fmla="*/ 217752 h 435502"/>
                    <a:gd name="connsiteX7" fmla="*/ 217751 w 435502"/>
                    <a:gd name="connsiteY7" fmla="*/ 52381 h 435502"/>
                    <a:gd name="connsiteX8" fmla="*/ 383122 w 435502"/>
                    <a:gd name="connsiteY8" fmla="*/ 217752 h 435502"/>
                    <a:gd name="connsiteX9" fmla="*/ 217751 w 435502"/>
                    <a:gd name="connsiteY9" fmla="*/ 383123 h 435502"/>
                    <a:gd name="connsiteX10" fmla="*/ 217751 w 435502"/>
                    <a:gd name="connsiteY10" fmla="*/ 383123 h 435502"/>
                    <a:gd name="connsiteX11" fmla="*/ 52380 w 435502"/>
                    <a:gd name="connsiteY11" fmla="*/ 217752 h 435502"/>
                    <a:gd name="connsiteX12" fmla="*/ 217751 w 435502"/>
                    <a:gd name="connsiteY12" fmla="*/ 52381 h 435502"/>
                    <a:gd name="connsiteX13" fmla="*/ 383122 w 435502"/>
                    <a:gd name="connsiteY13" fmla="*/ 217752 h 435502"/>
                    <a:gd name="connsiteX14" fmla="*/ 217751 w 435502"/>
                    <a:gd name="connsiteY14" fmla="*/ 383123 h 43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502" h="435502">
                      <a:moveTo>
                        <a:pt x="217751" y="0"/>
                      </a:moveTo>
                      <a:cubicBezTo>
                        <a:pt x="97446" y="0"/>
                        <a:pt x="0" y="97446"/>
                        <a:pt x="0" y="217752"/>
                      </a:cubicBezTo>
                      <a:cubicBezTo>
                        <a:pt x="0" y="338057"/>
                        <a:pt x="97446" y="435503"/>
                        <a:pt x="217751" y="435503"/>
                      </a:cubicBezTo>
                      <a:cubicBezTo>
                        <a:pt x="338057" y="435503"/>
                        <a:pt x="435503" y="338057"/>
                        <a:pt x="435503" y="217752"/>
                      </a:cubicBezTo>
                      <a:cubicBezTo>
                        <a:pt x="435503" y="97446"/>
                        <a:pt x="338057" y="0"/>
                        <a:pt x="217751" y="0"/>
                      </a:cubicBezTo>
                      <a:close/>
                      <a:moveTo>
                        <a:pt x="217751" y="383123"/>
                      </a:moveTo>
                      <a:cubicBezTo>
                        <a:pt x="126445" y="383123"/>
                        <a:pt x="52380" y="309058"/>
                        <a:pt x="52380" y="217752"/>
                      </a:cubicBezTo>
                      <a:cubicBezTo>
                        <a:pt x="52380" y="126445"/>
                        <a:pt x="126445" y="52381"/>
                        <a:pt x="217751" y="52381"/>
                      </a:cubicBezTo>
                      <a:cubicBezTo>
                        <a:pt x="309058" y="52381"/>
                        <a:pt x="383122" y="126445"/>
                        <a:pt x="383122" y="217752"/>
                      </a:cubicBezTo>
                      <a:cubicBezTo>
                        <a:pt x="383122" y="309058"/>
                        <a:pt x="309058" y="383123"/>
                        <a:pt x="217751" y="383123"/>
                      </a:cubicBezTo>
                      <a:close/>
                      <a:moveTo>
                        <a:pt x="217751" y="383123"/>
                      </a:moveTo>
                      <a:cubicBezTo>
                        <a:pt x="126445" y="383123"/>
                        <a:pt x="52380" y="309058"/>
                        <a:pt x="52380" y="217752"/>
                      </a:cubicBezTo>
                      <a:cubicBezTo>
                        <a:pt x="52380" y="126445"/>
                        <a:pt x="126445" y="52381"/>
                        <a:pt x="217751" y="52381"/>
                      </a:cubicBezTo>
                      <a:cubicBezTo>
                        <a:pt x="309058" y="52381"/>
                        <a:pt x="383122" y="126445"/>
                        <a:pt x="383122" y="217752"/>
                      </a:cubicBezTo>
                      <a:cubicBezTo>
                        <a:pt x="383122" y="309058"/>
                        <a:pt x="309058" y="383123"/>
                        <a:pt x="217751" y="38312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95" name="Freeform: Shape 194">
                  <a:extLst>
                    <a:ext uri="{FF2B5EF4-FFF2-40B4-BE49-F238E27FC236}">
                      <a16:creationId xmlns:a16="http://schemas.microsoft.com/office/drawing/2014/main" id="{6F7C9F3E-3097-BE10-E070-1A06768C566E}"/>
                    </a:ext>
                  </a:extLst>
                </p:cNvPr>
                <p:cNvSpPr/>
                <p:nvPr/>
              </p:nvSpPr>
              <p:spPr>
                <a:xfrm>
                  <a:off x="2054947" y="5961978"/>
                  <a:ext cx="445169" cy="445169"/>
                </a:xfrm>
                <a:custGeom>
                  <a:avLst/>
                  <a:gdLst>
                    <a:gd name="connsiteX0" fmla="*/ 222585 w 445169"/>
                    <a:gd name="connsiteY0" fmla="*/ 445169 h 445169"/>
                    <a:gd name="connsiteX1" fmla="*/ 0 w 445169"/>
                    <a:gd name="connsiteY1" fmla="*/ 222585 h 445169"/>
                    <a:gd name="connsiteX2" fmla="*/ 222585 w 445169"/>
                    <a:gd name="connsiteY2" fmla="*/ 0 h 445169"/>
                    <a:gd name="connsiteX3" fmla="*/ 445169 w 445169"/>
                    <a:gd name="connsiteY3" fmla="*/ 222585 h 445169"/>
                    <a:gd name="connsiteX4" fmla="*/ 222585 w 445169"/>
                    <a:gd name="connsiteY4" fmla="*/ 445169 h 445169"/>
                    <a:gd name="connsiteX5" fmla="*/ 222585 w 445169"/>
                    <a:gd name="connsiteY5" fmla="*/ 9666 h 445169"/>
                    <a:gd name="connsiteX6" fmla="*/ 9666 w 445169"/>
                    <a:gd name="connsiteY6" fmla="*/ 222585 h 445169"/>
                    <a:gd name="connsiteX7" fmla="*/ 222585 w 445169"/>
                    <a:gd name="connsiteY7" fmla="*/ 435503 h 445169"/>
                    <a:gd name="connsiteX8" fmla="*/ 435503 w 445169"/>
                    <a:gd name="connsiteY8" fmla="*/ 222585 h 445169"/>
                    <a:gd name="connsiteX9" fmla="*/ 222585 w 445169"/>
                    <a:gd name="connsiteY9" fmla="*/ 9666 h 445169"/>
                    <a:gd name="connsiteX10" fmla="*/ 222585 w 445169"/>
                    <a:gd name="connsiteY10" fmla="*/ 392789 h 445169"/>
                    <a:gd name="connsiteX11" fmla="*/ 52380 w 445169"/>
                    <a:gd name="connsiteY11" fmla="*/ 222585 h 445169"/>
                    <a:gd name="connsiteX12" fmla="*/ 222585 w 445169"/>
                    <a:gd name="connsiteY12" fmla="*/ 52381 h 445169"/>
                    <a:gd name="connsiteX13" fmla="*/ 392789 w 445169"/>
                    <a:gd name="connsiteY13" fmla="*/ 222585 h 445169"/>
                    <a:gd name="connsiteX14" fmla="*/ 222585 w 445169"/>
                    <a:gd name="connsiteY14" fmla="*/ 392789 h 445169"/>
                    <a:gd name="connsiteX15" fmla="*/ 62047 w 445169"/>
                    <a:gd name="connsiteY15" fmla="*/ 222585 h 445169"/>
                    <a:gd name="connsiteX16" fmla="*/ 222585 w 445169"/>
                    <a:gd name="connsiteY16" fmla="*/ 383122 h 445169"/>
                    <a:gd name="connsiteX17" fmla="*/ 383122 w 445169"/>
                    <a:gd name="connsiteY17" fmla="*/ 222585 h 445169"/>
                    <a:gd name="connsiteX18" fmla="*/ 222585 w 445169"/>
                    <a:gd name="connsiteY18" fmla="*/ 62047 h 445169"/>
                    <a:gd name="connsiteX19" fmla="*/ 62047 w 445169"/>
                    <a:gd name="connsiteY19" fmla="*/ 222585 h 44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5169" h="445169">
                      <a:moveTo>
                        <a:pt x="222585" y="445169"/>
                      </a:moveTo>
                      <a:cubicBezTo>
                        <a:pt x="99797" y="445169"/>
                        <a:pt x="0" y="345372"/>
                        <a:pt x="0" y="222585"/>
                      </a:cubicBezTo>
                      <a:cubicBezTo>
                        <a:pt x="0" y="99798"/>
                        <a:pt x="99797" y="0"/>
                        <a:pt x="222585" y="0"/>
                      </a:cubicBezTo>
                      <a:cubicBezTo>
                        <a:pt x="345372" y="0"/>
                        <a:pt x="445169" y="99798"/>
                        <a:pt x="445169" y="222585"/>
                      </a:cubicBezTo>
                      <a:cubicBezTo>
                        <a:pt x="445169" y="345372"/>
                        <a:pt x="345372" y="445169"/>
                        <a:pt x="222585" y="445169"/>
                      </a:cubicBezTo>
                      <a:close/>
                      <a:moveTo>
                        <a:pt x="222585" y="9666"/>
                      </a:moveTo>
                      <a:cubicBezTo>
                        <a:pt x="105153" y="9666"/>
                        <a:pt x="9666" y="105153"/>
                        <a:pt x="9666" y="222585"/>
                      </a:cubicBezTo>
                      <a:cubicBezTo>
                        <a:pt x="9666" y="340016"/>
                        <a:pt x="105153" y="435503"/>
                        <a:pt x="222585" y="435503"/>
                      </a:cubicBezTo>
                      <a:cubicBezTo>
                        <a:pt x="340016" y="435503"/>
                        <a:pt x="435503" y="340016"/>
                        <a:pt x="435503" y="222585"/>
                      </a:cubicBezTo>
                      <a:cubicBezTo>
                        <a:pt x="435503" y="105153"/>
                        <a:pt x="340016" y="9666"/>
                        <a:pt x="222585" y="9666"/>
                      </a:cubicBezTo>
                      <a:close/>
                      <a:moveTo>
                        <a:pt x="222585" y="392789"/>
                      </a:moveTo>
                      <a:cubicBezTo>
                        <a:pt x="128665" y="392789"/>
                        <a:pt x="52380" y="316373"/>
                        <a:pt x="52380" y="222585"/>
                      </a:cubicBezTo>
                      <a:cubicBezTo>
                        <a:pt x="52380" y="128796"/>
                        <a:pt x="128796" y="52381"/>
                        <a:pt x="222585" y="52381"/>
                      </a:cubicBezTo>
                      <a:cubicBezTo>
                        <a:pt x="316373" y="52381"/>
                        <a:pt x="392789" y="128796"/>
                        <a:pt x="392789" y="222585"/>
                      </a:cubicBezTo>
                      <a:cubicBezTo>
                        <a:pt x="392789" y="316373"/>
                        <a:pt x="316373" y="392789"/>
                        <a:pt x="222585" y="392789"/>
                      </a:cubicBezTo>
                      <a:close/>
                      <a:moveTo>
                        <a:pt x="62047" y="222585"/>
                      </a:moveTo>
                      <a:cubicBezTo>
                        <a:pt x="62047" y="311148"/>
                        <a:pt x="134021" y="383122"/>
                        <a:pt x="222585" y="383122"/>
                      </a:cubicBezTo>
                      <a:cubicBezTo>
                        <a:pt x="311148" y="383122"/>
                        <a:pt x="383122" y="311148"/>
                        <a:pt x="383122" y="222585"/>
                      </a:cubicBezTo>
                      <a:cubicBezTo>
                        <a:pt x="383122" y="134021"/>
                        <a:pt x="311148" y="62047"/>
                        <a:pt x="222585" y="62047"/>
                      </a:cubicBezTo>
                      <a:cubicBezTo>
                        <a:pt x="134021" y="62047"/>
                        <a:pt x="62047" y="134021"/>
                        <a:pt x="62047" y="222585"/>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sp>
          <p:nvSpPr>
            <p:cNvPr id="189" name="Freeform: Shape 188">
              <a:extLst>
                <a:ext uri="{FF2B5EF4-FFF2-40B4-BE49-F238E27FC236}">
                  <a16:creationId xmlns:a16="http://schemas.microsoft.com/office/drawing/2014/main" id="{BA0018C9-5FFB-67D8-E237-8C67420E23E4}"/>
                </a:ext>
              </a:extLst>
            </p:cNvPr>
            <p:cNvSpPr/>
            <p:nvPr/>
          </p:nvSpPr>
          <p:spPr>
            <a:xfrm>
              <a:off x="2213786" y="6151645"/>
              <a:ext cx="9666" cy="119391"/>
            </a:xfrm>
            <a:custGeom>
              <a:avLst/>
              <a:gdLst>
                <a:gd name="connsiteX0" fmla="*/ 4833 w 9666"/>
                <a:gd name="connsiteY0" fmla="*/ 119391 h 119391"/>
                <a:gd name="connsiteX1" fmla="*/ 0 w 9666"/>
                <a:gd name="connsiteY1" fmla="*/ 114558 h 119391"/>
                <a:gd name="connsiteX2" fmla="*/ 0 w 9666"/>
                <a:gd name="connsiteY2" fmla="*/ 4833 h 119391"/>
                <a:gd name="connsiteX3" fmla="*/ 4833 w 9666"/>
                <a:gd name="connsiteY3" fmla="*/ 0 h 119391"/>
                <a:gd name="connsiteX4" fmla="*/ 9666 w 9666"/>
                <a:gd name="connsiteY4" fmla="*/ 4833 h 119391"/>
                <a:gd name="connsiteX5" fmla="*/ 9666 w 9666"/>
                <a:gd name="connsiteY5" fmla="*/ 114558 h 119391"/>
                <a:gd name="connsiteX6" fmla="*/ 4833 w 9666"/>
                <a:gd name="connsiteY6" fmla="*/ 119391 h 119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66" h="119391">
                  <a:moveTo>
                    <a:pt x="4833" y="119391"/>
                  </a:moveTo>
                  <a:cubicBezTo>
                    <a:pt x="2090" y="119391"/>
                    <a:pt x="0" y="117170"/>
                    <a:pt x="0" y="114558"/>
                  </a:cubicBezTo>
                  <a:lnTo>
                    <a:pt x="0" y="4833"/>
                  </a:lnTo>
                  <a:cubicBezTo>
                    <a:pt x="0" y="2090"/>
                    <a:pt x="2221" y="0"/>
                    <a:pt x="4833" y="0"/>
                  </a:cubicBezTo>
                  <a:cubicBezTo>
                    <a:pt x="7446" y="0"/>
                    <a:pt x="9666" y="2221"/>
                    <a:pt x="9666" y="4833"/>
                  </a:cubicBezTo>
                  <a:lnTo>
                    <a:pt x="9666" y="114558"/>
                  </a:lnTo>
                  <a:cubicBezTo>
                    <a:pt x="9666" y="117301"/>
                    <a:pt x="7446" y="119391"/>
                    <a:pt x="4833" y="11939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90" name="Freeform: Shape 189">
              <a:extLst>
                <a:ext uri="{FF2B5EF4-FFF2-40B4-BE49-F238E27FC236}">
                  <a16:creationId xmlns:a16="http://schemas.microsoft.com/office/drawing/2014/main" id="{749BE207-12D3-BEF3-7B6D-6C0A2841552A}"/>
                </a:ext>
              </a:extLst>
            </p:cNvPr>
            <p:cNvSpPr/>
            <p:nvPr/>
          </p:nvSpPr>
          <p:spPr>
            <a:xfrm>
              <a:off x="2323773" y="6151645"/>
              <a:ext cx="9666" cy="119391"/>
            </a:xfrm>
            <a:custGeom>
              <a:avLst/>
              <a:gdLst>
                <a:gd name="connsiteX0" fmla="*/ 4833 w 9666"/>
                <a:gd name="connsiteY0" fmla="*/ 119391 h 119391"/>
                <a:gd name="connsiteX1" fmla="*/ 0 w 9666"/>
                <a:gd name="connsiteY1" fmla="*/ 114558 h 119391"/>
                <a:gd name="connsiteX2" fmla="*/ 0 w 9666"/>
                <a:gd name="connsiteY2" fmla="*/ 4833 h 119391"/>
                <a:gd name="connsiteX3" fmla="*/ 4833 w 9666"/>
                <a:gd name="connsiteY3" fmla="*/ 0 h 119391"/>
                <a:gd name="connsiteX4" fmla="*/ 9666 w 9666"/>
                <a:gd name="connsiteY4" fmla="*/ 4833 h 119391"/>
                <a:gd name="connsiteX5" fmla="*/ 9666 w 9666"/>
                <a:gd name="connsiteY5" fmla="*/ 114558 h 119391"/>
                <a:gd name="connsiteX6" fmla="*/ 4833 w 9666"/>
                <a:gd name="connsiteY6" fmla="*/ 119391 h 119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66" h="119391">
                  <a:moveTo>
                    <a:pt x="4833" y="119391"/>
                  </a:moveTo>
                  <a:cubicBezTo>
                    <a:pt x="2090" y="119391"/>
                    <a:pt x="0" y="117170"/>
                    <a:pt x="0" y="114558"/>
                  </a:cubicBezTo>
                  <a:lnTo>
                    <a:pt x="0" y="4833"/>
                  </a:lnTo>
                  <a:cubicBezTo>
                    <a:pt x="0" y="2090"/>
                    <a:pt x="2221" y="0"/>
                    <a:pt x="4833" y="0"/>
                  </a:cubicBezTo>
                  <a:cubicBezTo>
                    <a:pt x="7446" y="0"/>
                    <a:pt x="9666" y="2221"/>
                    <a:pt x="9666" y="4833"/>
                  </a:cubicBezTo>
                  <a:lnTo>
                    <a:pt x="9666" y="114558"/>
                  </a:lnTo>
                  <a:cubicBezTo>
                    <a:pt x="9666" y="117301"/>
                    <a:pt x="7446" y="119391"/>
                    <a:pt x="4833" y="11939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191" name="Freeform: Shape 190">
              <a:extLst>
                <a:ext uri="{FF2B5EF4-FFF2-40B4-BE49-F238E27FC236}">
                  <a16:creationId xmlns:a16="http://schemas.microsoft.com/office/drawing/2014/main" id="{2F7B80FE-952E-7C3E-6062-F5EF5609C74F}"/>
                </a:ext>
              </a:extLst>
            </p:cNvPr>
            <p:cNvSpPr/>
            <p:nvPr/>
          </p:nvSpPr>
          <p:spPr>
            <a:xfrm>
              <a:off x="2268779" y="6084635"/>
              <a:ext cx="9666" cy="186401"/>
            </a:xfrm>
            <a:custGeom>
              <a:avLst/>
              <a:gdLst>
                <a:gd name="connsiteX0" fmla="*/ 4833 w 9666"/>
                <a:gd name="connsiteY0" fmla="*/ 186401 h 186401"/>
                <a:gd name="connsiteX1" fmla="*/ 0 w 9666"/>
                <a:gd name="connsiteY1" fmla="*/ 181568 h 186401"/>
                <a:gd name="connsiteX2" fmla="*/ 0 w 9666"/>
                <a:gd name="connsiteY2" fmla="*/ 4833 h 186401"/>
                <a:gd name="connsiteX3" fmla="*/ 4833 w 9666"/>
                <a:gd name="connsiteY3" fmla="*/ 0 h 186401"/>
                <a:gd name="connsiteX4" fmla="*/ 9666 w 9666"/>
                <a:gd name="connsiteY4" fmla="*/ 4833 h 186401"/>
                <a:gd name="connsiteX5" fmla="*/ 9666 w 9666"/>
                <a:gd name="connsiteY5" fmla="*/ 181568 h 186401"/>
                <a:gd name="connsiteX6" fmla="*/ 4833 w 9666"/>
                <a:gd name="connsiteY6" fmla="*/ 186401 h 18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66" h="186401">
                  <a:moveTo>
                    <a:pt x="4833" y="186401"/>
                  </a:moveTo>
                  <a:cubicBezTo>
                    <a:pt x="2090" y="186401"/>
                    <a:pt x="0" y="184181"/>
                    <a:pt x="0" y="181568"/>
                  </a:cubicBezTo>
                  <a:lnTo>
                    <a:pt x="0" y="4833"/>
                  </a:lnTo>
                  <a:cubicBezTo>
                    <a:pt x="0" y="2090"/>
                    <a:pt x="2221" y="0"/>
                    <a:pt x="4833" y="0"/>
                  </a:cubicBezTo>
                  <a:cubicBezTo>
                    <a:pt x="7446" y="0"/>
                    <a:pt x="9666" y="2220"/>
                    <a:pt x="9666" y="4833"/>
                  </a:cubicBezTo>
                  <a:lnTo>
                    <a:pt x="9666" y="181568"/>
                  </a:lnTo>
                  <a:cubicBezTo>
                    <a:pt x="9666" y="184311"/>
                    <a:pt x="7446" y="186401"/>
                    <a:pt x="4833" y="18640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198" name="Group 197">
            <a:extLst>
              <a:ext uri="{FF2B5EF4-FFF2-40B4-BE49-F238E27FC236}">
                <a16:creationId xmlns:a16="http://schemas.microsoft.com/office/drawing/2014/main" id="{876D52C3-FB72-C08B-8E52-3FDCA6EE72A5}"/>
              </a:ext>
            </a:extLst>
          </p:cNvPr>
          <p:cNvGrpSpPr/>
          <p:nvPr/>
        </p:nvGrpSpPr>
        <p:grpSpPr>
          <a:xfrm>
            <a:off x="7039261" y="1697779"/>
            <a:ext cx="426027" cy="422013"/>
            <a:chOff x="8353314" y="765717"/>
            <a:chExt cx="426027" cy="422013"/>
          </a:xfrm>
        </p:grpSpPr>
        <p:sp>
          <p:nvSpPr>
            <p:cNvPr id="199" name="Freeform: Shape 198">
              <a:extLst>
                <a:ext uri="{FF2B5EF4-FFF2-40B4-BE49-F238E27FC236}">
                  <a16:creationId xmlns:a16="http://schemas.microsoft.com/office/drawing/2014/main" id="{93170E81-E1D6-E298-8DA5-37E0EEF2EE78}"/>
                </a:ext>
              </a:extLst>
            </p:cNvPr>
            <p:cNvSpPr/>
            <p:nvPr/>
          </p:nvSpPr>
          <p:spPr>
            <a:xfrm>
              <a:off x="8513978" y="911300"/>
              <a:ext cx="96086" cy="104774"/>
            </a:xfrm>
            <a:custGeom>
              <a:avLst/>
              <a:gdLst>
                <a:gd name="connsiteX0" fmla="*/ 47992 w 108166"/>
                <a:gd name="connsiteY0" fmla="*/ 114572 h 114571"/>
                <a:gd name="connsiteX1" fmla="*/ 21998 w 108166"/>
                <a:gd name="connsiteY1" fmla="*/ 109086 h 114571"/>
                <a:gd name="connsiteX2" fmla="*/ 6454 w 108166"/>
                <a:gd name="connsiteY2" fmla="*/ 97199 h 114571"/>
                <a:gd name="connsiteX3" fmla="*/ 314 w 108166"/>
                <a:gd name="connsiteY3" fmla="*/ 76560 h 114571"/>
                <a:gd name="connsiteX4" fmla="*/ 14944 w 108166"/>
                <a:gd name="connsiteY4" fmla="*/ 20783 h 114571"/>
                <a:gd name="connsiteX5" fmla="*/ 69284 w 108166"/>
                <a:gd name="connsiteY5" fmla="*/ 2235 h 114571"/>
                <a:gd name="connsiteX6" fmla="*/ 72158 w 108166"/>
                <a:gd name="connsiteY6" fmla="*/ 4194 h 114571"/>
                <a:gd name="connsiteX7" fmla="*/ 72811 w 108166"/>
                <a:gd name="connsiteY7" fmla="*/ 4455 h 114571"/>
                <a:gd name="connsiteX8" fmla="*/ 108080 w 108166"/>
                <a:gd name="connsiteY8" fmla="*/ 52394 h 114571"/>
                <a:gd name="connsiteX9" fmla="*/ 80518 w 108166"/>
                <a:gd name="connsiteY9" fmla="*/ 105297 h 114571"/>
                <a:gd name="connsiteX10" fmla="*/ 47862 w 108166"/>
                <a:gd name="connsiteY10" fmla="*/ 114441 h 114571"/>
                <a:gd name="connsiteX11" fmla="*/ 55830 w 108166"/>
                <a:gd name="connsiteY11" fmla="*/ 13076 h 114571"/>
                <a:gd name="connsiteX12" fmla="*/ 25133 w 108166"/>
                <a:gd name="connsiteY12" fmla="*/ 28882 h 114571"/>
                <a:gd name="connsiteX13" fmla="*/ 13246 w 108166"/>
                <a:gd name="connsiteY13" fmla="*/ 75776 h 114571"/>
                <a:gd name="connsiteX14" fmla="*/ 17165 w 108166"/>
                <a:gd name="connsiteY14" fmla="*/ 90014 h 114571"/>
                <a:gd name="connsiteX15" fmla="*/ 27354 w 108166"/>
                <a:gd name="connsiteY15" fmla="*/ 97460 h 114571"/>
                <a:gd name="connsiteX16" fmla="*/ 73856 w 108166"/>
                <a:gd name="connsiteY16" fmla="*/ 94586 h 114571"/>
                <a:gd name="connsiteX17" fmla="*/ 95409 w 108166"/>
                <a:gd name="connsiteY17" fmla="*/ 53309 h 114571"/>
                <a:gd name="connsiteX18" fmla="*/ 68892 w 108166"/>
                <a:gd name="connsiteY18" fmla="*/ 16865 h 114571"/>
                <a:gd name="connsiteX19" fmla="*/ 67194 w 108166"/>
                <a:gd name="connsiteY19" fmla="*/ 16342 h 114571"/>
                <a:gd name="connsiteX20" fmla="*/ 61839 w 108166"/>
                <a:gd name="connsiteY20" fmla="*/ 13729 h 114571"/>
                <a:gd name="connsiteX21" fmla="*/ 55960 w 108166"/>
                <a:gd name="connsiteY21" fmla="*/ 13207 h 114571"/>
                <a:gd name="connsiteX22" fmla="*/ 67194 w 108166"/>
                <a:gd name="connsiteY22" fmla="*/ 8505 h 114571"/>
                <a:gd name="connsiteX23" fmla="*/ 68631 w 108166"/>
                <a:gd name="connsiteY23" fmla="*/ 14775 h 114571"/>
                <a:gd name="connsiteX24" fmla="*/ 68631 w 108166"/>
                <a:gd name="connsiteY24" fmla="*/ 14775 h 114571"/>
                <a:gd name="connsiteX25" fmla="*/ 67194 w 108166"/>
                <a:gd name="connsiteY25" fmla="*/ 8505 h 11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8166" h="114571">
                  <a:moveTo>
                    <a:pt x="47992" y="114572"/>
                  </a:moveTo>
                  <a:cubicBezTo>
                    <a:pt x="39110" y="114572"/>
                    <a:pt x="30227" y="112743"/>
                    <a:pt x="21998" y="109086"/>
                  </a:cubicBezTo>
                  <a:cubicBezTo>
                    <a:pt x="14944" y="105951"/>
                    <a:pt x="9850" y="102032"/>
                    <a:pt x="6454" y="97199"/>
                  </a:cubicBezTo>
                  <a:cubicBezTo>
                    <a:pt x="1882" y="90668"/>
                    <a:pt x="706" y="82699"/>
                    <a:pt x="314" y="76560"/>
                  </a:cubicBezTo>
                  <a:cubicBezTo>
                    <a:pt x="-1384" y="54746"/>
                    <a:pt x="3841" y="35021"/>
                    <a:pt x="14944" y="20783"/>
                  </a:cubicBezTo>
                  <a:cubicBezTo>
                    <a:pt x="28399" y="3541"/>
                    <a:pt x="50736" y="-4166"/>
                    <a:pt x="69284" y="2235"/>
                  </a:cubicBezTo>
                  <a:cubicBezTo>
                    <a:pt x="70460" y="2626"/>
                    <a:pt x="71505" y="3280"/>
                    <a:pt x="72158" y="4194"/>
                  </a:cubicBezTo>
                  <a:cubicBezTo>
                    <a:pt x="72419" y="4194"/>
                    <a:pt x="72550" y="4325"/>
                    <a:pt x="72811" y="4455"/>
                  </a:cubicBezTo>
                  <a:cubicBezTo>
                    <a:pt x="92405" y="11117"/>
                    <a:pt x="106904" y="30841"/>
                    <a:pt x="108080" y="52394"/>
                  </a:cubicBezTo>
                  <a:cubicBezTo>
                    <a:pt x="109255" y="73294"/>
                    <a:pt x="98413" y="94064"/>
                    <a:pt x="80518" y="105297"/>
                  </a:cubicBezTo>
                  <a:cubicBezTo>
                    <a:pt x="70852" y="111437"/>
                    <a:pt x="59487" y="114441"/>
                    <a:pt x="47862" y="114441"/>
                  </a:cubicBezTo>
                  <a:close/>
                  <a:moveTo>
                    <a:pt x="55830" y="13076"/>
                  </a:moveTo>
                  <a:cubicBezTo>
                    <a:pt x="44727" y="13076"/>
                    <a:pt x="32840" y="18955"/>
                    <a:pt x="25133" y="28882"/>
                  </a:cubicBezTo>
                  <a:cubicBezTo>
                    <a:pt x="15989" y="40508"/>
                    <a:pt x="11809" y="57228"/>
                    <a:pt x="13246" y="75776"/>
                  </a:cubicBezTo>
                  <a:cubicBezTo>
                    <a:pt x="13638" y="80348"/>
                    <a:pt x="14291" y="85965"/>
                    <a:pt x="17165" y="90014"/>
                  </a:cubicBezTo>
                  <a:cubicBezTo>
                    <a:pt x="19124" y="92888"/>
                    <a:pt x="22521" y="95370"/>
                    <a:pt x="27354" y="97460"/>
                  </a:cubicBezTo>
                  <a:cubicBezTo>
                    <a:pt x="42506" y="104252"/>
                    <a:pt x="60271" y="103077"/>
                    <a:pt x="73856" y="94586"/>
                  </a:cubicBezTo>
                  <a:cubicBezTo>
                    <a:pt x="87702" y="85965"/>
                    <a:pt x="96323" y="69376"/>
                    <a:pt x="95409" y="53309"/>
                  </a:cubicBezTo>
                  <a:cubicBezTo>
                    <a:pt x="94495" y="37111"/>
                    <a:pt x="83392" y="21698"/>
                    <a:pt x="68892" y="16865"/>
                  </a:cubicBezTo>
                  <a:cubicBezTo>
                    <a:pt x="68370" y="16734"/>
                    <a:pt x="67717" y="16473"/>
                    <a:pt x="67194" y="16342"/>
                  </a:cubicBezTo>
                  <a:cubicBezTo>
                    <a:pt x="65757" y="15950"/>
                    <a:pt x="63537" y="15297"/>
                    <a:pt x="61839" y="13729"/>
                  </a:cubicBezTo>
                  <a:cubicBezTo>
                    <a:pt x="59879" y="13338"/>
                    <a:pt x="57920" y="13207"/>
                    <a:pt x="55960" y="13207"/>
                  </a:cubicBezTo>
                  <a:close/>
                  <a:moveTo>
                    <a:pt x="67194" y="8505"/>
                  </a:moveTo>
                  <a:lnTo>
                    <a:pt x="68631" y="14775"/>
                  </a:lnTo>
                  <a:cubicBezTo>
                    <a:pt x="68631" y="14775"/>
                    <a:pt x="68631" y="14775"/>
                    <a:pt x="68631" y="14775"/>
                  </a:cubicBezTo>
                  <a:lnTo>
                    <a:pt x="67194" y="8505"/>
                  </a:ln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200" name="Freeform: Shape 199">
              <a:extLst>
                <a:ext uri="{FF2B5EF4-FFF2-40B4-BE49-F238E27FC236}">
                  <a16:creationId xmlns:a16="http://schemas.microsoft.com/office/drawing/2014/main" id="{490C3CAF-750E-F7C3-B30B-813ECB1B302E}"/>
                </a:ext>
              </a:extLst>
            </p:cNvPr>
            <p:cNvSpPr/>
            <p:nvPr userDrawn="1"/>
          </p:nvSpPr>
          <p:spPr>
            <a:xfrm>
              <a:off x="8353314" y="765717"/>
              <a:ext cx="426027" cy="422013"/>
            </a:xfrm>
            <a:custGeom>
              <a:avLst/>
              <a:gdLst>
                <a:gd name="connsiteX0" fmla="*/ 287506 w 479589"/>
                <a:gd name="connsiteY0" fmla="*/ 461473 h 461473"/>
                <a:gd name="connsiteX1" fmla="*/ 281497 w 479589"/>
                <a:gd name="connsiteY1" fmla="*/ 457424 h 461473"/>
                <a:gd name="connsiteX2" fmla="*/ 255895 w 479589"/>
                <a:gd name="connsiteY2" fmla="*/ 402823 h 461473"/>
                <a:gd name="connsiteX3" fmla="*/ 193587 w 479589"/>
                <a:gd name="connsiteY3" fmla="*/ 402170 h 461473"/>
                <a:gd name="connsiteX4" fmla="*/ 175822 w 479589"/>
                <a:gd name="connsiteY4" fmla="*/ 435348 h 461473"/>
                <a:gd name="connsiteX5" fmla="*/ 165241 w 479589"/>
                <a:gd name="connsiteY5" fmla="*/ 455334 h 461473"/>
                <a:gd name="connsiteX6" fmla="*/ 157142 w 479589"/>
                <a:gd name="connsiteY6" fmla="*/ 458338 h 461473"/>
                <a:gd name="connsiteX7" fmla="*/ 77069 w 479589"/>
                <a:gd name="connsiteY7" fmla="*/ 399296 h 461473"/>
                <a:gd name="connsiteX8" fmla="*/ 76808 w 479589"/>
                <a:gd name="connsiteY8" fmla="*/ 391589 h 461473"/>
                <a:gd name="connsiteX9" fmla="*/ 111162 w 479589"/>
                <a:gd name="connsiteY9" fmla="*/ 340907 h 461473"/>
                <a:gd name="connsiteX10" fmla="*/ 76416 w 479589"/>
                <a:gd name="connsiteY10" fmla="*/ 279252 h 461473"/>
                <a:gd name="connsiteX11" fmla="*/ 61656 w 479589"/>
                <a:gd name="connsiteY11" fmla="*/ 282387 h 461473"/>
                <a:gd name="connsiteX12" fmla="*/ 12933 w 479589"/>
                <a:gd name="connsiteY12" fmla="*/ 291531 h 461473"/>
                <a:gd name="connsiteX13" fmla="*/ 5748 w 479589"/>
                <a:gd name="connsiteY13" fmla="*/ 286828 h 461473"/>
                <a:gd name="connsiteX14" fmla="*/ 13847 w 479589"/>
                <a:gd name="connsiteY14" fmla="*/ 164825 h 461473"/>
                <a:gd name="connsiteX15" fmla="*/ 21554 w 479589"/>
                <a:gd name="connsiteY15" fmla="*/ 160645 h 461473"/>
                <a:gd name="connsiteX16" fmla="*/ 89479 w 479589"/>
                <a:gd name="connsiteY16" fmla="*/ 177626 h 461473"/>
                <a:gd name="connsiteX17" fmla="*/ 123180 w 479589"/>
                <a:gd name="connsiteY17" fmla="*/ 118192 h 461473"/>
                <a:gd name="connsiteX18" fmla="*/ 89609 w 479589"/>
                <a:gd name="connsiteY18" fmla="*/ 66987 h 461473"/>
                <a:gd name="connsiteX19" fmla="*/ 90916 w 479589"/>
                <a:gd name="connsiteY19" fmla="*/ 59149 h 461473"/>
                <a:gd name="connsiteX20" fmla="*/ 179610 w 479589"/>
                <a:gd name="connsiteY20" fmla="*/ 3111 h 461473"/>
                <a:gd name="connsiteX21" fmla="*/ 187839 w 479589"/>
                <a:gd name="connsiteY21" fmla="*/ 5854 h 461473"/>
                <a:gd name="connsiteX22" fmla="*/ 217099 w 479589"/>
                <a:gd name="connsiteY22" fmla="*/ 66333 h 461473"/>
                <a:gd name="connsiteX23" fmla="*/ 285285 w 479589"/>
                <a:gd name="connsiteY23" fmla="*/ 63852 h 461473"/>
                <a:gd name="connsiteX24" fmla="*/ 319378 w 479589"/>
                <a:gd name="connsiteY24" fmla="*/ 2980 h 461473"/>
                <a:gd name="connsiteX25" fmla="*/ 327869 w 479589"/>
                <a:gd name="connsiteY25" fmla="*/ 760 h 461473"/>
                <a:gd name="connsiteX26" fmla="*/ 400366 w 479589"/>
                <a:gd name="connsiteY26" fmla="*/ 49483 h 461473"/>
                <a:gd name="connsiteX27" fmla="*/ 418131 w 479589"/>
                <a:gd name="connsiteY27" fmla="*/ 65158 h 461473"/>
                <a:gd name="connsiteX28" fmla="*/ 425576 w 479589"/>
                <a:gd name="connsiteY28" fmla="*/ 75477 h 461473"/>
                <a:gd name="connsiteX29" fmla="*/ 424662 w 479589"/>
                <a:gd name="connsiteY29" fmla="*/ 80702 h 461473"/>
                <a:gd name="connsiteX30" fmla="*/ 408987 w 479589"/>
                <a:gd name="connsiteY30" fmla="*/ 103562 h 461473"/>
                <a:gd name="connsiteX31" fmla="*/ 386258 w 479589"/>
                <a:gd name="connsiteY31" fmla="*/ 137001 h 461473"/>
                <a:gd name="connsiteX32" fmla="*/ 406113 w 479589"/>
                <a:gd name="connsiteY32" fmla="*/ 188468 h 461473"/>
                <a:gd name="connsiteX33" fmla="*/ 475214 w 479589"/>
                <a:gd name="connsiteY33" fmla="*/ 204665 h 461473"/>
                <a:gd name="connsiteX34" fmla="*/ 479132 w 479589"/>
                <a:gd name="connsiteY34" fmla="*/ 210282 h 461473"/>
                <a:gd name="connsiteX35" fmla="*/ 465678 w 479589"/>
                <a:gd name="connsiteY35" fmla="*/ 304071 h 461473"/>
                <a:gd name="connsiteX36" fmla="*/ 459408 w 479589"/>
                <a:gd name="connsiteY36" fmla="*/ 308251 h 461473"/>
                <a:gd name="connsiteX37" fmla="*/ 452093 w 479589"/>
                <a:gd name="connsiteY37" fmla="*/ 307989 h 461473"/>
                <a:gd name="connsiteX38" fmla="*/ 398929 w 479589"/>
                <a:gd name="connsiteY38" fmla="*/ 307989 h 461473"/>
                <a:gd name="connsiteX39" fmla="*/ 365358 w 479589"/>
                <a:gd name="connsiteY39" fmla="*/ 362199 h 461473"/>
                <a:gd name="connsiteX40" fmla="*/ 394357 w 479589"/>
                <a:gd name="connsiteY40" fmla="*/ 419674 h 461473"/>
                <a:gd name="connsiteX41" fmla="*/ 391483 w 479589"/>
                <a:gd name="connsiteY41" fmla="*/ 427772 h 461473"/>
                <a:gd name="connsiteX42" fmla="*/ 287898 w 479589"/>
                <a:gd name="connsiteY42" fmla="*/ 461343 h 461473"/>
                <a:gd name="connsiteX43" fmla="*/ 287245 w 479589"/>
                <a:gd name="connsiteY43" fmla="*/ 461343 h 461473"/>
                <a:gd name="connsiteX44" fmla="*/ 259160 w 479589"/>
                <a:gd name="connsiteY44" fmla="*/ 389369 h 461473"/>
                <a:gd name="connsiteX45" fmla="*/ 264647 w 479589"/>
                <a:gd name="connsiteY45" fmla="*/ 392373 h 461473"/>
                <a:gd name="connsiteX46" fmla="*/ 291686 w 479589"/>
                <a:gd name="connsiteY46" fmla="*/ 448019 h 461473"/>
                <a:gd name="connsiteX47" fmla="*/ 380511 w 479589"/>
                <a:gd name="connsiteY47" fmla="*/ 419282 h 461473"/>
                <a:gd name="connsiteX48" fmla="*/ 352296 w 479589"/>
                <a:gd name="connsiteY48" fmla="*/ 364811 h 461473"/>
                <a:gd name="connsiteX49" fmla="*/ 352949 w 479589"/>
                <a:gd name="connsiteY49" fmla="*/ 357496 h 461473"/>
                <a:gd name="connsiteX50" fmla="*/ 388609 w 479589"/>
                <a:gd name="connsiteY50" fmla="*/ 299760 h 461473"/>
                <a:gd name="connsiteX51" fmla="*/ 394096 w 479589"/>
                <a:gd name="connsiteY51" fmla="*/ 295580 h 461473"/>
                <a:gd name="connsiteX52" fmla="*/ 452877 w 479589"/>
                <a:gd name="connsiteY52" fmla="*/ 295057 h 461473"/>
                <a:gd name="connsiteX53" fmla="*/ 455489 w 479589"/>
                <a:gd name="connsiteY53" fmla="*/ 295057 h 461473"/>
                <a:gd name="connsiteX54" fmla="*/ 466723 w 479589"/>
                <a:gd name="connsiteY54" fmla="*/ 215115 h 461473"/>
                <a:gd name="connsiteX55" fmla="*/ 401149 w 479589"/>
                <a:gd name="connsiteY55" fmla="*/ 201008 h 461473"/>
                <a:gd name="connsiteX56" fmla="*/ 395663 w 479589"/>
                <a:gd name="connsiteY56" fmla="*/ 196697 h 461473"/>
                <a:gd name="connsiteX57" fmla="*/ 373326 w 479589"/>
                <a:gd name="connsiteY57" fmla="*/ 138700 h 461473"/>
                <a:gd name="connsiteX58" fmla="*/ 373849 w 479589"/>
                <a:gd name="connsiteY58" fmla="*/ 132821 h 461473"/>
                <a:gd name="connsiteX59" fmla="*/ 398667 w 479589"/>
                <a:gd name="connsiteY59" fmla="*/ 96116 h 461473"/>
                <a:gd name="connsiteX60" fmla="*/ 411991 w 479589"/>
                <a:gd name="connsiteY60" fmla="*/ 76783 h 461473"/>
                <a:gd name="connsiteX61" fmla="*/ 409771 w 479589"/>
                <a:gd name="connsiteY61" fmla="*/ 74693 h 461473"/>
                <a:gd name="connsiteX62" fmla="*/ 392397 w 479589"/>
                <a:gd name="connsiteY62" fmla="*/ 59280 h 461473"/>
                <a:gd name="connsiteX63" fmla="*/ 327608 w 479589"/>
                <a:gd name="connsiteY63" fmla="*/ 14998 h 461473"/>
                <a:gd name="connsiteX64" fmla="*/ 295213 w 479589"/>
                <a:gd name="connsiteY64" fmla="*/ 73779 h 461473"/>
                <a:gd name="connsiteX65" fmla="*/ 288812 w 479589"/>
                <a:gd name="connsiteY65" fmla="*/ 77175 h 461473"/>
                <a:gd name="connsiteX66" fmla="*/ 214617 w 479589"/>
                <a:gd name="connsiteY66" fmla="*/ 79918 h 461473"/>
                <a:gd name="connsiteX67" fmla="*/ 207433 w 479589"/>
                <a:gd name="connsiteY67" fmla="*/ 76000 h 461473"/>
                <a:gd name="connsiteX68" fmla="*/ 179740 w 479589"/>
                <a:gd name="connsiteY68" fmla="*/ 17349 h 461473"/>
                <a:gd name="connsiteX69" fmla="*/ 103717 w 479589"/>
                <a:gd name="connsiteY69" fmla="*/ 65288 h 461473"/>
                <a:gd name="connsiteX70" fmla="*/ 136504 w 479589"/>
                <a:gd name="connsiteY70" fmla="*/ 114012 h 461473"/>
                <a:gd name="connsiteX71" fmla="*/ 136765 w 479589"/>
                <a:gd name="connsiteY71" fmla="*/ 121327 h 461473"/>
                <a:gd name="connsiteX72" fmla="*/ 99406 w 479589"/>
                <a:gd name="connsiteY72" fmla="*/ 187815 h 461473"/>
                <a:gd name="connsiteX73" fmla="*/ 91961 w 479589"/>
                <a:gd name="connsiteY73" fmla="*/ 191472 h 461473"/>
                <a:gd name="connsiteX74" fmla="*/ 24558 w 479589"/>
                <a:gd name="connsiteY74" fmla="*/ 174621 h 461473"/>
                <a:gd name="connsiteX75" fmla="*/ 17113 w 479589"/>
                <a:gd name="connsiteY75" fmla="*/ 277815 h 461473"/>
                <a:gd name="connsiteX76" fmla="*/ 59174 w 479589"/>
                <a:gd name="connsiteY76" fmla="*/ 269716 h 461473"/>
                <a:gd name="connsiteX77" fmla="*/ 79290 w 479589"/>
                <a:gd name="connsiteY77" fmla="*/ 265536 h 461473"/>
                <a:gd name="connsiteX78" fmla="*/ 86474 w 479589"/>
                <a:gd name="connsiteY78" fmla="*/ 269455 h 461473"/>
                <a:gd name="connsiteX79" fmla="*/ 124225 w 479589"/>
                <a:gd name="connsiteY79" fmla="*/ 336465 h 461473"/>
                <a:gd name="connsiteX80" fmla="*/ 124617 w 479589"/>
                <a:gd name="connsiteY80" fmla="*/ 343911 h 461473"/>
                <a:gd name="connsiteX81" fmla="*/ 90393 w 479589"/>
                <a:gd name="connsiteY81" fmla="*/ 394985 h 461473"/>
                <a:gd name="connsiteX82" fmla="*/ 156750 w 479589"/>
                <a:gd name="connsiteY82" fmla="*/ 444100 h 461473"/>
                <a:gd name="connsiteX83" fmla="*/ 164457 w 479589"/>
                <a:gd name="connsiteY83" fmla="*/ 429340 h 461473"/>
                <a:gd name="connsiteX84" fmla="*/ 184443 w 479589"/>
                <a:gd name="connsiteY84" fmla="*/ 392112 h 461473"/>
                <a:gd name="connsiteX85" fmla="*/ 190713 w 479589"/>
                <a:gd name="connsiteY85" fmla="*/ 388846 h 461473"/>
                <a:gd name="connsiteX86" fmla="*/ 258246 w 479589"/>
                <a:gd name="connsiteY86" fmla="*/ 389499 h 461473"/>
                <a:gd name="connsiteX87" fmla="*/ 259160 w 479589"/>
                <a:gd name="connsiteY87" fmla="*/ 389499 h 46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79589" h="461473">
                  <a:moveTo>
                    <a:pt x="287506" y="461473"/>
                  </a:moveTo>
                  <a:cubicBezTo>
                    <a:pt x="284893" y="461473"/>
                    <a:pt x="282542" y="459906"/>
                    <a:pt x="281497" y="457424"/>
                  </a:cubicBezTo>
                  <a:cubicBezTo>
                    <a:pt x="274052" y="438614"/>
                    <a:pt x="266998" y="420849"/>
                    <a:pt x="255895" y="402823"/>
                  </a:cubicBezTo>
                  <a:cubicBezTo>
                    <a:pt x="234733" y="405435"/>
                    <a:pt x="213572" y="404129"/>
                    <a:pt x="193587" y="402170"/>
                  </a:cubicBezTo>
                  <a:cubicBezTo>
                    <a:pt x="187578" y="412881"/>
                    <a:pt x="181961" y="423854"/>
                    <a:pt x="175822" y="435348"/>
                  </a:cubicBezTo>
                  <a:cubicBezTo>
                    <a:pt x="172425" y="441880"/>
                    <a:pt x="168899" y="448542"/>
                    <a:pt x="165241" y="455334"/>
                  </a:cubicBezTo>
                  <a:cubicBezTo>
                    <a:pt x="163674" y="458208"/>
                    <a:pt x="160277" y="459514"/>
                    <a:pt x="157142" y="458338"/>
                  </a:cubicBezTo>
                  <a:cubicBezTo>
                    <a:pt x="125270" y="445798"/>
                    <a:pt x="97577" y="425421"/>
                    <a:pt x="77069" y="399296"/>
                  </a:cubicBezTo>
                  <a:cubicBezTo>
                    <a:pt x="75241" y="397075"/>
                    <a:pt x="75241" y="393940"/>
                    <a:pt x="76808" y="391589"/>
                  </a:cubicBezTo>
                  <a:cubicBezTo>
                    <a:pt x="87780" y="376175"/>
                    <a:pt x="99014" y="360239"/>
                    <a:pt x="111162" y="340907"/>
                  </a:cubicBezTo>
                  <a:cubicBezTo>
                    <a:pt x="98361" y="324056"/>
                    <a:pt x="86866" y="303809"/>
                    <a:pt x="76416" y="279252"/>
                  </a:cubicBezTo>
                  <a:cubicBezTo>
                    <a:pt x="71452" y="280297"/>
                    <a:pt x="66619" y="281342"/>
                    <a:pt x="61656" y="282387"/>
                  </a:cubicBezTo>
                  <a:cubicBezTo>
                    <a:pt x="46242" y="285652"/>
                    <a:pt x="30175" y="289049"/>
                    <a:pt x="12933" y="291531"/>
                  </a:cubicBezTo>
                  <a:cubicBezTo>
                    <a:pt x="9667" y="291922"/>
                    <a:pt x="6663" y="289963"/>
                    <a:pt x="5748" y="286828"/>
                  </a:cubicBezTo>
                  <a:cubicBezTo>
                    <a:pt x="-4049" y="250514"/>
                    <a:pt x="-1306" y="209498"/>
                    <a:pt x="13847" y="164825"/>
                  </a:cubicBezTo>
                  <a:cubicBezTo>
                    <a:pt x="14892" y="161690"/>
                    <a:pt x="18288" y="159861"/>
                    <a:pt x="21554" y="160645"/>
                  </a:cubicBezTo>
                  <a:cubicBezTo>
                    <a:pt x="42193" y="165870"/>
                    <a:pt x="65444" y="171748"/>
                    <a:pt x="89479" y="177626"/>
                  </a:cubicBezTo>
                  <a:cubicBezTo>
                    <a:pt x="99014" y="157248"/>
                    <a:pt x="110771" y="138177"/>
                    <a:pt x="123180" y="118192"/>
                  </a:cubicBezTo>
                  <a:cubicBezTo>
                    <a:pt x="112338" y="103692"/>
                    <a:pt x="100321" y="86842"/>
                    <a:pt x="89609" y="66987"/>
                  </a:cubicBezTo>
                  <a:cubicBezTo>
                    <a:pt x="88172" y="64374"/>
                    <a:pt x="88695" y="61108"/>
                    <a:pt x="90916" y="59149"/>
                  </a:cubicBezTo>
                  <a:cubicBezTo>
                    <a:pt x="114559" y="37465"/>
                    <a:pt x="144472" y="18655"/>
                    <a:pt x="179610" y="3111"/>
                  </a:cubicBezTo>
                  <a:cubicBezTo>
                    <a:pt x="182614" y="1805"/>
                    <a:pt x="186272" y="2980"/>
                    <a:pt x="187839" y="5854"/>
                  </a:cubicBezTo>
                  <a:cubicBezTo>
                    <a:pt x="198681" y="25317"/>
                    <a:pt x="208608" y="45695"/>
                    <a:pt x="217099" y="66333"/>
                  </a:cubicBezTo>
                  <a:cubicBezTo>
                    <a:pt x="239697" y="62676"/>
                    <a:pt x="262556" y="61892"/>
                    <a:pt x="285285" y="63852"/>
                  </a:cubicBezTo>
                  <a:cubicBezTo>
                    <a:pt x="295474" y="44258"/>
                    <a:pt x="306055" y="24142"/>
                    <a:pt x="319378" y="2980"/>
                  </a:cubicBezTo>
                  <a:cubicBezTo>
                    <a:pt x="321207" y="107"/>
                    <a:pt x="324865" y="-808"/>
                    <a:pt x="327869" y="760"/>
                  </a:cubicBezTo>
                  <a:cubicBezTo>
                    <a:pt x="353602" y="14214"/>
                    <a:pt x="378029" y="30542"/>
                    <a:pt x="400366" y="49483"/>
                  </a:cubicBezTo>
                  <a:cubicBezTo>
                    <a:pt x="406374" y="54577"/>
                    <a:pt x="412383" y="59933"/>
                    <a:pt x="418131" y="65158"/>
                  </a:cubicBezTo>
                  <a:cubicBezTo>
                    <a:pt x="421004" y="67640"/>
                    <a:pt x="424401" y="70775"/>
                    <a:pt x="425576" y="75477"/>
                  </a:cubicBezTo>
                  <a:cubicBezTo>
                    <a:pt x="425968" y="77306"/>
                    <a:pt x="425576" y="79135"/>
                    <a:pt x="424662" y="80702"/>
                  </a:cubicBezTo>
                  <a:cubicBezTo>
                    <a:pt x="419567" y="88278"/>
                    <a:pt x="414342" y="95855"/>
                    <a:pt x="408987" y="103562"/>
                  </a:cubicBezTo>
                  <a:cubicBezTo>
                    <a:pt x="401672" y="114142"/>
                    <a:pt x="394096" y="124984"/>
                    <a:pt x="386258" y="137001"/>
                  </a:cubicBezTo>
                  <a:cubicBezTo>
                    <a:pt x="393051" y="153852"/>
                    <a:pt x="399843" y="171225"/>
                    <a:pt x="406113" y="188468"/>
                  </a:cubicBezTo>
                  <a:cubicBezTo>
                    <a:pt x="425054" y="190296"/>
                    <a:pt x="449219" y="193954"/>
                    <a:pt x="475214" y="204665"/>
                  </a:cubicBezTo>
                  <a:cubicBezTo>
                    <a:pt x="477565" y="205579"/>
                    <a:pt x="479002" y="207800"/>
                    <a:pt x="479132" y="210282"/>
                  </a:cubicBezTo>
                  <a:cubicBezTo>
                    <a:pt x="481092" y="243853"/>
                    <a:pt x="476781" y="274549"/>
                    <a:pt x="465678" y="304071"/>
                  </a:cubicBezTo>
                  <a:cubicBezTo>
                    <a:pt x="464764" y="306683"/>
                    <a:pt x="462151" y="308381"/>
                    <a:pt x="459408" y="308251"/>
                  </a:cubicBezTo>
                  <a:lnTo>
                    <a:pt x="452093" y="307989"/>
                  </a:lnTo>
                  <a:cubicBezTo>
                    <a:pt x="435112" y="307336"/>
                    <a:pt x="417739" y="306552"/>
                    <a:pt x="398929" y="307989"/>
                  </a:cubicBezTo>
                  <a:cubicBezTo>
                    <a:pt x="391875" y="325362"/>
                    <a:pt x="381164" y="342735"/>
                    <a:pt x="365358" y="362199"/>
                  </a:cubicBezTo>
                  <a:cubicBezTo>
                    <a:pt x="375286" y="379833"/>
                    <a:pt x="385474" y="398120"/>
                    <a:pt x="394357" y="419674"/>
                  </a:cubicBezTo>
                  <a:cubicBezTo>
                    <a:pt x="395663" y="422678"/>
                    <a:pt x="394357" y="426205"/>
                    <a:pt x="391483" y="427772"/>
                  </a:cubicBezTo>
                  <a:cubicBezTo>
                    <a:pt x="357521" y="446321"/>
                    <a:pt x="322774" y="457555"/>
                    <a:pt x="287898" y="461343"/>
                  </a:cubicBezTo>
                  <a:cubicBezTo>
                    <a:pt x="287636" y="461343"/>
                    <a:pt x="287375" y="461343"/>
                    <a:pt x="287245" y="461343"/>
                  </a:cubicBezTo>
                  <a:close/>
                  <a:moveTo>
                    <a:pt x="259160" y="389369"/>
                  </a:moveTo>
                  <a:cubicBezTo>
                    <a:pt x="261381" y="389369"/>
                    <a:pt x="263340" y="390414"/>
                    <a:pt x="264647" y="392373"/>
                  </a:cubicBezTo>
                  <a:cubicBezTo>
                    <a:pt x="276664" y="411052"/>
                    <a:pt x="284502" y="429862"/>
                    <a:pt x="291686" y="448019"/>
                  </a:cubicBezTo>
                  <a:cubicBezTo>
                    <a:pt x="321468" y="444231"/>
                    <a:pt x="351251" y="434565"/>
                    <a:pt x="380511" y="419282"/>
                  </a:cubicBezTo>
                  <a:cubicBezTo>
                    <a:pt x="371759" y="399165"/>
                    <a:pt x="361962" y="381662"/>
                    <a:pt x="352296" y="364811"/>
                  </a:cubicBezTo>
                  <a:cubicBezTo>
                    <a:pt x="350989" y="362460"/>
                    <a:pt x="351251" y="359586"/>
                    <a:pt x="352949" y="357496"/>
                  </a:cubicBezTo>
                  <a:cubicBezTo>
                    <a:pt x="370452" y="336335"/>
                    <a:pt x="381817" y="317917"/>
                    <a:pt x="388609" y="299760"/>
                  </a:cubicBezTo>
                  <a:cubicBezTo>
                    <a:pt x="389524" y="297409"/>
                    <a:pt x="391614" y="295841"/>
                    <a:pt x="394096" y="295580"/>
                  </a:cubicBezTo>
                  <a:cubicBezTo>
                    <a:pt x="415126" y="293621"/>
                    <a:pt x="434328" y="294404"/>
                    <a:pt x="452877" y="295057"/>
                  </a:cubicBezTo>
                  <a:lnTo>
                    <a:pt x="455489" y="295057"/>
                  </a:lnTo>
                  <a:cubicBezTo>
                    <a:pt x="464372" y="269977"/>
                    <a:pt x="468029" y="243591"/>
                    <a:pt x="466723" y="215115"/>
                  </a:cubicBezTo>
                  <a:cubicBezTo>
                    <a:pt x="441904" y="205449"/>
                    <a:pt x="418784" y="202444"/>
                    <a:pt x="401149" y="201008"/>
                  </a:cubicBezTo>
                  <a:cubicBezTo>
                    <a:pt x="398667" y="200746"/>
                    <a:pt x="396447" y="199179"/>
                    <a:pt x="395663" y="196697"/>
                  </a:cubicBezTo>
                  <a:cubicBezTo>
                    <a:pt x="388740" y="177365"/>
                    <a:pt x="380902" y="157640"/>
                    <a:pt x="373326" y="138700"/>
                  </a:cubicBezTo>
                  <a:cubicBezTo>
                    <a:pt x="372542" y="136740"/>
                    <a:pt x="372804" y="134520"/>
                    <a:pt x="373849" y="132821"/>
                  </a:cubicBezTo>
                  <a:cubicBezTo>
                    <a:pt x="382470" y="119498"/>
                    <a:pt x="390699" y="107611"/>
                    <a:pt x="398667" y="96116"/>
                  </a:cubicBezTo>
                  <a:cubicBezTo>
                    <a:pt x="403239" y="89585"/>
                    <a:pt x="407550" y="83184"/>
                    <a:pt x="411991" y="76783"/>
                  </a:cubicBezTo>
                  <a:cubicBezTo>
                    <a:pt x="411207" y="76000"/>
                    <a:pt x="410424" y="75347"/>
                    <a:pt x="409771" y="74693"/>
                  </a:cubicBezTo>
                  <a:cubicBezTo>
                    <a:pt x="404154" y="69599"/>
                    <a:pt x="398276" y="64374"/>
                    <a:pt x="392397" y="59280"/>
                  </a:cubicBezTo>
                  <a:cubicBezTo>
                    <a:pt x="372412" y="42299"/>
                    <a:pt x="350598" y="27407"/>
                    <a:pt x="327608" y="14998"/>
                  </a:cubicBezTo>
                  <a:cubicBezTo>
                    <a:pt x="315198" y="35245"/>
                    <a:pt x="305010" y="54838"/>
                    <a:pt x="295213" y="73779"/>
                  </a:cubicBezTo>
                  <a:cubicBezTo>
                    <a:pt x="294037" y="76130"/>
                    <a:pt x="291425" y="77437"/>
                    <a:pt x="288812" y="77175"/>
                  </a:cubicBezTo>
                  <a:cubicBezTo>
                    <a:pt x="264124" y="74693"/>
                    <a:pt x="239175" y="75608"/>
                    <a:pt x="214617" y="79918"/>
                  </a:cubicBezTo>
                  <a:cubicBezTo>
                    <a:pt x="211613" y="80441"/>
                    <a:pt x="208608" y="78873"/>
                    <a:pt x="207433" y="76000"/>
                  </a:cubicBezTo>
                  <a:cubicBezTo>
                    <a:pt x="199334" y="56014"/>
                    <a:pt x="190060" y="36290"/>
                    <a:pt x="179740" y="17349"/>
                  </a:cubicBezTo>
                  <a:cubicBezTo>
                    <a:pt x="149958" y="30934"/>
                    <a:pt x="124486" y="47132"/>
                    <a:pt x="103717" y="65288"/>
                  </a:cubicBezTo>
                  <a:cubicBezTo>
                    <a:pt x="114297" y="83968"/>
                    <a:pt x="126184" y="100165"/>
                    <a:pt x="136504" y="114012"/>
                  </a:cubicBezTo>
                  <a:cubicBezTo>
                    <a:pt x="138071" y="116102"/>
                    <a:pt x="138202" y="119106"/>
                    <a:pt x="136765" y="121327"/>
                  </a:cubicBezTo>
                  <a:cubicBezTo>
                    <a:pt x="122657" y="143794"/>
                    <a:pt x="109464" y="165086"/>
                    <a:pt x="99406" y="187815"/>
                  </a:cubicBezTo>
                  <a:cubicBezTo>
                    <a:pt x="98100" y="190688"/>
                    <a:pt x="94965" y="192256"/>
                    <a:pt x="91961" y="191472"/>
                  </a:cubicBezTo>
                  <a:cubicBezTo>
                    <a:pt x="68317" y="185725"/>
                    <a:pt x="45327" y="179846"/>
                    <a:pt x="24558" y="174621"/>
                  </a:cubicBezTo>
                  <a:cubicBezTo>
                    <a:pt x="12671" y="212241"/>
                    <a:pt x="10190" y="246988"/>
                    <a:pt x="17113" y="277815"/>
                  </a:cubicBezTo>
                  <a:cubicBezTo>
                    <a:pt x="31743" y="275594"/>
                    <a:pt x="45719" y="272590"/>
                    <a:pt x="59174" y="269716"/>
                  </a:cubicBezTo>
                  <a:cubicBezTo>
                    <a:pt x="65966" y="268279"/>
                    <a:pt x="72628" y="266843"/>
                    <a:pt x="79290" y="265536"/>
                  </a:cubicBezTo>
                  <a:cubicBezTo>
                    <a:pt x="82294" y="264883"/>
                    <a:pt x="85299" y="266581"/>
                    <a:pt x="86474" y="269455"/>
                  </a:cubicBezTo>
                  <a:cubicBezTo>
                    <a:pt x="97708" y="296886"/>
                    <a:pt x="110117" y="318831"/>
                    <a:pt x="124225" y="336465"/>
                  </a:cubicBezTo>
                  <a:cubicBezTo>
                    <a:pt x="125923" y="338555"/>
                    <a:pt x="126054" y="341560"/>
                    <a:pt x="124617" y="343911"/>
                  </a:cubicBezTo>
                  <a:cubicBezTo>
                    <a:pt x="112469" y="363635"/>
                    <a:pt x="101235" y="379702"/>
                    <a:pt x="90393" y="394985"/>
                  </a:cubicBezTo>
                  <a:cubicBezTo>
                    <a:pt x="108027" y="416016"/>
                    <a:pt x="130756" y="432867"/>
                    <a:pt x="156750" y="444100"/>
                  </a:cubicBezTo>
                  <a:cubicBezTo>
                    <a:pt x="159363" y="439006"/>
                    <a:pt x="161975" y="434173"/>
                    <a:pt x="164457" y="429340"/>
                  </a:cubicBezTo>
                  <a:cubicBezTo>
                    <a:pt x="171250" y="416408"/>
                    <a:pt x="177650" y="404129"/>
                    <a:pt x="184443" y="392112"/>
                  </a:cubicBezTo>
                  <a:cubicBezTo>
                    <a:pt x="185749" y="389891"/>
                    <a:pt x="188231" y="388585"/>
                    <a:pt x="190713" y="388846"/>
                  </a:cubicBezTo>
                  <a:cubicBezTo>
                    <a:pt x="212397" y="391197"/>
                    <a:pt x="235648" y="392765"/>
                    <a:pt x="258246" y="389499"/>
                  </a:cubicBezTo>
                  <a:cubicBezTo>
                    <a:pt x="258507" y="389499"/>
                    <a:pt x="258899" y="389499"/>
                    <a:pt x="259160" y="389499"/>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201" name="Group 200">
            <a:extLst>
              <a:ext uri="{FF2B5EF4-FFF2-40B4-BE49-F238E27FC236}">
                <a16:creationId xmlns:a16="http://schemas.microsoft.com/office/drawing/2014/main" id="{8E9F3C81-AC0F-536F-C691-C0170C66F53E}"/>
              </a:ext>
            </a:extLst>
          </p:cNvPr>
          <p:cNvGrpSpPr/>
          <p:nvPr/>
        </p:nvGrpSpPr>
        <p:grpSpPr>
          <a:xfrm>
            <a:off x="9056209" y="1995501"/>
            <a:ext cx="261550" cy="258994"/>
            <a:chOff x="9345555" y="872096"/>
            <a:chExt cx="261550" cy="258994"/>
          </a:xfrm>
        </p:grpSpPr>
        <p:sp>
          <p:nvSpPr>
            <p:cNvPr id="202" name="Freeform: Shape 201">
              <a:extLst>
                <a:ext uri="{FF2B5EF4-FFF2-40B4-BE49-F238E27FC236}">
                  <a16:creationId xmlns:a16="http://schemas.microsoft.com/office/drawing/2014/main" id="{D6319040-F66B-7AEC-2D16-F4FBA0F89CB2}"/>
                </a:ext>
              </a:extLst>
            </p:cNvPr>
            <p:cNvSpPr/>
            <p:nvPr/>
          </p:nvSpPr>
          <p:spPr>
            <a:xfrm>
              <a:off x="9442271" y="959523"/>
              <a:ext cx="62533" cy="67760"/>
            </a:xfrm>
            <a:custGeom>
              <a:avLst/>
              <a:gdLst>
                <a:gd name="connsiteX0" fmla="*/ 31541 w 70395"/>
                <a:gd name="connsiteY0" fmla="*/ 74097 h 74096"/>
                <a:gd name="connsiteX1" fmla="*/ 14821 w 70395"/>
                <a:gd name="connsiteY1" fmla="*/ 70570 h 74096"/>
                <a:gd name="connsiteX2" fmla="*/ 4371 w 70395"/>
                <a:gd name="connsiteY2" fmla="*/ 62602 h 74096"/>
                <a:gd name="connsiteX3" fmla="*/ 191 w 70395"/>
                <a:gd name="connsiteY3" fmla="*/ 48886 h 74096"/>
                <a:gd name="connsiteX4" fmla="*/ 9596 w 70395"/>
                <a:gd name="connsiteY4" fmla="*/ 13487 h 74096"/>
                <a:gd name="connsiteX5" fmla="*/ 45126 w 70395"/>
                <a:gd name="connsiteY5" fmla="*/ 1469 h 74096"/>
                <a:gd name="connsiteX6" fmla="*/ 47477 w 70395"/>
                <a:gd name="connsiteY6" fmla="*/ 2906 h 74096"/>
                <a:gd name="connsiteX7" fmla="*/ 70336 w 70395"/>
                <a:gd name="connsiteY7" fmla="*/ 33995 h 74096"/>
                <a:gd name="connsiteX8" fmla="*/ 52571 w 70395"/>
                <a:gd name="connsiteY8" fmla="*/ 68219 h 74096"/>
                <a:gd name="connsiteX9" fmla="*/ 31541 w 70395"/>
                <a:gd name="connsiteY9" fmla="*/ 74097 h 74096"/>
                <a:gd name="connsiteX10" fmla="*/ 36243 w 70395"/>
                <a:gd name="connsiteY10" fmla="*/ 12964 h 74096"/>
                <a:gd name="connsiteX11" fmla="*/ 19784 w 70395"/>
                <a:gd name="connsiteY11" fmla="*/ 21455 h 74096"/>
                <a:gd name="connsiteX12" fmla="*/ 13122 w 70395"/>
                <a:gd name="connsiteY12" fmla="*/ 47972 h 74096"/>
                <a:gd name="connsiteX13" fmla="*/ 14951 w 70395"/>
                <a:gd name="connsiteY13" fmla="*/ 55287 h 74096"/>
                <a:gd name="connsiteX14" fmla="*/ 20046 w 70395"/>
                <a:gd name="connsiteY14" fmla="*/ 58944 h 74096"/>
                <a:gd name="connsiteX15" fmla="*/ 45648 w 70395"/>
                <a:gd name="connsiteY15" fmla="*/ 57377 h 74096"/>
                <a:gd name="connsiteX16" fmla="*/ 57404 w 70395"/>
                <a:gd name="connsiteY16" fmla="*/ 34779 h 74096"/>
                <a:gd name="connsiteX17" fmla="*/ 43166 w 70395"/>
                <a:gd name="connsiteY17" fmla="*/ 15054 h 74096"/>
                <a:gd name="connsiteX18" fmla="*/ 42252 w 70395"/>
                <a:gd name="connsiteY18" fmla="*/ 14793 h 74096"/>
                <a:gd name="connsiteX19" fmla="*/ 38725 w 70395"/>
                <a:gd name="connsiteY19" fmla="*/ 13095 h 74096"/>
                <a:gd name="connsiteX20" fmla="*/ 36243 w 70395"/>
                <a:gd name="connsiteY20" fmla="*/ 12964 h 7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395" h="74096">
                  <a:moveTo>
                    <a:pt x="31541" y="74097"/>
                  </a:moveTo>
                  <a:cubicBezTo>
                    <a:pt x="25924" y="74097"/>
                    <a:pt x="20176" y="72921"/>
                    <a:pt x="14821" y="70570"/>
                  </a:cubicBezTo>
                  <a:cubicBezTo>
                    <a:pt x="10118" y="68480"/>
                    <a:pt x="6722" y="65867"/>
                    <a:pt x="4371" y="62602"/>
                  </a:cubicBezTo>
                  <a:cubicBezTo>
                    <a:pt x="1236" y="58161"/>
                    <a:pt x="452" y="52936"/>
                    <a:pt x="191" y="48886"/>
                  </a:cubicBezTo>
                  <a:cubicBezTo>
                    <a:pt x="-854" y="35171"/>
                    <a:pt x="2411" y="22631"/>
                    <a:pt x="9596" y="13487"/>
                  </a:cubicBezTo>
                  <a:cubicBezTo>
                    <a:pt x="18347" y="2253"/>
                    <a:pt x="32978" y="-2711"/>
                    <a:pt x="45126" y="1469"/>
                  </a:cubicBezTo>
                  <a:cubicBezTo>
                    <a:pt x="46040" y="1731"/>
                    <a:pt x="46824" y="2253"/>
                    <a:pt x="47477" y="2906"/>
                  </a:cubicBezTo>
                  <a:cubicBezTo>
                    <a:pt x="60147" y="7348"/>
                    <a:pt x="69552" y="20018"/>
                    <a:pt x="70336" y="33995"/>
                  </a:cubicBezTo>
                  <a:cubicBezTo>
                    <a:pt x="71120" y="47449"/>
                    <a:pt x="64066" y="60904"/>
                    <a:pt x="52571" y="68219"/>
                  </a:cubicBezTo>
                  <a:cubicBezTo>
                    <a:pt x="46301" y="72137"/>
                    <a:pt x="38986" y="74097"/>
                    <a:pt x="31541" y="74097"/>
                  </a:cubicBezTo>
                  <a:close/>
                  <a:moveTo>
                    <a:pt x="36243" y="12964"/>
                  </a:moveTo>
                  <a:cubicBezTo>
                    <a:pt x="30365" y="12964"/>
                    <a:pt x="23965" y="16099"/>
                    <a:pt x="19784" y="21455"/>
                  </a:cubicBezTo>
                  <a:cubicBezTo>
                    <a:pt x="14690" y="27986"/>
                    <a:pt x="12339" y="37391"/>
                    <a:pt x="13122" y="47972"/>
                  </a:cubicBezTo>
                  <a:cubicBezTo>
                    <a:pt x="13253" y="50323"/>
                    <a:pt x="13645" y="53327"/>
                    <a:pt x="14951" y="55287"/>
                  </a:cubicBezTo>
                  <a:cubicBezTo>
                    <a:pt x="15866" y="56593"/>
                    <a:pt x="17564" y="57769"/>
                    <a:pt x="20046" y="58944"/>
                  </a:cubicBezTo>
                  <a:cubicBezTo>
                    <a:pt x="28406" y="62602"/>
                    <a:pt x="38203" y="62079"/>
                    <a:pt x="45648" y="57377"/>
                  </a:cubicBezTo>
                  <a:cubicBezTo>
                    <a:pt x="53224" y="52674"/>
                    <a:pt x="57927" y="43531"/>
                    <a:pt x="57404" y="34779"/>
                  </a:cubicBezTo>
                  <a:cubicBezTo>
                    <a:pt x="56882" y="26027"/>
                    <a:pt x="50873" y="17798"/>
                    <a:pt x="43166" y="15054"/>
                  </a:cubicBezTo>
                  <a:lnTo>
                    <a:pt x="42252" y="14793"/>
                  </a:lnTo>
                  <a:cubicBezTo>
                    <a:pt x="41468" y="14532"/>
                    <a:pt x="40031" y="14140"/>
                    <a:pt x="38725" y="13095"/>
                  </a:cubicBezTo>
                  <a:cubicBezTo>
                    <a:pt x="37941" y="12964"/>
                    <a:pt x="37027" y="12964"/>
                    <a:pt x="36243" y="12964"/>
                  </a:cubicBez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sp>
          <p:nvSpPr>
            <p:cNvPr id="203" name="Freeform: Shape 202">
              <a:extLst>
                <a:ext uri="{FF2B5EF4-FFF2-40B4-BE49-F238E27FC236}">
                  <a16:creationId xmlns:a16="http://schemas.microsoft.com/office/drawing/2014/main" id="{2D8BF4AC-56B4-3A0C-5A20-D2795893DABA}"/>
                </a:ext>
              </a:extLst>
            </p:cNvPr>
            <p:cNvSpPr/>
            <p:nvPr userDrawn="1"/>
          </p:nvSpPr>
          <p:spPr>
            <a:xfrm>
              <a:off x="9345555" y="872096"/>
              <a:ext cx="261550" cy="258994"/>
            </a:xfrm>
            <a:custGeom>
              <a:avLst/>
              <a:gdLst>
                <a:gd name="connsiteX0" fmla="*/ 175815 w 294433"/>
                <a:gd name="connsiteY0" fmla="*/ 282820 h 283211"/>
                <a:gd name="connsiteX1" fmla="*/ 169807 w 294433"/>
                <a:gd name="connsiteY1" fmla="*/ 278770 h 283211"/>
                <a:gd name="connsiteX2" fmla="*/ 155438 w 294433"/>
                <a:gd name="connsiteY2" fmla="*/ 247682 h 283211"/>
                <a:gd name="connsiteX3" fmla="*/ 120692 w 294433"/>
                <a:gd name="connsiteY3" fmla="*/ 247290 h 283211"/>
                <a:gd name="connsiteX4" fmla="*/ 110895 w 294433"/>
                <a:gd name="connsiteY4" fmla="*/ 265708 h 283211"/>
                <a:gd name="connsiteX5" fmla="*/ 104494 w 294433"/>
                <a:gd name="connsiteY5" fmla="*/ 277856 h 283211"/>
                <a:gd name="connsiteX6" fmla="*/ 96396 w 294433"/>
                <a:gd name="connsiteY6" fmla="*/ 280860 h 283211"/>
                <a:gd name="connsiteX7" fmla="*/ 47020 w 294433"/>
                <a:gd name="connsiteY7" fmla="*/ 244547 h 283211"/>
                <a:gd name="connsiteX8" fmla="*/ 46758 w 294433"/>
                <a:gd name="connsiteY8" fmla="*/ 236840 h 283211"/>
                <a:gd name="connsiteX9" fmla="*/ 66352 w 294433"/>
                <a:gd name="connsiteY9" fmla="*/ 207972 h 283211"/>
                <a:gd name="connsiteX10" fmla="*/ 47020 w 294433"/>
                <a:gd name="connsiteY10" fmla="*/ 173617 h 283211"/>
                <a:gd name="connsiteX11" fmla="*/ 40227 w 294433"/>
                <a:gd name="connsiteY11" fmla="*/ 175054 h 283211"/>
                <a:gd name="connsiteX12" fmla="*/ 10706 w 294433"/>
                <a:gd name="connsiteY12" fmla="*/ 180541 h 283211"/>
                <a:gd name="connsiteX13" fmla="*/ 3521 w 294433"/>
                <a:gd name="connsiteY13" fmla="*/ 175838 h 283211"/>
                <a:gd name="connsiteX14" fmla="*/ 8485 w 294433"/>
                <a:gd name="connsiteY14" fmla="*/ 100859 h 283211"/>
                <a:gd name="connsiteX15" fmla="*/ 16192 w 294433"/>
                <a:gd name="connsiteY15" fmla="*/ 96679 h 283211"/>
                <a:gd name="connsiteX16" fmla="*/ 55118 w 294433"/>
                <a:gd name="connsiteY16" fmla="*/ 106476 h 283211"/>
                <a:gd name="connsiteX17" fmla="*/ 73797 w 294433"/>
                <a:gd name="connsiteY17" fmla="*/ 73820 h 283211"/>
                <a:gd name="connsiteX18" fmla="*/ 54465 w 294433"/>
                <a:gd name="connsiteY18" fmla="*/ 44168 h 283211"/>
                <a:gd name="connsiteX19" fmla="*/ 55771 w 294433"/>
                <a:gd name="connsiteY19" fmla="*/ 36331 h 283211"/>
                <a:gd name="connsiteX20" fmla="*/ 109981 w 294433"/>
                <a:gd name="connsiteY20" fmla="*/ 2107 h 283211"/>
                <a:gd name="connsiteX21" fmla="*/ 118210 w 294433"/>
                <a:gd name="connsiteY21" fmla="*/ 4850 h 283211"/>
                <a:gd name="connsiteX22" fmla="*/ 135191 w 294433"/>
                <a:gd name="connsiteY22" fmla="*/ 39727 h 283211"/>
                <a:gd name="connsiteX23" fmla="*/ 173203 w 294433"/>
                <a:gd name="connsiteY23" fmla="*/ 38421 h 283211"/>
                <a:gd name="connsiteX24" fmla="*/ 193058 w 294433"/>
                <a:gd name="connsiteY24" fmla="*/ 3021 h 283211"/>
                <a:gd name="connsiteX25" fmla="*/ 201548 w 294433"/>
                <a:gd name="connsiteY25" fmla="*/ 670 h 283211"/>
                <a:gd name="connsiteX26" fmla="*/ 245700 w 294433"/>
                <a:gd name="connsiteY26" fmla="*/ 30322 h 283211"/>
                <a:gd name="connsiteX27" fmla="*/ 256280 w 294433"/>
                <a:gd name="connsiteY27" fmla="*/ 39596 h 283211"/>
                <a:gd name="connsiteX28" fmla="*/ 261767 w 294433"/>
                <a:gd name="connsiteY28" fmla="*/ 47303 h 283211"/>
                <a:gd name="connsiteX29" fmla="*/ 260852 w 294433"/>
                <a:gd name="connsiteY29" fmla="*/ 52528 h 283211"/>
                <a:gd name="connsiteX30" fmla="*/ 251447 w 294433"/>
                <a:gd name="connsiteY30" fmla="*/ 66374 h 283211"/>
                <a:gd name="connsiteX31" fmla="*/ 238515 w 294433"/>
                <a:gd name="connsiteY31" fmla="*/ 85446 h 283211"/>
                <a:gd name="connsiteX32" fmla="*/ 249488 w 294433"/>
                <a:gd name="connsiteY32" fmla="*/ 113791 h 283211"/>
                <a:gd name="connsiteX33" fmla="*/ 290243 w 294433"/>
                <a:gd name="connsiteY33" fmla="*/ 123588 h 283211"/>
                <a:gd name="connsiteX34" fmla="*/ 294161 w 294433"/>
                <a:gd name="connsiteY34" fmla="*/ 129205 h 283211"/>
                <a:gd name="connsiteX35" fmla="*/ 285932 w 294433"/>
                <a:gd name="connsiteY35" fmla="*/ 186811 h 283211"/>
                <a:gd name="connsiteX36" fmla="*/ 279662 w 294433"/>
                <a:gd name="connsiteY36" fmla="*/ 190990 h 283211"/>
                <a:gd name="connsiteX37" fmla="*/ 275221 w 294433"/>
                <a:gd name="connsiteY37" fmla="*/ 190990 h 283211"/>
                <a:gd name="connsiteX38" fmla="*/ 245177 w 294433"/>
                <a:gd name="connsiteY38" fmla="*/ 190729 h 283211"/>
                <a:gd name="connsiteX39" fmla="*/ 226367 w 294433"/>
                <a:gd name="connsiteY39" fmla="*/ 221165 h 283211"/>
                <a:gd name="connsiteX40" fmla="*/ 243087 w 294433"/>
                <a:gd name="connsiteY40" fmla="*/ 254605 h 283211"/>
                <a:gd name="connsiteX41" fmla="*/ 240214 w 294433"/>
                <a:gd name="connsiteY41" fmla="*/ 262703 h 283211"/>
                <a:gd name="connsiteX42" fmla="*/ 176861 w 294433"/>
                <a:gd name="connsiteY42" fmla="*/ 283212 h 283211"/>
                <a:gd name="connsiteX43" fmla="*/ 176207 w 294433"/>
                <a:gd name="connsiteY43" fmla="*/ 283212 h 283211"/>
                <a:gd name="connsiteX44" fmla="*/ 158704 w 294433"/>
                <a:gd name="connsiteY44" fmla="*/ 234227 h 283211"/>
                <a:gd name="connsiteX45" fmla="*/ 164190 w 294433"/>
                <a:gd name="connsiteY45" fmla="*/ 237232 h 283211"/>
                <a:gd name="connsiteX46" fmla="*/ 179995 w 294433"/>
                <a:gd name="connsiteY46" fmla="*/ 269365 h 283211"/>
                <a:gd name="connsiteX47" fmla="*/ 228457 w 294433"/>
                <a:gd name="connsiteY47" fmla="*/ 253690 h 283211"/>
                <a:gd name="connsiteX48" fmla="*/ 212652 w 294433"/>
                <a:gd name="connsiteY48" fmla="*/ 223385 h 283211"/>
                <a:gd name="connsiteX49" fmla="*/ 213305 w 294433"/>
                <a:gd name="connsiteY49" fmla="*/ 216070 h 283211"/>
                <a:gd name="connsiteX50" fmla="*/ 234335 w 294433"/>
                <a:gd name="connsiteY50" fmla="*/ 181977 h 283211"/>
                <a:gd name="connsiteX51" fmla="*/ 239822 w 294433"/>
                <a:gd name="connsiteY51" fmla="*/ 177797 h 283211"/>
                <a:gd name="connsiteX52" fmla="*/ 275221 w 294433"/>
                <a:gd name="connsiteY52" fmla="*/ 177536 h 283211"/>
                <a:gd name="connsiteX53" fmla="*/ 281360 w 294433"/>
                <a:gd name="connsiteY53" fmla="*/ 133777 h 283211"/>
                <a:gd name="connsiteX54" fmla="*/ 244132 w 294433"/>
                <a:gd name="connsiteY54" fmla="*/ 126070 h 283211"/>
                <a:gd name="connsiteX55" fmla="*/ 238646 w 294433"/>
                <a:gd name="connsiteY55" fmla="*/ 121759 h 283211"/>
                <a:gd name="connsiteX56" fmla="*/ 225322 w 294433"/>
                <a:gd name="connsiteY56" fmla="*/ 87274 h 283211"/>
                <a:gd name="connsiteX57" fmla="*/ 225714 w 294433"/>
                <a:gd name="connsiteY57" fmla="*/ 81004 h 283211"/>
                <a:gd name="connsiteX58" fmla="*/ 240736 w 294433"/>
                <a:gd name="connsiteY58" fmla="*/ 58798 h 283211"/>
                <a:gd name="connsiteX59" fmla="*/ 247398 w 294433"/>
                <a:gd name="connsiteY59" fmla="*/ 49001 h 283211"/>
                <a:gd name="connsiteX60" fmla="*/ 237209 w 294433"/>
                <a:gd name="connsiteY60" fmla="*/ 40119 h 283211"/>
                <a:gd name="connsiteX61" fmla="*/ 200765 w 294433"/>
                <a:gd name="connsiteY61" fmla="*/ 14908 h 283211"/>
                <a:gd name="connsiteX62" fmla="*/ 182608 w 294433"/>
                <a:gd name="connsiteY62" fmla="*/ 47956 h 283211"/>
                <a:gd name="connsiteX63" fmla="*/ 176207 w 294433"/>
                <a:gd name="connsiteY63" fmla="*/ 51483 h 283211"/>
                <a:gd name="connsiteX64" fmla="*/ 132187 w 294433"/>
                <a:gd name="connsiteY64" fmla="*/ 53181 h 283211"/>
                <a:gd name="connsiteX65" fmla="*/ 125003 w 294433"/>
                <a:gd name="connsiteY65" fmla="*/ 49263 h 283211"/>
                <a:gd name="connsiteX66" fmla="*/ 109589 w 294433"/>
                <a:gd name="connsiteY66" fmla="*/ 16345 h 283211"/>
                <a:gd name="connsiteX67" fmla="*/ 68181 w 294433"/>
                <a:gd name="connsiteY67" fmla="*/ 42470 h 283211"/>
                <a:gd name="connsiteX68" fmla="*/ 86730 w 294433"/>
                <a:gd name="connsiteY68" fmla="*/ 69640 h 283211"/>
                <a:gd name="connsiteX69" fmla="*/ 86991 w 294433"/>
                <a:gd name="connsiteY69" fmla="*/ 76955 h 283211"/>
                <a:gd name="connsiteX70" fmla="*/ 64654 w 294433"/>
                <a:gd name="connsiteY70" fmla="*/ 116665 h 283211"/>
                <a:gd name="connsiteX71" fmla="*/ 57208 w 294433"/>
                <a:gd name="connsiteY71" fmla="*/ 120322 h 283211"/>
                <a:gd name="connsiteX72" fmla="*/ 18935 w 294433"/>
                <a:gd name="connsiteY72" fmla="*/ 110787 h 283211"/>
                <a:gd name="connsiteX73" fmla="*/ 14755 w 294433"/>
                <a:gd name="connsiteY73" fmla="*/ 166956 h 283211"/>
                <a:gd name="connsiteX74" fmla="*/ 37615 w 294433"/>
                <a:gd name="connsiteY74" fmla="*/ 162514 h 283211"/>
                <a:gd name="connsiteX75" fmla="*/ 49763 w 294433"/>
                <a:gd name="connsiteY75" fmla="*/ 160032 h 283211"/>
                <a:gd name="connsiteX76" fmla="*/ 56947 w 294433"/>
                <a:gd name="connsiteY76" fmla="*/ 163951 h 283211"/>
                <a:gd name="connsiteX77" fmla="*/ 79284 w 294433"/>
                <a:gd name="connsiteY77" fmla="*/ 203661 h 283211"/>
                <a:gd name="connsiteX78" fmla="*/ 79676 w 294433"/>
                <a:gd name="connsiteY78" fmla="*/ 211107 h 283211"/>
                <a:gd name="connsiteX79" fmla="*/ 60082 w 294433"/>
                <a:gd name="connsiteY79" fmla="*/ 240367 h 283211"/>
                <a:gd name="connsiteX80" fmla="*/ 95612 w 294433"/>
                <a:gd name="connsiteY80" fmla="*/ 266753 h 283211"/>
                <a:gd name="connsiteX81" fmla="*/ 99139 w 294433"/>
                <a:gd name="connsiteY81" fmla="*/ 259960 h 283211"/>
                <a:gd name="connsiteX82" fmla="*/ 111156 w 294433"/>
                <a:gd name="connsiteY82" fmla="*/ 237493 h 283211"/>
                <a:gd name="connsiteX83" fmla="*/ 117426 w 294433"/>
                <a:gd name="connsiteY83" fmla="*/ 234227 h 283211"/>
                <a:gd name="connsiteX84" fmla="*/ 157398 w 294433"/>
                <a:gd name="connsiteY84" fmla="*/ 234619 h 283211"/>
                <a:gd name="connsiteX85" fmla="*/ 158312 w 294433"/>
                <a:gd name="connsiteY85" fmla="*/ 234619 h 283211"/>
                <a:gd name="connsiteX86" fmla="*/ 249227 w 294433"/>
                <a:gd name="connsiteY86" fmla="*/ 50699 h 283211"/>
                <a:gd name="connsiteX87" fmla="*/ 249227 w 294433"/>
                <a:gd name="connsiteY87" fmla="*/ 50699 h 28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94433" h="283211">
                  <a:moveTo>
                    <a:pt x="175815" y="282820"/>
                  </a:moveTo>
                  <a:cubicBezTo>
                    <a:pt x="173203" y="282820"/>
                    <a:pt x="170852" y="281252"/>
                    <a:pt x="169807" y="278770"/>
                  </a:cubicBezTo>
                  <a:cubicBezTo>
                    <a:pt x="165627" y="268059"/>
                    <a:pt x="161577" y="257870"/>
                    <a:pt x="155438" y="247682"/>
                  </a:cubicBezTo>
                  <a:cubicBezTo>
                    <a:pt x="143682" y="248988"/>
                    <a:pt x="131926" y="248335"/>
                    <a:pt x="120692" y="247290"/>
                  </a:cubicBezTo>
                  <a:cubicBezTo>
                    <a:pt x="117426" y="253299"/>
                    <a:pt x="114160" y="259307"/>
                    <a:pt x="110895" y="265708"/>
                  </a:cubicBezTo>
                  <a:cubicBezTo>
                    <a:pt x="108805" y="269627"/>
                    <a:pt x="106715" y="273676"/>
                    <a:pt x="104494" y="277856"/>
                  </a:cubicBezTo>
                  <a:cubicBezTo>
                    <a:pt x="102927" y="280730"/>
                    <a:pt x="99531" y="282036"/>
                    <a:pt x="96396" y="280860"/>
                  </a:cubicBezTo>
                  <a:cubicBezTo>
                    <a:pt x="76802" y="273153"/>
                    <a:pt x="59690" y="260613"/>
                    <a:pt x="47020" y="244547"/>
                  </a:cubicBezTo>
                  <a:cubicBezTo>
                    <a:pt x="45191" y="242326"/>
                    <a:pt x="45191" y="239191"/>
                    <a:pt x="46758" y="236840"/>
                  </a:cubicBezTo>
                  <a:cubicBezTo>
                    <a:pt x="53028" y="227957"/>
                    <a:pt x="59429" y="218944"/>
                    <a:pt x="66352" y="207972"/>
                  </a:cubicBezTo>
                  <a:cubicBezTo>
                    <a:pt x="59298" y="198436"/>
                    <a:pt x="52898" y="187072"/>
                    <a:pt x="47020" y="173617"/>
                  </a:cubicBezTo>
                  <a:cubicBezTo>
                    <a:pt x="44799" y="174140"/>
                    <a:pt x="42448" y="174532"/>
                    <a:pt x="40227" y="175054"/>
                  </a:cubicBezTo>
                  <a:cubicBezTo>
                    <a:pt x="30822" y="177014"/>
                    <a:pt x="21156" y="179104"/>
                    <a:pt x="10706" y="180541"/>
                  </a:cubicBezTo>
                  <a:cubicBezTo>
                    <a:pt x="7440" y="180932"/>
                    <a:pt x="4436" y="178973"/>
                    <a:pt x="3521" y="175838"/>
                  </a:cubicBezTo>
                  <a:cubicBezTo>
                    <a:pt x="-2487" y="153501"/>
                    <a:pt x="-789" y="128291"/>
                    <a:pt x="8485" y="100859"/>
                  </a:cubicBezTo>
                  <a:cubicBezTo>
                    <a:pt x="9530" y="97724"/>
                    <a:pt x="12926" y="95896"/>
                    <a:pt x="16192" y="96679"/>
                  </a:cubicBezTo>
                  <a:cubicBezTo>
                    <a:pt x="28993" y="99945"/>
                    <a:pt x="41664" y="103211"/>
                    <a:pt x="55118" y="106476"/>
                  </a:cubicBezTo>
                  <a:cubicBezTo>
                    <a:pt x="60474" y="95243"/>
                    <a:pt x="67136" y="84401"/>
                    <a:pt x="73797" y="73820"/>
                  </a:cubicBezTo>
                  <a:cubicBezTo>
                    <a:pt x="67528" y="65329"/>
                    <a:pt x="60605" y="55533"/>
                    <a:pt x="54465" y="44168"/>
                  </a:cubicBezTo>
                  <a:cubicBezTo>
                    <a:pt x="53028" y="41556"/>
                    <a:pt x="53551" y="38290"/>
                    <a:pt x="55771" y="36331"/>
                  </a:cubicBezTo>
                  <a:cubicBezTo>
                    <a:pt x="70271" y="23138"/>
                    <a:pt x="88427" y="11643"/>
                    <a:pt x="109981" y="2107"/>
                  </a:cubicBezTo>
                  <a:cubicBezTo>
                    <a:pt x="112985" y="801"/>
                    <a:pt x="116642" y="1976"/>
                    <a:pt x="118210" y="4850"/>
                  </a:cubicBezTo>
                  <a:cubicBezTo>
                    <a:pt x="124480" y="16084"/>
                    <a:pt x="130227" y="27840"/>
                    <a:pt x="135191" y="39727"/>
                  </a:cubicBezTo>
                  <a:cubicBezTo>
                    <a:pt x="147731" y="37898"/>
                    <a:pt x="160532" y="37376"/>
                    <a:pt x="173203" y="38421"/>
                  </a:cubicBezTo>
                  <a:cubicBezTo>
                    <a:pt x="179081" y="27056"/>
                    <a:pt x="185351" y="15300"/>
                    <a:pt x="193058" y="3021"/>
                  </a:cubicBezTo>
                  <a:cubicBezTo>
                    <a:pt x="194887" y="148"/>
                    <a:pt x="198544" y="-767"/>
                    <a:pt x="201548" y="670"/>
                  </a:cubicBezTo>
                  <a:cubicBezTo>
                    <a:pt x="217224" y="8900"/>
                    <a:pt x="232115" y="18827"/>
                    <a:pt x="245700" y="30322"/>
                  </a:cubicBezTo>
                  <a:cubicBezTo>
                    <a:pt x="249227" y="33326"/>
                    <a:pt x="252754" y="36461"/>
                    <a:pt x="256280" y="39596"/>
                  </a:cubicBezTo>
                  <a:cubicBezTo>
                    <a:pt x="258370" y="41425"/>
                    <a:pt x="260852" y="43776"/>
                    <a:pt x="261767" y="47303"/>
                  </a:cubicBezTo>
                  <a:cubicBezTo>
                    <a:pt x="262159" y="49132"/>
                    <a:pt x="261767" y="50961"/>
                    <a:pt x="260852" y="52528"/>
                  </a:cubicBezTo>
                  <a:cubicBezTo>
                    <a:pt x="257848" y="57100"/>
                    <a:pt x="254582" y="61672"/>
                    <a:pt x="251447" y="66374"/>
                  </a:cubicBezTo>
                  <a:cubicBezTo>
                    <a:pt x="247267" y="72383"/>
                    <a:pt x="242957" y="78653"/>
                    <a:pt x="238515" y="85446"/>
                  </a:cubicBezTo>
                  <a:cubicBezTo>
                    <a:pt x="242304" y="94851"/>
                    <a:pt x="246092" y="104386"/>
                    <a:pt x="249488" y="113791"/>
                  </a:cubicBezTo>
                  <a:cubicBezTo>
                    <a:pt x="260852" y="114967"/>
                    <a:pt x="274960" y="117318"/>
                    <a:pt x="290243" y="123588"/>
                  </a:cubicBezTo>
                  <a:cubicBezTo>
                    <a:pt x="292464" y="124502"/>
                    <a:pt x="294031" y="126723"/>
                    <a:pt x="294161" y="129205"/>
                  </a:cubicBezTo>
                  <a:cubicBezTo>
                    <a:pt x="295337" y="149844"/>
                    <a:pt x="292725" y="168654"/>
                    <a:pt x="285932" y="186811"/>
                  </a:cubicBezTo>
                  <a:cubicBezTo>
                    <a:pt x="285018" y="189423"/>
                    <a:pt x="282667" y="191121"/>
                    <a:pt x="279662" y="190990"/>
                  </a:cubicBezTo>
                  <a:lnTo>
                    <a:pt x="275221" y="190990"/>
                  </a:lnTo>
                  <a:cubicBezTo>
                    <a:pt x="265555" y="190468"/>
                    <a:pt x="255627" y="190076"/>
                    <a:pt x="245177" y="190729"/>
                  </a:cubicBezTo>
                  <a:cubicBezTo>
                    <a:pt x="240997" y="200526"/>
                    <a:pt x="234858" y="210323"/>
                    <a:pt x="226367" y="221165"/>
                  </a:cubicBezTo>
                  <a:cubicBezTo>
                    <a:pt x="232115" y="231354"/>
                    <a:pt x="237993" y="242065"/>
                    <a:pt x="243087" y="254605"/>
                  </a:cubicBezTo>
                  <a:cubicBezTo>
                    <a:pt x="244393" y="257609"/>
                    <a:pt x="243087" y="261136"/>
                    <a:pt x="240214" y="262703"/>
                  </a:cubicBezTo>
                  <a:cubicBezTo>
                    <a:pt x="219444" y="274068"/>
                    <a:pt x="198152" y="280860"/>
                    <a:pt x="176861" y="283212"/>
                  </a:cubicBezTo>
                  <a:cubicBezTo>
                    <a:pt x="176599" y="283212"/>
                    <a:pt x="176338" y="283212"/>
                    <a:pt x="176207" y="283212"/>
                  </a:cubicBezTo>
                  <a:close/>
                  <a:moveTo>
                    <a:pt x="158704" y="234227"/>
                  </a:moveTo>
                  <a:cubicBezTo>
                    <a:pt x="160924" y="234227"/>
                    <a:pt x="162884" y="235272"/>
                    <a:pt x="164190" y="237232"/>
                  </a:cubicBezTo>
                  <a:cubicBezTo>
                    <a:pt x="171113" y="248074"/>
                    <a:pt x="175815" y="258915"/>
                    <a:pt x="179995" y="269365"/>
                  </a:cubicBezTo>
                  <a:cubicBezTo>
                    <a:pt x="196193" y="267014"/>
                    <a:pt x="212521" y="261789"/>
                    <a:pt x="228457" y="253690"/>
                  </a:cubicBezTo>
                  <a:cubicBezTo>
                    <a:pt x="223624" y="242718"/>
                    <a:pt x="218268" y="233313"/>
                    <a:pt x="212652" y="223385"/>
                  </a:cubicBezTo>
                  <a:cubicBezTo>
                    <a:pt x="211345" y="221034"/>
                    <a:pt x="211607" y="218030"/>
                    <a:pt x="213305" y="216070"/>
                  </a:cubicBezTo>
                  <a:cubicBezTo>
                    <a:pt x="223624" y="203530"/>
                    <a:pt x="230286" y="192689"/>
                    <a:pt x="234335" y="181977"/>
                  </a:cubicBezTo>
                  <a:cubicBezTo>
                    <a:pt x="235250" y="179626"/>
                    <a:pt x="237340" y="178059"/>
                    <a:pt x="239822" y="177797"/>
                  </a:cubicBezTo>
                  <a:cubicBezTo>
                    <a:pt x="252492" y="176622"/>
                    <a:pt x="264118" y="177014"/>
                    <a:pt x="275221" y="177536"/>
                  </a:cubicBezTo>
                  <a:cubicBezTo>
                    <a:pt x="279793" y="163690"/>
                    <a:pt x="281883" y="149321"/>
                    <a:pt x="281360" y="133777"/>
                  </a:cubicBezTo>
                  <a:cubicBezTo>
                    <a:pt x="267253" y="128552"/>
                    <a:pt x="254190" y="126854"/>
                    <a:pt x="244132" y="126070"/>
                  </a:cubicBezTo>
                  <a:cubicBezTo>
                    <a:pt x="241650" y="125809"/>
                    <a:pt x="239430" y="124241"/>
                    <a:pt x="238646" y="121759"/>
                  </a:cubicBezTo>
                  <a:cubicBezTo>
                    <a:pt x="234596" y="110264"/>
                    <a:pt x="229894" y="98508"/>
                    <a:pt x="225322" y="87274"/>
                  </a:cubicBezTo>
                  <a:cubicBezTo>
                    <a:pt x="224539" y="85315"/>
                    <a:pt x="224669" y="82703"/>
                    <a:pt x="225714" y="81004"/>
                  </a:cubicBezTo>
                  <a:cubicBezTo>
                    <a:pt x="230939" y="72906"/>
                    <a:pt x="235903" y="65721"/>
                    <a:pt x="240736" y="58798"/>
                  </a:cubicBezTo>
                  <a:cubicBezTo>
                    <a:pt x="242957" y="55533"/>
                    <a:pt x="245308" y="52267"/>
                    <a:pt x="247398" y="49001"/>
                  </a:cubicBezTo>
                  <a:cubicBezTo>
                    <a:pt x="243871" y="45866"/>
                    <a:pt x="240606" y="42993"/>
                    <a:pt x="237209" y="40119"/>
                  </a:cubicBezTo>
                  <a:cubicBezTo>
                    <a:pt x="225845" y="30583"/>
                    <a:pt x="213697" y="22093"/>
                    <a:pt x="200765" y="14908"/>
                  </a:cubicBezTo>
                  <a:cubicBezTo>
                    <a:pt x="193972" y="26273"/>
                    <a:pt x="188225" y="37245"/>
                    <a:pt x="182608" y="47956"/>
                  </a:cubicBezTo>
                  <a:cubicBezTo>
                    <a:pt x="181433" y="50308"/>
                    <a:pt x="178820" y="51744"/>
                    <a:pt x="176207" y="51483"/>
                  </a:cubicBezTo>
                  <a:cubicBezTo>
                    <a:pt x="161577" y="50046"/>
                    <a:pt x="146817" y="50569"/>
                    <a:pt x="132187" y="53181"/>
                  </a:cubicBezTo>
                  <a:cubicBezTo>
                    <a:pt x="129183" y="53704"/>
                    <a:pt x="126178" y="52136"/>
                    <a:pt x="125003" y="49263"/>
                  </a:cubicBezTo>
                  <a:cubicBezTo>
                    <a:pt x="120431" y="38029"/>
                    <a:pt x="115336" y="26926"/>
                    <a:pt x="109589" y="16345"/>
                  </a:cubicBezTo>
                  <a:cubicBezTo>
                    <a:pt x="93522" y="23921"/>
                    <a:pt x="79676" y="32673"/>
                    <a:pt x="68181" y="42470"/>
                  </a:cubicBezTo>
                  <a:cubicBezTo>
                    <a:pt x="74189" y="52789"/>
                    <a:pt x="80851" y="61933"/>
                    <a:pt x="86730" y="69640"/>
                  </a:cubicBezTo>
                  <a:cubicBezTo>
                    <a:pt x="88297" y="71730"/>
                    <a:pt x="88427" y="74734"/>
                    <a:pt x="86991" y="76955"/>
                  </a:cubicBezTo>
                  <a:cubicBezTo>
                    <a:pt x="78630" y="90409"/>
                    <a:pt x="70663" y="103080"/>
                    <a:pt x="64654" y="116665"/>
                  </a:cubicBezTo>
                  <a:cubicBezTo>
                    <a:pt x="63348" y="119539"/>
                    <a:pt x="60213" y="121106"/>
                    <a:pt x="57208" y="120322"/>
                  </a:cubicBezTo>
                  <a:cubicBezTo>
                    <a:pt x="44015" y="117057"/>
                    <a:pt x="31344" y="113922"/>
                    <a:pt x="18935" y="110787"/>
                  </a:cubicBezTo>
                  <a:cubicBezTo>
                    <a:pt x="12796" y="131164"/>
                    <a:pt x="11359" y="150105"/>
                    <a:pt x="14755" y="166956"/>
                  </a:cubicBezTo>
                  <a:cubicBezTo>
                    <a:pt x="22723" y="165649"/>
                    <a:pt x="30300" y="164082"/>
                    <a:pt x="37615" y="162514"/>
                  </a:cubicBezTo>
                  <a:cubicBezTo>
                    <a:pt x="41664" y="161600"/>
                    <a:pt x="45713" y="160816"/>
                    <a:pt x="49763" y="160032"/>
                  </a:cubicBezTo>
                  <a:cubicBezTo>
                    <a:pt x="52767" y="159379"/>
                    <a:pt x="55771" y="161077"/>
                    <a:pt x="56947" y="163951"/>
                  </a:cubicBezTo>
                  <a:cubicBezTo>
                    <a:pt x="63609" y="180279"/>
                    <a:pt x="70924" y="193211"/>
                    <a:pt x="79284" y="203661"/>
                  </a:cubicBezTo>
                  <a:cubicBezTo>
                    <a:pt x="80982" y="205751"/>
                    <a:pt x="81112" y="208755"/>
                    <a:pt x="79676" y="211107"/>
                  </a:cubicBezTo>
                  <a:cubicBezTo>
                    <a:pt x="72753" y="222471"/>
                    <a:pt x="66352" y="231615"/>
                    <a:pt x="60082" y="240367"/>
                  </a:cubicBezTo>
                  <a:cubicBezTo>
                    <a:pt x="69748" y="251470"/>
                    <a:pt x="81896" y="260483"/>
                    <a:pt x="95612" y="266753"/>
                  </a:cubicBezTo>
                  <a:cubicBezTo>
                    <a:pt x="96788" y="264402"/>
                    <a:pt x="97963" y="262181"/>
                    <a:pt x="99139" y="259960"/>
                  </a:cubicBezTo>
                  <a:cubicBezTo>
                    <a:pt x="103188" y="252123"/>
                    <a:pt x="107107" y="244808"/>
                    <a:pt x="111156" y="237493"/>
                  </a:cubicBezTo>
                  <a:cubicBezTo>
                    <a:pt x="112463" y="235272"/>
                    <a:pt x="114945" y="233966"/>
                    <a:pt x="117426" y="234227"/>
                  </a:cubicBezTo>
                  <a:cubicBezTo>
                    <a:pt x="130358" y="235534"/>
                    <a:pt x="144204" y="236579"/>
                    <a:pt x="157398" y="234619"/>
                  </a:cubicBezTo>
                  <a:cubicBezTo>
                    <a:pt x="157659" y="234619"/>
                    <a:pt x="158051" y="234619"/>
                    <a:pt x="158312" y="234619"/>
                  </a:cubicBezTo>
                  <a:close/>
                  <a:moveTo>
                    <a:pt x="249227" y="50699"/>
                  </a:moveTo>
                  <a:lnTo>
                    <a:pt x="249227" y="50699"/>
                  </a:lnTo>
                  <a:close/>
                </a:path>
              </a:pathLst>
            </a:custGeom>
            <a:no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204" name="Graphic 717">
            <a:extLst>
              <a:ext uri="{FF2B5EF4-FFF2-40B4-BE49-F238E27FC236}">
                <a16:creationId xmlns:a16="http://schemas.microsoft.com/office/drawing/2014/main" id="{064E766E-8879-B82A-472A-C88107BF57DF}"/>
              </a:ext>
            </a:extLst>
          </p:cNvPr>
          <p:cNvGrpSpPr/>
          <p:nvPr/>
        </p:nvGrpSpPr>
        <p:grpSpPr>
          <a:xfrm flipH="1">
            <a:off x="8262542" y="1825396"/>
            <a:ext cx="672662" cy="1009776"/>
            <a:chOff x="308624" y="3248117"/>
            <a:chExt cx="757231" cy="2796937"/>
          </a:xfrm>
          <a:noFill/>
        </p:grpSpPr>
        <p:sp>
          <p:nvSpPr>
            <p:cNvPr id="205" name="Freeform: Shape 204">
              <a:extLst>
                <a:ext uri="{FF2B5EF4-FFF2-40B4-BE49-F238E27FC236}">
                  <a16:creationId xmlns:a16="http://schemas.microsoft.com/office/drawing/2014/main" id="{9CF2723B-562A-0690-CC45-4FAF5B8751DC}"/>
                </a:ext>
              </a:extLst>
            </p:cNvPr>
            <p:cNvSpPr/>
            <p:nvPr/>
          </p:nvSpPr>
          <p:spPr>
            <a:xfrm>
              <a:off x="308624" y="3248117"/>
              <a:ext cx="733849" cy="2764803"/>
            </a:xfrm>
            <a:custGeom>
              <a:avLst/>
              <a:gdLst>
                <a:gd name="connsiteX0" fmla="*/ 729147 w 733849"/>
                <a:gd name="connsiteY0" fmla="*/ 2764804 h 2764803"/>
                <a:gd name="connsiteX1" fmla="*/ 691397 w 733849"/>
                <a:gd name="connsiteY1" fmla="*/ 2764804 h 2764803"/>
                <a:gd name="connsiteX2" fmla="*/ 686694 w 733849"/>
                <a:gd name="connsiteY2" fmla="*/ 2758403 h 2764803"/>
                <a:gd name="connsiteX3" fmla="*/ 691397 w 733849"/>
                <a:gd name="connsiteY3" fmla="*/ 2752003 h 2764803"/>
                <a:gd name="connsiteX4" fmla="*/ 729147 w 733849"/>
                <a:gd name="connsiteY4" fmla="*/ 2752003 h 2764803"/>
                <a:gd name="connsiteX5" fmla="*/ 733850 w 733849"/>
                <a:gd name="connsiteY5" fmla="*/ 2758403 h 2764803"/>
                <a:gd name="connsiteX6" fmla="*/ 729147 w 733849"/>
                <a:gd name="connsiteY6" fmla="*/ 2764804 h 2764803"/>
                <a:gd name="connsiteX7" fmla="*/ 653777 w 733849"/>
                <a:gd name="connsiteY7" fmla="*/ 2764804 h 2764803"/>
                <a:gd name="connsiteX8" fmla="*/ 616026 w 733849"/>
                <a:gd name="connsiteY8" fmla="*/ 2764804 h 2764803"/>
                <a:gd name="connsiteX9" fmla="*/ 611324 w 733849"/>
                <a:gd name="connsiteY9" fmla="*/ 2758403 h 2764803"/>
                <a:gd name="connsiteX10" fmla="*/ 616026 w 733849"/>
                <a:gd name="connsiteY10" fmla="*/ 2752003 h 2764803"/>
                <a:gd name="connsiteX11" fmla="*/ 653777 w 733849"/>
                <a:gd name="connsiteY11" fmla="*/ 2752003 h 2764803"/>
                <a:gd name="connsiteX12" fmla="*/ 658479 w 733849"/>
                <a:gd name="connsiteY12" fmla="*/ 2758403 h 2764803"/>
                <a:gd name="connsiteX13" fmla="*/ 653777 w 733849"/>
                <a:gd name="connsiteY13" fmla="*/ 2764804 h 2764803"/>
                <a:gd name="connsiteX14" fmla="*/ 578406 w 733849"/>
                <a:gd name="connsiteY14" fmla="*/ 2764804 h 2764803"/>
                <a:gd name="connsiteX15" fmla="*/ 540656 w 733849"/>
                <a:gd name="connsiteY15" fmla="*/ 2764804 h 2764803"/>
                <a:gd name="connsiteX16" fmla="*/ 535953 w 733849"/>
                <a:gd name="connsiteY16" fmla="*/ 2758403 h 2764803"/>
                <a:gd name="connsiteX17" fmla="*/ 540656 w 733849"/>
                <a:gd name="connsiteY17" fmla="*/ 2752003 h 2764803"/>
                <a:gd name="connsiteX18" fmla="*/ 578406 w 733849"/>
                <a:gd name="connsiteY18" fmla="*/ 2752003 h 2764803"/>
                <a:gd name="connsiteX19" fmla="*/ 583109 w 733849"/>
                <a:gd name="connsiteY19" fmla="*/ 2758403 h 2764803"/>
                <a:gd name="connsiteX20" fmla="*/ 578406 w 733849"/>
                <a:gd name="connsiteY20" fmla="*/ 2764804 h 2764803"/>
                <a:gd name="connsiteX21" fmla="*/ 503036 w 733849"/>
                <a:gd name="connsiteY21" fmla="*/ 2764804 h 2764803"/>
                <a:gd name="connsiteX22" fmla="*/ 465285 w 733849"/>
                <a:gd name="connsiteY22" fmla="*/ 2764804 h 2764803"/>
                <a:gd name="connsiteX23" fmla="*/ 460583 w 733849"/>
                <a:gd name="connsiteY23" fmla="*/ 2758403 h 2764803"/>
                <a:gd name="connsiteX24" fmla="*/ 465285 w 733849"/>
                <a:gd name="connsiteY24" fmla="*/ 2752003 h 2764803"/>
                <a:gd name="connsiteX25" fmla="*/ 503036 w 733849"/>
                <a:gd name="connsiteY25" fmla="*/ 2752003 h 2764803"/>
                <a:gd name="connsiteX26" fmla="*/ 507738 w 733849"/>
                <a:gd name="connsiteY26" fmla="*/ 2758403 h 2764803"/>
                <a:gd name="connsiteX27" fmla="*/ 503036 w 733849"/>
                <a:gd name="connsiteY27" fmla="*/ 2764804 h 2764803"/>
                <a:gd name="connsiteX28" fmla="*/ 427665 w 733849"/>
                <a:gd name="connsiteY28" fmla="*/ 2764804 h 2764803"/>
                <a:gd name="connsiteX29" fmla="*/ 389915 w 733849"/>
                <a:gd name="connsiteY29" fmla="*/ 2764804 h 2764803"/>
                <a:gd name="connsiteX30" fmla="*/ 385212 w 733849"/>
                <a:gd name="connsiteY30" fmla="*/ 2758403 h 2764803"/>
                <a:gd name="connsiteX31" fmla="*/ 389915 w 733849"/>
                <a:gd name="connsiteY31" fmla="*/ 2752003 h 2764803"/>
                <a:gd name="connsiteX32" fmla="*/ 427665 w 733849"/>
                <a:gd name="connsiteY32" fmla="*/ 2752003 h 2764803"/>
                <a:gd name="connsiteX33" fmla="*/ 432368 w 733849"/>
                <a:gd name="connsiteY33" fmla="*/ 2758403 h 2764803"/>
                <a:gd name="connsiteX34" fmla="*/ 427665 w 733849"/>
                <a:gd name="connsiteY34" fmla="*/ 2764804 h 2764803"/>
                <a:gd name="connsiteX35" fmla="*/ 352295 w 733849"/>
                <a:gd name="connsiteY35" fmla="*/ 2764804 h 2764803"/>
                <a:gd name="connsiteX36" fmla="*/ 314544 w 733849"/>
                <a:gd name="connsiteY36" fmla="*/ 2764804 h 2764803"/>
                <a:gd name="connsiteX37" fmla="*/ 309842 w 733849"/>
                <a:gd name="connsiteY37" fmla="*/ 2758403 h 2764803"/>
                <a:gd name="connsiteX38" fmla="*/ 314544 w 733849"/>
                <a:gd name="connsiteY38" fmla="*/ 2752003 h 2764803"/>
                <a:gd name="connsiteX39" fmla="*/ 352295 w 733849"/>
                <a:gd name="connsiteY39" fmla="*/ 2752003 h 2764803"/>
                <a:gd name="connsiteX40" fmla="*/ 356997 w 733849"/>
                <a:gd name="connsiteY40" fmla="*/ 2758403 h 2764803"/>
                <a:gd name="connsiteX41" fmla="*/ 352295 w 733849"/>
                <a:gd name="connsiteY41" fmla="*/ 2764804 h 2764803"/>
                <a:gd name="connsiteX42" fmla="*/ 276924 w 733849"/>
                <a:gd name="connsiteY42" fmla="*/ 2764804 h 2764803"/>
                <a:gd name="connsiteX43" fmla="*/ 239174 w 733849"/>
                <a:gd name="connsiteY43" fmla="*/ 2764804 h 2764803"/>
                <a:gd name="connsiteX44" fmla="*/ 234471 w 733849"/>
                <a:gd name="connsiteY44" fmla="*/ 2758403 h 2764803"/>
                <a:gd name="connsiteX45" fmla="*/ 239174 w 733849"/>
                <a:gd name="connsiteY45" fmla="*/ 2752003 h 2764803"/>
                <a:gd name="connsiteX46" fmla="*/ 276924 w 733849"/>
                <a:gd name="connsiteY46" fmla="*/ 2752003 h 2764803"/>
                <a:gd name="connsiteX47" fmla="*/ 281627 w 733849"/>
                <a:gd name="connsiteY47" fmla="*/ 2758403 h 2764803"/>
                <a:gd name="connsiteX48" fmla="*/ 276924 w 733849"/>
                <a:gd name="connsiteY48" fmla="*/ 2764804 h 2764803"/>
                <a:gd name="connsiteX49" fmla="*/ 201554 w 733849"/>
                <a:gd name="connsiteY49" fmla="*/ 2764804 h 2764803"/>
                <a:gd name="connsiteX50" fmla="*/ 163803 w 733849"/>
                <a:gd name="connsiteY50" fmla="*/ 2764804 h 2764803"/>
                <a:gd name="connsiteX51" fmla="*/ 159101 w 733849"/>
                <a:gd name="connsiteY51" fmla="*/ 2758403 h 2764803"/>
                <a:gd name="connsiteX52" fmla="*/ 163803 w 733849"/>
                <a:gd name="connsiteY52" fmla="*/ 2752003 h 2764803"/>
                <a:gd name="connsiteX53" fmla="*/ 201554 w 733849"/>
                <a:gd name="connsiteY53" fmla="*/ 2752003 h 2764803"/>
                <a:gd name="connsiteX54" fmla="*/ 206256 w 733849"/>
                <a:gd name="connsiteY54" fmla="*/ 2758403 h 2764803"/>
                <a:gd name="connsiteX55" fmla="*/ 201554 w 733849"/>
                <a:gd name="connsiteY55" fmla="*/ 2764804 h 2764803"/>
                <a:gd name="connsiteX56" fmla="*/ 126184 w 733849"/>
                <a:gd name="connsiteY56" fmla="*/ 2764804 h 2764803"/>
                <a:gd name="connsiteX57" fmla="*/ 88433 w 733849"/>
                <a:gd name="connsiteY57" fmla="*/ 2764804 h 2764803"/>
                <a:gd name="connsiteX58" fmla="*/ 83730 w 733849"/>
                <a:gd name="connsiteY58" fmla="*/ 2758403 h 2764803"/>
                <a:gd name="connsiteX59" fmla="*/ 88433 w 733849"/>
                <a:gd name="connsiteY59" fmla="*/ 2752003 h 2764803"/>
                <a:gd name="connsiteX60" fmla="*/ 126184 w 733849"/>
                <a:gd name="connsiteY60" fmla="*/ 2752003 h 2764803"/>
                <a:gd name="connsiteX61" fmla="*/ 130886 w 733849"/>
                <a:gd name="connsiteY61" fmla="*/ 2758403 h 2764803"/>
                <a:gd name="connsiteX62" fmla="*/ 126184 w 733849"/>
                <a:gd name="connsiteY62" fmla="*/ 2764804 h 2764803"/>
                <a:gd name="connsiteX63" fmla="*/ 50813 w 733849"/>
                <a:gd name="connsiteY63" fmla="*/ 2764804 h 2764803"/>
                <a:gd name="connsiteX64" fmla="*/ 13062 w 733849"/>
                <a:gd name="connsiteY64" fmla="*/ 2764804 h 2764803"/>
                <a:gd name="connsiteX65" fmla="*/ 8360 w 733849"/>
                <a:gd name="connsiteY65" fmla="*/ 2758403 h 2764803"/>
                <a:gd name="connsiteX66" fmla="*/ 13062 w 733849"/>
                <a:gd name="connsiteY66" fmla="*/ 2752003 h 2764803"/>
                <a:gd name="connsiteX67" fmla="*/ 50813 w 733849"/>
                <a:gd name="connsiteY67" fmla="*/ 2752003 h 2764803"/>
                <a:gd name="connsiteX68" fmla="*/ 55516 w 733849"/>
                <a:gd name="connsiteY68" fmla="*/ 2758403 h 2764803"/>
                <a:gd name="connsiteX69" fmla="*/ 50813 w 733849"/>
                <a:gd name="connsiteY69" fmla="*/ 2764804 h 2764803"/>
                <a:gd name="connsiteX70" fmla="*/ 11495 w 733849"/>
                <a:gd name="connsiteY70" fmla="*/ 2715167 h 2764803"/>
                <a:gd name="connsiteX71" fmla="*/ 6792 w 733849"/>
                <a:gd name="connsiteY71" fmla="*/ 2708766 h 2764803"/>
                <a:gd name="connsiteX72" fmla="*/ 6792 w 733849"/>
                <a:gd name="connsiteY72" fmla="*/ 2657169 h 2764803"/>
                <a:gd name="connsiteX73" fmla="*/ 11364 w 733849"/>
                <a:gd name="connsiteY73" fmla="*/ 2650638 h 2764803"/>
                <a:gd name="connsiteX74" fmla="*/ 11364 w 733849"/>
                <a:gd name="connsiteY74" fmla="*/ 2650638 h 2764803"/>
                <a:gd name="connsiteX75" fmla="*/ 16067 w 733849"/>
                <a:gd name="connsiteY75" fmla="*/ 2657039 h 2764803"/>
                <a:gd name="connsiteX76" fmla="*/ 16067 w 733849"/>
                <a:gd name="connsiteY76" fmla="*/ 2708635 h 2764803"/>
                <a:gd name="connsiteX77" fmla="*/ 11495 w 733849"/>
                <a:gd name="connsiteY77" fmla="*/ 2715167 h 2764803"/>
                <a:gd name="connsiteX78" fmla="*/ 11495 w 733849"/>
                <a:gd name="connsiteY78" fmla="*/ 2715167 h 2764803"/>
                <a:gd name="connsiteX79" fmla="*/ 11234 w 733849"/>
                <a:gd name="connsiteY79" fmla="*/ 2611842 h 2764803"/>
                <a:gd name="connsiteX80" fmla="*/ 6531 w 733849"/>
                <a:gd name="connsiteY80" fmla="*/ 2605442 h 2764803"/>
                <a:gd name="connsiteX81" fmla="*/ 6531 w 733849"/>
                <a:gd name="connsiteY81" fmla="*/ 2553845 h 2764803"/>
                <a:gd name="connsiteX82" fmla="*/ 11103 w 733849"/>
                <a:gd name="connsiteY82" fmla="*/ 2547314 h 2764803"/>
                <a:gd name="connsiteX83" fmla="*/ 11103 w 733849"/>
                <a:gd name="connsiteY83" fmla="*/ 2547314 h 2764803"/>
                <a:gd name="connsiteX84" fmla="*/ 15806 w 733849"/>
                <a:gd name="connsiteY84" fmla="*/ 2553714 h 2764803"/>
                <a:gd name="connsiteX85" fmla="*/ 15806 w 733849"/>
                <a:gd name="connsiteY85" fmla="*/ 2605311 h 2764803"/>
                <a:gd name="connsiteX86" fmla="*/ 11234 w 733849"/>
                <a:gd name="connsiteY86" fmla="*/ 2611842 h 2764803"/>
                <a:gd name="connsiteX87" fmla="*/ 11234 w 733849"/>
                <a:gd name="connsiteY87" fmla="*/ 2611842 h 2764803"/>
                <a:gd name="connsiteX88" fmla="*/ 10972 w 733849"/>
                <a:gd name="connsiteY88" fmla="*/ 2508518 h 2764803"/>
                <a:gd name="connsiteX89" fmla="*/ 6270 w 733849"/>
                <a:gd name="connsiteY89" fmla="*/ 2502118 h 2764803"/>
                <a:gd name="connsiteX90" fmla="*/ 6270 w 733849"/>
                <a:gd name="connsiteY90" fmla="*/ 2450521 h 2764803"/>
                <a:gd name="connsiteX91" fmla="*/ 10842 w 733849"/>
                <a:gd name="connsiteY91" fmla="*/ 2443990 h 2764803"/>
                <a:gd name="connsiteX92" fmla="*/ 10842 w 733849"/>
                <a:gd name="connsiteY92" fmla="*/ 2443990 h 2764803"/>
                <a:gd name="connsiteX93" fmla="*/ 15544 w 733849"/>
                <a:gd name="connsiteY93" fmla="*/ 2450390 h 2764803"/>
                <a:gd name="connsiteX94" fmla="*/ 15544 w 733849"/>
                <a:gd name="connsiteY94" fmla="*/ 2501987 h 2764803"/>
                <a:gd name="connsiteX95" fmla="*/ 10972 w 733849"/>
                <a:gd name="connsiteY95" fmla="*/ 2508518 h 2764803"/>
                <a:gd name="connsiteX96" fmla="*/ 10972 w 733849"/>
                <a:gd name="connsiteY96" fmla="*/ 2508518 h 2764803"/>
                <a:gd name="connsiteX97" fmla="*/ 10711 w 733849"/>
                <a:gd name="connsiteY97" fmla="*/ 2405194 h 2764803"/>
                <a:gd name="connsiteX98" fmla="*/ 6009 w 733849"/>
                <a:gd name="connsiteY98" fmla="*/ 2398794 h 2764803"/>
                <a:gd name="connsiteX99" fmla="*/ 6009 w 733849"/>
                <a:gd name="connsiteY99" fmla="*/ 2347197 h 2764803"/>
                <a:gd name="connsiteX100" fmla="*/ 10581 w 733849"/>
                <a:gd name="connsiteY100" fmla="*/ 2340665 h 2764803"/>
                <a:gd name="connsiteX101" fmla="*/ 10581 w 733849"/>
                <a:gd name="connsiteY101" fmla="*/ 2340665 h 2764803"/>
                <a:gd name="connsiteX102" fmla="*/ 15283 w 733849"/>
                <a:gd name="connsiteY102" fmla="*/ 2347066 h 2764803"/>
                <a:gd name="connsiteX103" fmla="*/ 15283 w 733849"/>
                <a:gd name="connsiteY103" fmla="*/ 2398663 h 2764803"/>
                <a:gd name="connsiteX104" fmla="*/ 10711 w 733849"/>
                <a:gd name="connsiteY104" fmla="*/ 2405194 h 2764803"/>
                <a:gd name="connsiteX105" fmla="*/ 10711 w 733849"/>
                <a:gd name="connsiteY105" fmla="*/ 2405194 h 2764803"/>
                <a:gd name="connsiteX106" fmla="*/ 10450 w 733849"/>
                <a:gd name="connsiteY106" fmla="*/ 2301870 h 2764803"/>
                <a:gd name="connsiteX107" fmla="*/ 5747 w 733849"/>
                <a:gd name="connsiteY107" fmla="*/ 2295469 h 2764803"/>
                <a:gd name="connsiteX108" fmla="*/ 5747 w 733849"/>
                <a:gd name="connsiteY108" fmla="*/ 2243872 h 2764803"/>
                <a:gd name="connsiteX109" fmla="*/ 10319 w 733849"/>
                <a:gd name="connsiteY109" fmla="*/ 2237341 h 2764803"/>
                <a:gd name="connsiteX110" fmla="*/ 10319 w 733849"/>
                <a:gd name="connsiteY110" fmla="*/ 2237341 h 2764803"/>
                <a:gd name="connsiteX111" fmla="*/ 15022 w 733849"/>
                <a:gd name="connsiteY111" fmla="*/ 2243742 h 2764803"/>
                <a:gd name="connsiteX112" fmla="*/ 15022 w 733849"/>
                <a:gd name="connsiteY112" fmla="*/ 2295339 h 2764803"/>
                <a:gd name="connsiteX113" fmla="*/ 10450 w 733849"/>
                <a:gd name="connsiteY113" fmla="*/ 2301870 h 2764803"/>
                <a:gd name="connsiteX114" fmla="*/ 10450 w 733849"/>
                <a:gd name="connsiteY114" fmla="*/ 2301870 h 2764803"/>
                <a:gd name="connsiteX115" fmla="*/ 10189 w 733849"/>
                <a:gd name="connsiteY115" fmla="*/ 2198546 h 2764803"/>
                <a:gd name="connsiteX116" fmla="*/ 5486 w 733849"/>
                <a:gd name="connsiteY116" fmla="*/ 2192145 h 2764803"/>
                <a:gd name="connsiteX117" fmla="*/ 5486 w 733849"/>
                <a:gd name="connsiteY117" fmla="*/ 2140548 h 2764803"/>
                <a:gd name="connsiteX118" fmla="*/ 10058 w 733849"/>
                <a:gd name="connsiteY118" fmla="*/ 2134017 h 2764803"/>
                <a:gd name="connsiteX119" fmla="*/ 10058 w 733849"/>
                <a:gd name="connsiteY119" fmla="*/ 2134017 h 2764803"/>
                <a:gd name="connsiteX120" fmla="*/ 14761 w 733849"/>
                <a:gd name="connsiteY120" fmla="*/ 2140418 h 2764803"/>
                <a:gd name="connsiteX121" fmla="*/ 14761 w 733849"/>
                <a:gd name="connsiteY121" fmla="*/ 2192014 h 2764803"/>
                <a:gd name="connsiteX122" fmla="*/ 10189 w 733849"/>
                <a:gd name="connsiteY122" fmla="*/ 2198546 h 2764803"/>
                <a:gd name="connsiteX123" fmla="*/ 10189 w 733849"/>
                <a:gd name="connsiteY123" fmla="*/ 2198546 h 2764803"/>
                <a:gd name="connsiteX124" fmla="*/ 9927 w 733849"/>
                <a:gd name="connsiteY124" fmla="*/ 2095222 h 2764803"/>
                <a:gd name="connsiteX125" fmla="*/ 5225 w 733849"/>
                <a:gd name="connsiteY125" fmla="*/ 2088821 h 2764803"/>
                <a:gd name="connsiteX126" fmla="*/ 5225 w 733849"/>
                <a:gd name="connsiteY126" fmla="*/ 2037224 h 2764803"/>
                <a:gd name="connsiteX127" fmla="*/ 9797 w 733849"/>
                <a:gd name="connsiteY127" fmla="*/ 2030693 h 2764803"/>
                <a:gd name="connsiteX128" fmla="*/ 9797 w 733849"/>
                <a:gd name="connsiteY128" fmla="*/ 2030693 h 2764803"/>
                <a:gd name="connsiteX129" fmla="*/ 14499 w 733849"/>
                <a:gd name="connsiteY129" fmla="*/ 2037093 h 2764803"/>
                <a:gd name="connsiteX130" fmla="*/ 14499 w 733849"/>
                <a:gd name="connsiteY130" fmla="*/ 2088690 h 2764803"/>
                <a:gd name="connsiteX131" fmla="*/ 9927 w 733849"/>
                <a:gd name="connsiteY131" fmla="*/ 2095222 h 2764803"/>
                <a:gd name="connsiteX132" fmla="*/ 9927 w 733849"/>
                <a:gd name="connsiteY132" fmla="*/ 2095222 h 2764803"/>
                <a:gd name="connsiteX133" fmla="*/ 9666 w 733849"/>
                <a:gd name="connsiteY133" fmla="*/ 1991897 h 2764803"/>
                <a:gd name="connsiteX134" fmla="*/ 4964 w 733849"/>
                <a:gd name="connsiteY134" fmla="*/ 1985497 h 2764803"/>
                <a:gd name="connsiteX135" fmla="*/ 4964 w 733849"/>
                <a:gd name="connsiteY135" fmla="*/ 1933900 h 2764803"/>
                <a:gd name="connsiteX136" fmla="*/ 9536 w 733849"/>
                <a:gd name="connsiteY136" fmla="*/ 1927369 h 2764803"/>
                <a:gd name="connsiteX137" fmla="*/ 9536 w 733849"/>
                <a:gd name="connsiteY137" fmla="*/ 1927369 h 2764803"/>
                <a:gd name="connsiteX138" fmla="*/ 14238 w 733849"/>
                <a:gd name="connsiteY138" fmla="*/ 1933769 h 2764803"/>
                <a:gd name="connsiteX139" fmla="*/ 14238 w 733849"/>
                <a:gd name="connsiteY139" fmla="*/ 1985366 h 2764803"/>
                <a:gd name="connsiteX140" fmla="*/ 9666 w 733849"/>
                <a:gd name="connsiteY140" fmla="*/ 1991897 h 2764803"/>
                <a:gd name="connsiteX141" fmla="*/ 9666 w 733849"/>
                <a:gd name="connsiteY141" fmla="*/ 1991897 h 2764803"/>
                <a:gd name="connsiteX142" fmla="*/ 9405 w 733849"/>
                <a:gd name="connsiteY142" fmla="*/ 1888573 h 2764803"/>
                <a:gd name="connsiteX143" fmla="*/ 4702 w 733849"/>
                <a:gd name="connsiteY143" fmla="*/ 1882172 h 2764803"/>
                <a:gd name="connsiteX144" fmla="*/ 4702 w 733849"/>
                <a:gd name="connsiteY144" fmla="*/ 1830576 h 2764803"/>
                <a:gd name="connsiteX145" fmla="*/ 9274 w 733849"/>
                <a:gd name="connsiteY145" fmla="*/ 1824044 h 2764803"/>
                <a:gd name="connsiteX146" fmla="*/ 9274 w 733849"/>
                <a:gd name="connsiteY146" fmla="*/ 1824044 h 2764803"/>
                <a:gd name="connsiteX147" fmla="*/ 13977 w 733849"/>
                <a:gd name="connsiteY147" fmla="*/ 1830445 h 2764803"/>
                <a:gd name="connsiteX148" fmla="*/ 13977 w 733849"/>
                <a:gd name="connsiteY148" fmla="*/ 1882042 h 2764803"/>
                <a:gd name="connsiteX149" fmla="*/ 9405 w 733849"/>
                <a:gd name="connsiteY149" fmla="*/ 1888573 h 2764803"/>
                <a:gd name="connsiteX150" fmla="*/ 9405 w 733849"/>
                <a:gd name="connsiteY150" fmla="*/ 1888573 h 2764803"/>
                <a:gd name="connsiteX151" fmla="*/ 9144 w 733849"/>
                <a:gd name="connsiteY151" fmla="*/ 1785249 h 2764803"/>
                <a:gd name="connsiteX152" fmla="*/ 4441 w 733849"/>
                <a:gd name="connsiteY152" fmla="*/ 1778848 h 2764803"/>
                <a:gd name="connsiteX153" fmla="*/ 4441 w 733849"/>
                <a:gd name="connsiteY153" fmla="*/ 1727251 h 2764803"/>
                <a:gd name="connsiteX154" fmla="*/ 9013 w 733849"/>
                <a:gd name="connsiteY154" fmla="*/ 1720720 h 2764803"/>
                <a:gd name="connsiteX155" fmla="*/ 9013 w 733849"/>
                <a:gd name="connsiteY155" fmla="*/ 1720720 h 2764803"/>
                <a:gd name="connsiteX156" fmla="*/ 13716 w 733849"/>
                <a:gd name="connsiteY156" fmla="*/ 1727121 h 2764803"/>
                <a:gd name="connsiteX157" fmla="*/ 13716 w 733849"/>
                <a:gd name="connsiteY157" fmla="*/ 1778718 h 2764803"/>
                <a:gd name="connsiteX158" fmla="*/ 9144 w 733849"/>
                <a:gd name="connsiteY158" fmla="*/ 1785249 h 2764803"/>
                <a:gd name="connsiteX159" fmla="*/ 9144 w 733849"/>
                <a:gd name="connsiteY159" fmla="*/ 1785249 h 2764803"/>
                <a:gd name="connsiteX160" fmla="*/ 8882 w 733849"/>
                <a:gd name="connsiteY160" fmla="*/ 1681925 h 2764803"/>
                <a:gd name="connsiteX161" fmla="*/ 4180 w 733849"/>
                <a:gd name="connsiteY161" fmla="*/ 1675524 h 2764803"/>
                <a:gd name="connsiteX162" fmla="*/ 4180 w 733849"/>
                <a:gd name="connsiteY162" fmla="*/ 1623927 h 2764803"/>
                <a:gd name="connsiteX163" fmla="*/ 8752 w 733849"/>
                <a:gd name="connsiteY163" fmla="*/ 1617396 h 2764803"/>
                <a:gd name="connsiteX164" fmla="*/ 8752 w 733849"/>
                <a:gd name="connsiteY164" fmla="*/ 1617396 h 2764803"/>
                <a:gd name="connsiteX165" fmla="*/ 13454 w 733849"/>
                <a:gd name="connsiteY165" fmla="*/ 1623797 h 2764803"/>
                <a:gd name="connsiteX166" fmla="*/ 13454 w 733849"/>
                <a:gd name="connsiteY166" fmla="*/ 1675393 h 2764803"/>
                <a:gd name="connsiteX167" fmla="*/ 8882 w 733849"/>
                <a:gd name="connsiteY167" fmla="*/ 1681925 h 2764803"/>
                <a:gd name="connsiteX168" fmla="*/ 8882 w 733849"/>
                <a:gd name="connsiteY168" fmla="*/ 1681925 h 2764803"/>
                <a:gd name="connsiteX169" fmla="*/ 8621 w 733849"/>
                <a:gd name="connsiteY169" fmla="*/ 1578600 h 2764803"/>
                <a:gd name="connsiteX170" fmla="*/ 3919 w 733849"/>
                <a:gd name="connsiteY170" fmla="*/ 1572200 h 2764803"/>
                <a:gd name="connsiteX171" fmla="*/ 3919 w 733849"/>
                <a:gd name="connsiteY171" fmla="*/ 1520603 h 2764803"/>
                <a:gd name="connsiteX172" fmla="*/ 8491 w 733849"/>
                <a:gd name="connsiteY172" fmla="*/ 1514072 h 2764803"/>
                <a:gd name="connsiteX173" fmla="*/ 8491 w 733849"/>
                <a:gd name="connsiteY173" fmla="*/ 1514072 h 2764803"/>
                <a:gd name="connsiteX174" fmla="*/ 13193 w 733849"/>
                <a:gd name="connsiteY174" fmla="*/ 1520472 h 2764803"/>
                <a:gd name="connsiteX175" fmla="*/ 13193 w 733849"/>
                <a:gd name="connsiteY175" fmla="*/ 1572069 h 2764803"/>
                <a:gd name="connsiteX176" fmla="*/ 8621 w 733849"/>
                <a:gd name="connsiteY176" fmla="*/ 1578600 h 2764803"/>
                <a:gd name="connsiteX177" fmla="*/ 8621 w 733849"/>
                <a:gd name="connsiteY177" fmla="*/ 1578600 h 2764803"/>
                <a:gd name="connsiteX178" fmla="*/ 8360 w 733849"/>
                <a:gd name="connsiteY178" fmla="*/ 1475276 h 2764803"/>
                <a:gd name="connsiteX179" fmla="*/ 3658 w 733849"/>
                <a:gd name="connsiteY179" fmla="*/ 1468876 h 2764803"/>
                <a:gd name="connsiteX180" fmla="*/ 3658 w 733849"/>
                <a:gd name="connsiteY180" fmla="*/ 1417279 h 2764803"/>
                <a:gd name="connsiteX181" fmla="*/ 8229 w 733849"/>
                <a:gd name="connsiteY181" fmla="*/ 1410748 h 2764803"/>
                <a:gd name="connsiteX182" fmla="*/ 8229 w 733849"/>
                <a:gd name="connsiteY182" fmla="*/ 1410748 h 2764803"/>
                <a:gd name="connsiteX183" fmla="*/ 12932 w 733849"/>
                <a:gd name="connsiteY183" fmla="*/ 1417148 h 2764803"/>
                <a:gd name="connsiteX184" fmla="*/ 12932 w 733849"/>
                <a:gd name="connsiteY184" fmla="*/ 1468745 h 2764803"/>
                <a:gd name="connsiteX185" fmla="*/ 8360 w 733849"/>
                <a:gd name="connsiteY185" fmla="*/ 1475276 h 2764803"/>
                <a:gd name="connsiteX186" fmla="*/ 8360 w 733849"/>
                <a:gd name="connsiteY186" fmla="*/ 1475276 h 2764803"/>
                <a:gd name="connsiteX187" fmla="*/ 8099 w 733849"/>
                <a:gd name="connsiteY187" fmla="*/ 1371952 h 2764803"/>
                <a:gd name="connsiteX188" fmla="*/ 3396 w 733849"/>
                <a:gd name="connsiteY188" fmla="*/ 1365551 h 2764803"/>
                <a:gd name="connsiteX189" fmla="*/ 3396 w 733849"/>
                <a:gd name="connsiteY189" fmla="*/ 1313955 h 2764803"/>
                <a:gd name="connsiteX190" fmla="*/ 7968 w 733849"/>
                <a:gd name="connsiteY190" fmla="*/ 1307423 h 2764803"/>
                <a:gd name="connsiteX191" fmla="*/ 7968 w 733849"/>
                <a:gd name="connsiteY191" fmla="*/ 1307423 h 2764803"/>
                <a:gd name="connsiteX192" fmla="*/ 12671 w 733849"/>
                <a:gd name="connsiteY192" fmla="*/ 1313824 h 2764803"/>
                <a:gd name="connsiteX193" fmla="*/ 12671 w 733849"/>
                <a:gd name="connsiteY193" fmla="*/ 1365421 h 2764803"/>
                <a:gd name="connsiteX194" fmla="*/ 8099 w 733849"/>
                <a:gd name="connsiteY194" fmla="*/ 1371952 h 2764803"/>
                <a:gd name="connsiteX195" fmla="*/ 8099 w 733849"/>
                <a:gd name="connsiteY195" fmla="*/ 1371952 h 2764803"/>
                <a:gd name="connsiteX196" fmla="*/ 7837 w 733849"/>
                <a:gd name="connsiteY196" fmla="*/ 1268628 h 2764803"/>
                <a:gd name="connsiteX197" fmla="*/ 3135 w 733849"/>
                <a:gd name="connsiteY197" fmla="*/ 1262227 h 2764803"/>
                <a:gd name="connsiteX198" fmla="*/ 3135 w 733849"/>
                <a:gd name="connsiteY198" fmla="*/ 1210630 h 2764803"/>
                <a:gd name="connsiteX199" fmla="*/ 7707 w 733849"/>
                <a:gd name="connsiteY199" fmla="*/ 1204099 h 2764803"/>
                <a:gd name="connsiteX200" fmla="*/ 7707 w 733849"/>
                <a:gd name="connsiteY200" fmla="*/ 1204099 h 2764803"/>
                <a:gd name="connsiteX201" fmla="*/ 12409 w 733849"/>
                <a:gd name="connsiteY201" fmla="*/ 1210500 h 2764803"/>
                <a:gd name="connsiteX202" fmla="*/ 12409 w 733849"/>
                <a:gd name="connsiteY202" fmla="*/ 1262097 h 2764803"/>
                <a:gd name="connsiteX203" fmla="*/ 7837 w 733849"/>
                <a:gd name="connsiteY203" fmla="*/ 1268628 h 2764803"/>
                <a:gd name="connsiteX204" fmla="*/ 7837 w 733849"/>
                <a:gd name="connsiteY204" fmla="*/ 1268628 h 2764803"/>
                <a:gd name="connsiteX205" fmla="*/ 7576 w 733849"/>
                <a:gd name="connsiteY205" fmla="*/ 1165304 h 2764803"/>
                <a:gd name="connsiteX206" fmla="*/ 2874 w 733849"/>
                <a:gd name="connsiteY206" fmla="*/ 1158903 h 2764803"/>
                <a:gd name="connsiteX207" fmla="*/ 2874 w 733849"/>
                <a:gd name="connsiteY207" fmla="*/ 1107306 h 2764803"/>
                <a:gd name="connsiteX208" fmla="*/ 7446 w 733849"/>
                <a:gd name="connsiteY208" fmla="*/ 1100775 h 2764803"/>
                <a:gd name="connsiteX209" fmla="*/ 7446 w 733849"/>
                <a:gd name="connsiteY209" fmla="*/ 1100775 h 2764803"/>
                <a:gd name="connsiteX210" fmla="*/ 12148 w 733849"/>
                <a:gd name="connsiteY210" fmla="*/ 1107176 h 2764803"/>
                <a:gd name="connsiteX211" fmla="*/ 12148 w 733849"/>
                <a:gd name="connsiteY211" fmla="*/ 1158772 h 2764803"/>
                <a:gd name="connsiteX212" fmla="*/ 7576 w 733849"/>
                <a:gd name="connsiteY212" fmla="*/ 1165304 h 2764803"/>
                <a:gd name="connsiteX213" fmla="*/ 7576 w 733849"/>
                <a:gd name="connsiteY213" fmla="*/ 1165304 h 2764803"/>
                <a:gd name="connsiteX214" fmla="*/ 7315 w 733849"/>
                <a:gd name="connsiteY214" fmla="*/ 1061979 h 2764803"/>
                <a:gd name="connsiteX215" fmla="*/ 2613 w 733849"/>
                <a:gd name="connsiteY215" fmla="*/ 1055579 h 2764803"/>
                <a:gd name="connsiteX216" fmla="*/ 2613 w 733849"/>
                <a:gd name="connsiteY216" fmla="*/ 1003982 h 2764803"/>
                <a:gd name="connsiteX217" fmla="*/ 7184 w 733849"/>
                <a:gd name="connsiteY217" fmla="*/ 997451 h 2764803"/>
                <a:gd name="connsiteX218" fmla="*/ 11887 w 733849"/>
                <a:gd name="connsiteY218" fmla="*/ 1003851 h 2764803"/>
                <a:gd name="connsiteX219" fmla="*/ 11887 w 733849"/>
                <a:gd name="connsiteY219" fmla="*/ 1055448 h 2764803"/>
                <a:gd name="connsiteX220" fmla="*/ 7315 w 733849"/>
                <a:gd name="connsiteY220" fmla="*/ 1061979 h 2764803"/>
                <a:gd name="connsiteX221" fmla="*/ 7315 w 733849"/>
                <a:gd name="connsiteY221" fmla="*/ 1061979 h 2764803"/>
                <a:gd name="connsiteX222" fmla="*/ 7054 w 733849"/>
                <a:gd name="connsiteY222" fmla="*/ 958655 h 2764803"/>
                <a:gd name="connsiteX223" fmla="*/ 2351 w 733849"/>
                <a:gd name="connsiteY223" fmla="*/ 952255 h 2764803"/>
                <a:gd name="connsiteX224" fmla="*/ 2351 w 733849"/>
                <a:gd name="connsiteY224" fmla="*/ 900658 h 2764803"/>
                <a:gd name="connsiteX225" fmla="*/ 6923 w 733849"/>
                <a:gd name="connsiteY225" fmla="*/ 894127 h 2764803"/>
                <a:gd name="connsiteX226" fmla="*/ 6923 w 733849"/>
                <a:gd name="connsiteY226" fmla="*/ 894127 h 2764803"/>
                <a:gd name="connsiteX227" fmla="*/ 11626 w 733849"/>
                <a:gd name="connsiteY227" fmla="*/ 900527 h 2764803"/>
                <a:gd name="connsiteX228" fmla="*/ 11626 w 733849"/>
                <a:gd name="connsiteY228" fmla="*/ 952124 h 2764803"/>
                <a:gd name="connsiteX229" fmla="*/ 7054 w 733849"/>
                <a:gd name="connsiteY229" fmla="*/ 958655 h 2764803"/>
                <a:gd name="connsiteX230" fmla="*/ 7054 w 733849"/>
                <a:gd name="connsiteY230" fmla="*/ 958655 h 2764803"/>
                <a:gd name="connsiteX231" fmla="*/ 6792 w 733849"/>
                <a:gd name="connsiteY231" fmla="*/ 855331 h 2764803"/>
                <a:gd name="connsiteX232" fmla="*/ 2090 w 733849"/>
                <a:gd name="connsiteY232" fmla="*/ 848930 h 2764803"/>
                <a:gd name="connsiteX233" fmla="*/ 2090 w 733849"/>
                <a:gd name="connsiteY233" fmla="*/ 797334 h 2764803"/>
                <a:gd name="connsiteX234" fmla="*/ 6662 w 733849"/>
                <a:gd name="connsiteY234" fmla="*/ 790802 h 2764803"/>
                <a:gd name="connsiteX235" fmla="*/ 6662 w 733849"/>
                <a:gd name="connsiteY235" fmla="*/ 790802 h 2764803"/>
                <a:gd name="connsiteX236" fmla="*/ 11364 w 733849"/>
                <a:gd name="connsiteY236" fmla="*/ 797203 h 2764803"/>
                <a:gd name="connsiteX237" fmla="*/ 11364 w 733849"/>
                <a:gd name="connsiteY237" fmla="*/ 848800 h 2764803"/>
                <a:gd name="connsiteX238" fmla="*/ 6792 w 733849"/>
                <a:gd name="connsiteY238" fmla="*/ 855331 h 2764803"/>
                <a:gd name="connsiteX239" fmla="*/ 6792 w 733849"/>
                <a:gd name="connsiteY239" fmla="*/ 855331 h 2764803"/>
                <a:gd name="connsiteX240" fmla="*/ 6531 w 733849"/>
                <a:gd name="connsiteY240" fmla="*/ 752007 h 2764803"/>
                <a:gd name="connsiteX241" fmla="*/ 1829 w 733849"/>
                <a:gd name="connsiteY241" fmla="*/ 745606 h 2764803"/>
                <a:gd name="connsiteX242" fmla="*/ 1829 w 733849"/>
                <a:gd name="connsiteY242" fmla="*/ 694009 h 2764803"/>
                <a:gd name="connsiteX243" fmla="*/ 6401 w 733849"/>
                <a:gd name="connsiteY243" fmla="*/ 687478 h 2764803"/>
                <a:gd name="connsiteX244" fmla="*/ 6401 w 733849"/>
                <a:gd name="connsiteY244" fmla="*/ 687478 h 2764803"/>
                <a:gd name="connsiteX245" fmla="*/ 11103 w 733849"/>
                <a:gd name="connsiteY245" fmla="*/ 693879 h 2764803"/>
                <a:gd name="connsiteX246" fmla="*/ 11103 w 733849"/>
                <a:gd name="connsiteY246" fmla="*/ 745476 h 2764803"/>
                <a:gd name="connsiteX247" fmla="*/ 6531 w 733849"/>
                <a:gd name="connsiteY247" fmla="*/ 752007 h 2764803"/>
                <a:gd name="connsiteX248" fmla="*/ 6531 w 733849"/>
                <a:gd name="connsiteY248" fmla="*/ 752007 h 2764803"/>
                <a:gd name="connsiteX249" fmla="*/ 6270 w 733849"/>
                <a:gd name="connsiteY249" fmla="*/ 648683 h 2764803"/>
                <a:gd name="connsiteX250" fmla="*/ 1568 w 733849"/>
                <a:gd name="connsiteY250" fmla="*/ 642282 h 2764803"/>
                <a:gd name="connsiteX251" fmla="*/ 1568 w 733849"/>
                <a:gd name="connsiteY251" fmla="*/ 590685 h 2764803"/>
                <a:gd name="connsiteX252" fmla="*/ 6139 w 733849"/>
                <a:gd name="connsiteY252" fmla="*/ 584154 h 2764803"/>
                <a:gd name="connsiteX253" fmla="*/ 10842 w 733849"/>
                <a:gd name="connsiteY253" fmla="*/ 590555 h 2764803"/>
                <a:gd name="connsiteX254" fmla="*/ 10842 w 733849"/>
                <a:gd name="connsiteY254" fmla="*/ 642151 h 2764803"/>
                <a:gd name="connsiteX255" fmla="*/ 6270 w 733849"/>
                <a:gd name="connsiteY255" fmla="*/ 648683 h 2764803"/>
                <a:gd name="connsiteX256" fmla="*/ 6270 w 733849"/>
                <a:gd name="connsiteY256" fmla="*/ 648683 h 2764803"/>
                <a:gd name="connsiteX257" fmla="*/ 6009 w 733849"/>
                <a:gd name="connsiteY257" fmla="*/ 545359 h 2764803"/>
                <a:gd name="connsiteX258" fmla="*/ 1306 w 733849"/>
                <a:gd name="connsiteY258" fmla="*/ 538958 h 2764803"/>
                <a:gd name="connsiteX259" fmla="*/ 1306 w 733849"/>
                <a:gd name="connsiteY259" fmla="*/ 487361 h 2764803"/>
                <a:gd name="connsiteX260" fmla="*/ 5878 w 733849"/>
                <a:gd name="connsiteY260" fmla="*/ 480830 h 2764803"/>
                <a:gd name="connsiteX261" fmla="*/ 5878 w 733849"/>
                <a:gd name="connsiteY261" fmla="*/ 480830 h 2764803"/>
                <a:gd name="connsiteX262" fmla="*/ 10581 w 733849"/>
                <a:gd name="connsiteY262" fmla="*/ 487230 h 2764803"/>
                <a:gd name="connsiteX263" fmla="*/ 10581 w 733849"/>
                <a:gd name="connsiteY263" fmla="*/ 538827 h 2764803"/>
                <a:gd name="connsiteX264" fmla="*/ 6009 w 733849"/>
                <a:gd name="connsiteY264" fmla="*/ 545359 h 2764803"/>
                <a:gd name="connsiteX265" fmla="*/ 6009 w 733849"/>
                <a:gd name="connsiteY265" fmla="*/ 545359 h 2764803"/>
                <a:gd name="connsiteX266" fmla="*/ 5747 w 733849"/>
                <a:gd name="connsiteY266" fmla="*/ 442034 h 2764803"/>
                <a:gd name="connsiteX267" fmla="*/ 1045 w 733849"/>
                <a:gd name="connsiteY267" fmla="*/ 435634 h 2764803"/>
                <a:gd name="connsiteX268" fmla="*/ 1045 w 733849"/>
                <a:gd name="connsiteY268" fmla="*/ 384037 h 2764803"/>
                <a:gd name="connsiteX269" fmla="*/ 5617 w 733849"/>
                <a:gd name="connsiteY269" fmla="*/ 377506 h 2764803"/>
                <a:gd name="connsiteX270" fmla="*/ 5617 w 733849"/>
                <a:gd name="connsiteY270" fmla="*/ 377506 h 2764803"/>
                <a:gd name="connsiteX271" fmla="*/ 10319 w 733849"/>
                <a:gd name="connsiteY271" fmla="*/ 383906 h 2764803"/>
                <a:gd name="connsiteX272" fmla="*/ 10319 w 733849"/>
                <a:gd name="connsiteY272" fmla="*/ 435503 h 2764803"/>
                <a:gd name="connsiteX273" fmla="*/ 5747 w 733849"/>
                <a:gd name="connsiteY273" fmla="*/ 442034 h 2764803"/>
                <a:gd name="connsiteX274" fmla="*/ 5747 w 733849"/>
                <a:gd name="connsiteY274" fmla="*/ 442034 h 2764803"/>
                <a:gd name="connsiteX275" fmla="*/ 5486 w 733849"/>
                <a:gd name="connsiteY275" fmla="*/ 338710 h 2764803"/>
                <a:gd name="connsiteX276" fmla="*/ 784 w 733849"/>
                <a:gd name="connsiteY276" fmla="*/ 332309 h 2764803"/>
                <a:gd name="connsiteX277" fmla="*/ 784 w 733849"/>
                <a:gd name="connsiteY277" fmla="*/ 280713 h 2764803"/>
                <a:gd name="connsiteX278" fmla="*/ 5356 w 733849"/>
                <a:gd name="connsiteY278" fmla="*/ 274181 h 2764803"/>
                <a:gd name="connsiteX279" fmla="*/ 5356 w 733849"/>
                <a:gd name="connsiteY279" fmla="*/ 274181 h 2764803"/>
                <a:gd name="connsiteX280" fmla="*/ 10058 w 733849"/>
                <a:gd name="connsiteY280" fmla="*/ 280582 h 2764803"/>
                <a:gd name="connsiteX281" fmla="*/ 10058 w 733849"/>
                <a:gd name="connsiteY281" fmla="*/ 332179 h 2764803"/>
                <a:gd name="connsiteX282" fmla="*/ 5486 w 733849"/>
                <a:gd name="connsiteY282" fmla="*/ 338710 h 2764803"/>
                <a:gd name="connsiteX283" fmla="*/ 5486 w 733849"/>
                <a:gd name="connsiteY283" fmla="*/ 338710 h 2764803"/>
                <a:gd name="connsiteX284" fmla="*/ 5225 w 733849"/>
                <a:gd name="connsiteY284" fmla="*/ 235386 h 2764803"/>
                <a:gd name="connsiteX285" fmla="*/ 523 w 733849"/>
                <a:gd name="connsiteY285" fmla="*/ 228985 h 2764803"/>
                <a:gd name="connsiteX286" fmla="*/ 523 w 733849"/>
                <a:gd name="connsiteY286" fmla="*/ 177388 h 2764803"/>
                <a:gd name="connsiteX287" fmla="*/ 5094 w 733849"/>
                <a:gd name="connsiteY287" fmla="*/ 170857 h 2764803"/>
                <a:gd name="connsiteX288" fmla="*/ 5094 w 733849"/>
                <a:gd name="connsiteY288" fmla="*/ 170857 h 2764803"/>
                <a:gd name="connsiteX289" fmla="*/ 9797 w 733849"/>
                <a:gd name="connsiteY289" fmla="*/ 177258 h 2764803"/>
                <a:gd name="connsiteX290" fmla="*/ 9797 w 733849"/>
                <a:gd name="connsiteY290" fmla="*/ 228855 h 2764803"/>
                <a:gd name="connsiteX291" fmla="*/ 5225 w 733849"/>
                <a:gd name="connsiteY291" fmla="*/ 235386 h 2764803"/>
                <a:gd name="connsiteX292" fmla="*/ 5225 w 733849"/>
                <a:gd name="connsiteY292" fmla="*/ 235386 h 2764803"/>
                <a:gd name="connsiteX293" fmla="*/ 4964 w 733849"/>
                <a:gd name="connsiteY293" fmla="*/ 132062 h 2764803"/>
                <a:gd name="connsiteX294" fmla="*/ 261 w 733849"/>
                <a:gd name="connsiteY294" fmla="*/ 125661 h 2764803"/>
                <a:gd name="connsiteX295" fmla="*/ 261 w 733849"/>
                <a:gd name="connsiteY295" fmla="*/ 74064 h 2764803"/>
                <a:gd name="connsiteX296" fmla="*/ 4833 w 733849"/>
                <a:gd name="connsiteY296" fmla="*/ 67533 h 2764803"/>
                <a:gd name="connsiteX297" fmla="*/ 4833 w 733849"/>
                <a:gd name="connsiteY297" fmla="*/ 67533 h 2764803"/>
                <a:gd name="connsiteX298" fmla="*/ 9536 w 733849"/>
                <a:gd name="connsiteY298" fmla="*/ 73934 h 2764803"/>
                <a:gd name="connsiteX299" fmla="*/ 9536 w 733849"/>
                <a:gd name="connsiteY299" fmla="*/ 125530 h 2764803"/>
                <a:gd name="connsiteX300" fmla="*/ 4964 w 733849"/>
                <a:gd name="connsiteY300" fmla="*/ 132062 h 2764803"/>
                <a:gd name="connsiteX301" fmla="*/ 4964 w 733849"/>
                <a:gd name="connsiteY301" fmla="*/ 132062 h 2764803"/>
                <a:gd name="connsiteX302" fmla="*/ 4702 w 733849"/>
                <a:gd name="connsiteY302" fmla="*/ 28738 h 2764803"/>
                <a:gd name="connsiteX303" fmla="*/ 0 w 733849"/>
                <a:gd name="connsiteY303" fmla="*/ 22337 h 2764803"/>
                <a:gd name="connsiteX304" fmla="*/ 0 w 733849"/>
                <a:gd name="connsiteY304" fmla="*/ 6531 h 2764803"/>
                <a:gd name="connsiteX305" fmla="*/ 4702 w 733849"/>
                <a:gd name="connsiteY305" fmla="*/ 0 h 2764803"/>
                <a:gd name="connsiteX306" fmla="*/ 4702 w 733849"/>
                <a:gd name="connsiteY306" fmla="*/ 0 h 2764803"/>
                <a:gd name="connsiteX307" fmla="*/ 9405 w 733849"/>
                <a:gd name="connsiteY307" fmla="*/ 6401 h 2764803"/>
                <a:gd name="connsiteX308" fmla="*/ 9405 w 733849"/>
                <a:gd name="connsiteY308" fmla="*/ 22206 h 2764803"/>
                <a:gd name="connsiteX309" fmla="*/ 4702 w 733849"/>
                <a:gd name="connsiteY309" fmla="*/ 28738 h 2764803"/>
                <a:gd name="connsiteX310" fmla="*/ 4702 w 733849"/>
                <a:gd name="connsiteY310" fmla="*/ 28738 h 276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Lst>
              <a:rect l="l" t="t" r="r" b="b"/>
              <a:pathLst>
                <a:path w="733849" h="2764803">
                  <a:moveTo>
                    <a:pt x="729147" y="2764804"/>
                  </a:moveTo>
                  <a:lnTo>
                    <a:pt x="691397" y="2764804"/>
                  </a:lnTo>
                  <a:cubicBezTo>
                    <a:pt x="688784" y="2764804"/>
                    <a:pt x="686694" y="2761930"/>
                    <a:pt x="686694" y="2758403"/>
                  </a:cubicBezTo>
                  <a:cubicBezTo>
                    <a:pt x="686694" y="2754877"/>
                    <a:pt x="688784" y="2752003"/>
                    <a:pt x="691397" y="2752003"/>
                  </a:cubicBezTo>
                  <a:lnTo>
                    <a:pt x="729147" y="2752003"/>
                  </a:lnTo>
                  <a:cubicBezTo>
                    <a:pt x="731760" y="2752003"/>
                    <a:pt x="733850" y="2754877"/>
                    <a:pt x="733850" y="2758403"/>
                  </a:cubicBezTo>
                  <a:cubicBezTo>
                    <a:pt x="733850" y="2761930"/>
                    <a:pt x="731760" y="2764804"/>
                    <a:pt x="729147" y="2764804"/>
                  </a:cubicBezTo>
                  <a:close/>
                  <a:moveTo>
                    <a:pt x="653777" y="2764804"/>
                  </a:moveTo>
                  <a:lnTo>
                    <a:pt x="616026" y="2764804"/>
                  </a:lnTo>
                  <a:cubicBezTo>
                    <a:pt x="613414" y="2764804"/>
                    <a:pt x="611324" y="2761930"/>
                    <a:pt x="611324" y="2758403"/>
                  </a:cubicBezTo>
                  <a:cubicBezTo>
                    <a:pt x="611324" y="2754877"/>
                    <a:pt x="613414" y="2752003"/>
                    <a:pt x="616026" y="2752003"/>
                  </a:cubicBezTo>
                  <a:lnTo>
                    <a:pt x="653777" y="2752003"/>
                  </a:lnTo>
                  <a:cubicBezTo>
                    <a:pt x="656389" y="2752003"/>
                    <a:pt x="658479" y="2754877"/>
                    <a:pt x="658479" y="2758403"/>
                  </a:cubicBezTo>
                  <a:cubicBezTo>
                    <a:pt x="658479" y="2761930"/>
                    <a:pt x="656389" y="2764804"/>
                    <a:pt x="653777" y="2764804"/>
                  </a:cubicBezTo>
                  <a:close/>
                  <a:moveTo>
                    <a:pt x="578406" y="2764804"/>
                  </a:moveTo>
                  <a:lnTo>
                    <a:pt x="540656" y="2764804"/>
                  </a:lnTo>
                  <a:cubicBezTo>
                    <a:pt x="538043" y="2764804"/>
                    <a:pt x="535953" y="2761930"/>
                    <a:pt x="535953" y="2758403"/>
                  </a:cubicBezTo>
                  <a:cubicBezTo>
                    <a:pt x="535953" y="2754877"/>
                    <a:pt x="538043" y="2752003"/>
                    <a:pt x="540656" y="2752003"/>
                  </a:cubicBezTo>
                  <a:lnTo>
                    <a:pt x="578406" y="2752003"/>
                  </a:lnTo>
                  <a:cubicBezTo>
                    <a:pt x="581019" y="2752003"/>
                    <a:pt x="583109" y="2754877"/>
                    <a:pt x="583109" y="2758403"/>
                  </a:cubicBezTo>
                  <a:cubicBezTo>
                    <a:pt x="583109" y="2761930"/>
                    <a:pt x="581019" y="2764804"/>
                    <a:pt x="578406" y="2764804"/>
                  </a:cubicBezTo>
                  <a:close/>
                  <a:moveTo>
                    <a:pt x="503036" y="2764804"/>
                  </a:moveTo>
                  <a:lnTo>
                    <a:pt x="465285" y="2764804"/>
                  </a:lnTo>
                  <a:cubicBezTo>
                    <a:pt x="462673" y="2764804"/>
                    <a:pt x="460583" y="2761930"/>
                    <a:pt x="460583" y="2758403"/>
                  </a:cubicBezTo>
                  <a:cubicBezTo>
                    <a:pt x="460583" y="2754877"/>
                    <a:pt x="462673" y="2752003"/>
                    <a:pt x="465285" y="2752003"/>
                  </a:cubicBezTo>
                  <a:lnTo>
                    <a:pt x="503036" y="2752003"/>
                  </a:lnTo>
                  <a:cubicBezTo>
                    <a:pt x="505648" y="2752003"/>
                    <a:pt x="507738" y="2754877"/>
                    <a:pt x="507738" y="2758403"/>
                  </a:cubicBezTo>
                  <a:cubicBezTo>
                    <a:pt x="507738" y="2761930"/>
                    <a:pt x="505648" y="2764804"/>
                    <a:pt x="503036" y="2764804"/>
                  </a:cubicBezTo>
                  <a:close/>
                  <a:moveTo>
                    <a:pt x="427665" y="2764804"/>
                  </a:moveTo>
                  <a:lnTo>
                    <a:pt x="389915" y="2764804"/>
                  </a:lnTo>
                  <a:cubicBezTo>
                    <a:pt x="387302" y="2764804"/>
                    <a:pt x="385212" y="2761930"/>
                    <a:pt x="385212" y="2758403"/>
                  </a:cubicBezTo>
                  <a:cubicBezTo>
                    <a:pt x="385212" y="2754877"/>
                    <a:pt x="387302" y="2752003"/>
                    <a:pt x="389915" y="2752003"/>
                  </a:cubicBezTo>
                  <a:lnTo>
                    <a:pt x="427665" y="2752003"/>
                  </a:lnTo>
                  <a:cubicBezTo>
                    <a:pt x="430278" y="2752003"/>
                    <a:pt x="432368" y="2754877"/>
                    <a:pt x="432368" y="2758403"/>
                  </a:cubicBezTo>
                  <a:cubicBezTo>
                    <a:pt x="432368" y="2761930"/>
                    <a:pt x="430278" y="2764804"/>
                    <a:pt x="427665" y="2764804"/>
                  </a:cubicBezTo>
                  <a:close/>
                  <a:moveTo>
                    <a:pt x="352295" y="2764804"/>
                  </a:moveTo>
                  <a:lnTo>
                    <a:pt x="314544" y="2764804"/>
                  </a:lnTo>
                  <a:cubicBezTo>
                    <a:pt x="311932" y="2764804"/>
                    <a:pt x="309842" y="2761930"/>
                    <a:pt x="309842" y="2758403"/>
                  </a:cubicBezTo>
                  <a:cubicBezTo>
                    <a:pt x="309842" y="2754877"/>
                    <a:pt x="311932" y="2752003"/>
                    <a:pt x="314544" y="2752003"/>
                  </a:cubicBezTo>
                  <a:lnTo>
                    <a:pt x="352295" y="2752003"/>
                  </a:lnTo>
                  <a:cubicBezTo>
                    <a:pt x="354907" y="2752003"/>
                    <a:pt x="356997" y="2754877"/>
                    <a:pt x="356997" y="2758403"/>
                  </a:cubicBezTo>
                  <a:cubicBezTo>
                    <a:pt x="356997" y="2761930"/>
                    <a:pt x="354907" y="2764804"/>
                    <a:pt x="352295" y="2764804"/>
                  </a:cubicBezTo>
                  <a:close/>
                  <a:moveTo>
                    <a:pt x="276924" y="2764804"/>
                  </a:moveTo>
                  <a:lnTo>
                    <a:pt x="239174" y="2764804"/>
                  </a:lnTo>
                  <a:cubicBezTo>
                    <a:pt x="236561" y="2764804"/>
                    <a:pt x="234471" y="2761930"/>
                    <a:pt x="234471" y="2758403"/>
                  </a:cubicBezTo>
                  <a:cubicBezTo>
                    <a:pt x="234471" y="2754877"/>
                    <a:pt x="236561" y="2752003"/>
                    <a:pt x="239174" y="2752003"/>
                  </a:cubicBezTo>
                  <a:lnTo>
                    <a:pt x="276924" y="2752003"/>
                  </a:lnTo>
                  <a:cubicBezTo>
                    <a:pt x="279537" y="2752003"/>
                    <a:pt x="281627" y="2754877"/>
                    <a:pt x="281627" y="2758403"/>
                  </a:cubicBezTo>
                  <a:cubicBezTo>
                    <a:pt x="281627" y="2761930"/>
                    <a:pt x="279537" y="2764804"/>
                    <a:pt x="276924" y="2764804"/>
                  </a:cubicBezTo>
                  <a:close/>
                  <a:moveTo>
                    <a:pt x="201554" y="2764804"/>
                  </a:moveTo>
                  <a:lnTo>
                    <a:pt x="163803" y="2764804"/>
                  </a:lnTo>
                  <a:cubicBezTo>
                    <a:pt x="161191" y="2764804"/>
                    <a:pt x="159101" y="2761930"/>
                    <a:pt x="159101" y="2758403"/>
                  </a:cubicBezTo>
                  <a:cubicBezTo>
                    <a:pt x="159101" y="2754877"/>
                    <a:pt x="161191" y="2752003"/>
                    <a:pt x="163803" y="2752003"/>
                  </a:cubicBezTo>
                  <a:lnTo>
                    <a:pt x="201554" y="2752003"/>
                  </a:lnTo>
                  <a:cubicBezTo>
                    <a:pt x="204166" y="2752003"/>
                    <a:pt x="206256" y="2754877"/>
                    <a:pt x="206256" y="2758403"/>
                  </a:cubicBezTo>
                  <a:cubicBezTo>
                    <a:pt x="206256" y="2761930"/>
                    <a:pt x="204166" y="2764804"/>
                    <a:pt x="201554" y="2764804"/>
                  </a:cubicBezTo>
                  <a:close/>
                  <a:moveTo>
                    <a:pt x="126184" y="2764804"/>
                  </a:moveTo>
                  <a:lnTo>
                    <a:pt x="88433" y="2764804"/>
                  </a:lnTo>
                  <a:cubicBezTo>
                    <a:pt x="85820" y="2764804"/>
                    <a:pt x="83730" y="2761930"/>
                    <a:pt x="83730" y="2758403"/>
                  </a:cubicBezTo>
                  <a:cubicBezTo>
                    <a:pt x="83730" y="2754877"/>
                    <a:pt x="85820" y="2752003"/>
                    <a:pt x="88433" y="2752003"/>
                  </a:cubicBezTo>
                  <a:lnTo>
                    <a:pt x="126184" y="2752003"/>
                  </a:lnTo>
                  <a:cubicBezTo>
                    <a:pt x="128796" y="2752003"/>
                    <a:pt x="130886" y="2754877"/>
                    <a:pt x="130886" y="2758403"/>
                  </a:cubicBezTo>
                  <a:cubicBezTo>
                    <a:pt x="130886" y="2761930"/>
                    <a:pt x="128796" y="2764804"/>
                    <a:pt x="126184" y="2764804"/>
                  </a:cubicBezTo>
                  <a:close/>
                  <a:moveTo>
                    <a:pt x="50813" y="2764804"/>
                  </a:moveTo>
                  <a:lnTo>
                    <a:pt x="13062" y="2764804"/>
                  </a:lnTo>
                  <a:cubicBezTo>
                    <a:pt x="10450" y="2764804"/>
                    <a:pt x="8360" y="2761930"/>
                    <a:pt x="8360" y="2758403"/>
                  </a:cubicBezTo>
                  <a:cubicBezTo>
                    <a:pt x="8360" y="2754877"/>
                    <a:pt x="10450" y="2752003"/>
                    <a:pt x="13062" y="2752003"/>
                  </a:cubicBezTo>
                  <a:lnTo>
                    <a:pt x="50813" y="2752003"/>
                  </a:lnTo>
                  <a:cubicBezTo>
                    <a:pt x="53426" y="2752003"/>
                    <a:pt x="55516" y="2754877"/>
                    <a:pt x="55516" y="2758403"/>
                  </a:cubicBezTo>
                  <a:cubicBezTo>
                    <a:pt x="55516" y="2761930"/>
                    <a:pt x="53426" y="2764804"/>
                    <a:pt x="50813" y="2764804"/>
                  </a:cubicBezTo>
                  <a:close/>
                  <a:moveTo>
                    <a:pt x="11495" y="2715167"/>
                  </a:moveTo>
                  <a:cubicBezTo>
                    <a:pt x="8882" y="2715167"/>
                    <a:pt x="6792" y="2712293"/>
                    <a:pt x="6792" y="2708766"/>
                  </a:cubicBezTo>
                  <a:lnTo>
                    <a:pt x="6792" y="2657169"/>
                  </a:lnTo>
                  <a:cubicBezTo>
                    <a:pt x="6792" y="2653643"/>
                    <a:pt x="8752" y="2650769"/>
                    <a:pt x="11364" y="2650638"/>
                  </a:cubicBezTo>
                  <a:lnTo>
                    <a:pt x="11364" y="2650638"/>
                  </a:lnTo>
                  <a:cubicBezTo>
                    <a:pt x="13977" y="2650638"/>
                    <a:pt x="16067" y="2653512"/>
                    <a:pt x="16067" y="2657039"/>
                  </a:cubicBezTo>
                  <a:lnTo>
                    <a:pt x="16067" y="2708635"/>
                  </a:lnTo>
                  <a:cubicBezTo>
                    <a:pt x="16067" y="2712162"/>
                    <a:pt x="14107" y="2715036"/>
                    <a:pt x="11495" y="2715167"/>
                  </a:cubicBezTo>
                  <a:lnTo>
                    <a:pt x="11495" y="2715167"/>
                  </a:lnTo>
                  <a:close/>
                  <a:moveTo>
                    <a:pt x="11234" y="2611842"/>
                  </a:moveTo>
                  <a:cubicBezTo>
                    <a:pt x="8621" y="2611842"/>
                    <a:pt x="6531" y="2608969"/>
                    <a:pt x="6531" y="2605442"/>
                  </a:cubicBezTo>
                  <a:lnTo>
                    <a:pt x="6531" y="2553845"/>
                  </a:lnTo>
                  <a:cubicBezTo>
                    <a:pt x="6531" y="2550318"/>
                    <a:pt x="8491" y="2547445"/>
                    <a:pt x="11103" y="2547314"/>
                  </a:cubicBezTo>
                  <a:lnTo>
                    <a:pt x="11103" y="2547314"/>
                  </a:lnTo>
                  <a:cubicBezTo>
                    <a:pt x="13716" y="2547314"/>
                    <a:pt x="15806" y="2550188"/>
                    <a:pt x="15806" y="2553714"/>
                  </a:cubicBezTo>
                  <a:lnTo>
                    <a:pt x="15806" y="2605311"/>
                  </a:lnTo>
                  <a:cubicBezTo>
                    <a:pt x="15806" y="2608838"/>
                    <a:pt x="13846" y="2611712"/>
                    <a:pt x="11234" y="2611842"/>
                  </a:cubicBezTo>
                  <a:lnTo>
                    <a:pt x="11234" y="2611842"/>
                  </a:lnTo>
                  <a:close/>
                  <a:moveTo>
                    <a:pt x="10972" y="2508518"/>
                  </a:moveTo>
                  <a:cubicBezTo>
                    <a:pt x="8360" y="2508518"/>
                    <a:pt x="6270" y="2505644"/>
                    <a:pt x="6270" y="2502118"/>
                  </a:cubicBezTo>
                  <a:lnTo>
                    <a:pt x="6270" y="2450521"/>
                  </a:lnTo>
                  <a:cubicBezTo>
                    <a:pt x="6270" y="2446994"/>
                    <a:pt x="8229" y="2444120"/>
                    <a:pt x="10842" y="2443990"/>
                  </a:cubicBezTo>
                  <a:lnTo>
                    <a:pt x="10842" y="2443990"/>
                  </a:lnTo>
                  <a:cubicBezTo>
                    <a:pt x="13454" y="2443990"/>
                    <a:pt x="15544" y="2446863"/>
                    <a:pt x="15544" y="2450390"/>
                  </a:cubicBezTo>
                  <a:lnTo>
                    <a:pt x="15544" y="2501987"/>
                  </a:lnTo>
                  <a:cubicBezTo>
                    <a:pt x="15544" y="2505514"/>
                    <a:pt x="13585" y="2508387"/>
                    <a:pt x="10972" y="2508518"/>
                  </a:cubicBezTo>
                  <a:lnTo>
                    <a:pt x="10972" y="2508518"/>
                  </a:lnTo>
                  <a:close/>
                  <a:moveTo>
                    <a:pt x="10711" y="2405194"/>
                  </a:moveTo>
                  <a:cubicBezTo>
                    <a:pt x="8099" y="2405194"/>
                    <a:pt x="6009" y="2402320"/>
                    <a:pt x="6009" y="2398794"/>
                  </a:cubicBezTo>
                  <a:lnTo>
                    <a:pt x="6009" y="2347197"/>
                  </a:lnTo>
                  <a:cubicBezTo>
                    <a:pt x="6009" y="2343670"/>
                    <a:pt x="7968" y="2340796"/>
                    <a:pt x="10581" y="2340665"/>
                  </a:cubicBezTo>
                  <a:lnTo>
                    <a:pt x="10581" y="2340665"/>
                  </a:lnTo>
                  <a:cubicBezTo>
                    <a:pt x="13193" y="2340665"/>
                    <a:pt x="15283" y="2343539"/>
                    <a:pt x="15283" y="2347066"/>
                  </a:cubicBezTo>
                  <a:lnTo>
                    <a:pt x="15283" y="2398663"/>
                  </a:lnTo>
                  <a:cubicBezTo>
                    <a:pt x="15283" y="2402190"/>
                    <a:pt x="13324" y="2405063"/>
                    <a:pt x="10711" y="2405194"/>
                  </a:cubicBezTo>
                  <a:lnTo>
                    <a:pt x="10711" y="2405194"/>
                  </a:lnTo>
                  <a:close/>
                  <a:moveTo>
                    <a:pt x="10450" y="2301870"/>
                  </a:moveTo>
                  <a:cubicBezTo>
                    <a:pt x="7837" y="2301870"/>
                    <a:pt x="5747" y="2298996"/>
                    <a:pt x="5747" y="2295469"/>
                  </a:cubicBezTo>
                  <a:lnTo>
                    <a:pt x="5747" y="2243872"/>
                  </a:lnTo>
                  <a:cubicBezTo>
                    <a:pt x="5747" y="2240346"/>
                    <a:pt x="7707" y="2237472"/>
                    <a:pt x="10319" y="2237341"/>
                  </a:cubicBezTo>
                  <a:lnTo>
                    <a:pt x="10319" y="2237341"/>
                  </a:lnTo>
                  <a:cubicBezTo>
                    <a:pt x="12932" y="2237341"/>
                    <a:pt x="15022" y="2240215"/>
                    <a:pt x="15022" y="2243742"/>
                  </a:cubicBezTo>
                  <a:lnTo>
                    <a:pt x="15022" y="2295339"/>
                  </a:lnTo>
                  <a:cubicBezTo>
                    <a:pt x="15022" y="2298866"/>
                    <a:pt x="13062" y="2301739"/>
                    <a:pt x="10450" y="2301870"/>
                  </a:cubicBezTo>
                  <a:lnTo>
                    <a:pt x="10450" y="2301870"/>
                  </a:lnTo>
                  <a:close/>
                  <a:moveTo>
                    <a:pt x="10189" y="2198546"/>
                  </a:moveTo>
                  <a:cubicBezTo>
                    <a:pt x="7576" y="2198546"/>
                    <a:pt x="5486" y="2195672"/>
                    <a:pt x="5486" y="2192145"/>
                  </a:cubicBezTo>
                  <a:lnTo>
                    <a:pt x="5486" y="2140548"/>
                  </a:lnTo>
                  <a:cubicBezTo>
                    <a:pt x="5486" y="2137021"/>
                    <a:pt x="7446" y="2134148"/>
                    <a:pt x="10058" y="2134017"/>
                  </a:cubicBezTo>
                  <a:lnTo>
                    <a:pt x="10058" y="2134017"/>
                  </a:lnTo>
                  <a:cubicBezTo>
                    <a:pt x="12671" y="2134017"/>
                    <a:pt x="14761" y="2136891"/>
                    <a:pt x="14761" y="2140418"/>
                  </a:cubicBezTo>
                  <a:lnTo>
                    <a:pt x="14761" y="2192014"/>
                  </a:lnTo>
                  <a:cubicBezTo>
                    <a:pt x="14761" y="2195541"/>
                    <a:pt x="12801" y="2198415"/>
                    <a:pt x="10189" y="2198546"/>
                  </a:cubicBezTo>
                  <a:lnTo>
                    <a:pt x="10189" y="2198546"/>
                  </a:lnTo>
                  <a:close/>
                  <a:moveTo>
                    <a:pt x="9927" y="2095222"/>
                  </a:moveTo>
                  <a:cubicBezTo>
                    <a:pt x="7315" y="2095222"/>
                    <a:pt x="5225" y="2092348"/>
                    <a:pt x="5225" y="2088821"/>
                  </a:cubicBezTo>
                  <a:lnTo>
                    <a:pt x="5225" y="2037224"/>
                  </a:lnTo>
                  <a:cubicBezTo>
                    <a:pt x="5225" y="2033697"/>
                    <a:pt x="7184" y="2030823"/>
                    <a:pt x="9797" y="2030693"/>
                  </a:cubicBezTo>
                  <a:lnTo>
                    <a:pt x="9797" y="2030693"/>
                  </a:lnTo>
                  <a:cubicBezTo>
                    <a:pt x="12409" y="2030693"/>
                    <a:pt x="14499" y="2033567"/>
                    <a:pt x="14499" y="2037093"/>
                  </a:cubicBezTo>
                  <a:lnTo>
                    <a:pt x="14499" y="2088690"/>
                  </a:lnTo>
                  <a:cubicBezTo>
                    <a:pt x="14499" y="2092217"/>
                    <a:pt x="12540" y="2095091"/>
                    <a:pt x="9927" y="2095222"/>
                  </a:cubicBezTo>
                  <a:lnTo>
                    <a:pt x="9927" y="2095222"/>
                  </a:lnTo>
                  <a:close/>
                  <a:moveTo>
                    <a:pt x="9666" y="1991897"/>
                  </a:moveTo>
                  <a:cubicBezTo>
                    <a:pt x="7054" y="1991897"/>
                    <a:pt x="4964" y="1989023"/>
                    <a:pt x="4964" y="1985497"/>
                  </a:cubicBezTo>
                  <a:lnTo>
                    <a:pt x="4964" y="1933900"/>
                  </a:lnTo>
                  <a:cubicBezTo>
                    <a:pt x="4964" y="1930373"/>
                    <a:pt x="6923" y="1927499"/>
                    <a:pt x="9536" y="1927369"/>
                  </a:cubicBezTo>
                  <a:lnTo>
                    <a:pt x="9536" y="1927369"/>
                  </a:lnTo>
                  <a:cubicBezTo>
                    <a:pt x="12148" y="1927369"/>
                    <a:pt x="14238" y="1930242"/>
                    <a:pt x="14238" y="1933769"/>
                  </a:cubicBezTo>
                  <a:lnTo>
                    <a:pt x="14238" y="1985366"/>
                  </a:lnTo>
                  <a:cubicBezTo>
                    <a:pt x="14238" y="1988893"/>
                    <a:pt x="12279" y="1991767"/>
                    <a:pt x="9666" y="1991897"/>
                  </a:cubicBezTo>
                  <a:lnTo>
                    <a:pt x="9666" y="1991897"/>
                  </a:lnTo>
                  <a:close/>
                  <a:moveTo>
                    <a:pt x="9405" y="1888573"/>
                  </a:moveTo>
                  <a:cubicBezTo>
                    <a:pt x="6792" y="1888573"/>
                    <a:pt x="4702" y="1885699"/>
                    <a:pt x="4702" y="1882172"/>
                  </a:cubicBezTo>
                  <a:lnTo>
                    <a:pt x="4702" y="1830576"/>
                  </a:lnTo>
                  <a:cubicBezTo>
                    <a:pt x="4702" y="1827049"/>
                    <a:pt x="6662" y="1824175"/>
                    <a:pt x="9274" y="1824044"/>
                  </a:cubicBezTo>
                  <a:lnTo>
                    <a:pt x="9274" y="1824044"/>
                  </a:lnTo>
                  <a:cubicBezTo>
                    <a:pt x="11887" y="1824044"/>
                    <a:pt x="13977" y="1826918"/>
                    <a:pt x="13977" y="1830445"/>
                  </a:cubicBezTo>
                  <a:lnTo>
                    <a:pt x="13977" y="1882042"/>
                  </a:lnTo>
                  <a:cubicBezTo>
                    <a:pt x="13977" y="1885569"/>
                    <a:pt x="12017" y="1888442"/>
                    <a:pt x="9405" y="1888573"/>
                  </a:cubicBezTo>
                  <a:lnTo>
                    <a:pt x="9405" y="1888573"/>
                  </a:lnTo>
                  <a:close/>
                  <a:moveTo>
                    <a:pt x="9144" y="1785249"/>
                  </a:moveTo>
                  <a:cubicBezTo>
                    <a:pt x="6531" y="1785249"/>
                    <a:pt x="4441" y="1782375"/>
                    <a:pt x="4441" y="1778848"/>
                  </a:cubicBezTo>
                  <a:lnTo>
                    <a:pt x="4441" y="1727251"/>
                  </a:lnTo>
                  <a:cubicBezTo>
                    <a:pt x="4441" y="1723725"/>
                    <a:pt x="6401" y="1720851"/>
                    <a:pt x="9013" y="1720720"/>
                  </a:cubicBezTo>
                  <a:lnTo>
                    <a:pt x="9013" y="1720720"/>
                  </a:lnTo>
                  <a:cubicBezTo>
                    <a:pt x="11626" y="1720720"/>
                    <a:pt x="13716" y="1723594"/>
                    <a:pt x="13716" y="1727121"/>
                  </a:cubicBezTo>
                  <a:lnTo>
                    <a:pt x="13716" y="1778718"/>
                  </a:lnTo>
                  <a:cubicBezTo>
                    <a:pt x="13716" y="1782244"/>
                    <a:pt x="11756" y="1785118"/>
                    <a:pt x="9144" y="1785249"/>
                  </a:cubicBezTo>
                  <a:lnTo>
                    <a:pt x="9144" y="1785249"/>
                  </a:lnTo>
                  <a:close/>
                  <a:moveTo>
                    <a:pt x="8882" y="1681925"/>
                  </a:moveTo>
                  <a:cubicBezTo>
                    <a:pt x="6270" y="1681925"/>
                    <a:pt x="4180" y="1679051"/>
                    <a:pt x="4180" y="1675524"/>
                  </a:cubicBezTo>
                  <a:lnTo>
                    <a:pt x="4180" y="1623927"/>
                  </a:lnTo>
                  <a:cubicBezTo>
                    <a:pt x="4180" y="1620400"/>
                    <a:pt x="6139" y="1617527"/>
                    <a:pt x="8752" y="1617396"/>
                  </a:cubicBezTo>
                  <a:lnTo>
                    <a:pt x="8752" y="1617396"/>
                  </a:lnTo>
                  <a:cubicBezTo>
                    <a:pt x="11364" y="1617396"/>
                    <a:pt x="13454" y="1620270"/>
                    <a:pt x="13454" y="1623797"/>
                  </a:cubicBezTo>
                  <a:lnTo>
                    <a:pt x="13454" y="1675393"/>
                  </a:lnTo>
                  <a:cubicBezTo>
                    <a:pt x="13454" y="1678920"/>
                    <a:pt x="11495" y="1681794"/>
                    <a:pt x="8882" y="1681925"/>
                  </a:cubicBezTo>
                  <a:lnTo>
                    <a:pt x="8882" y="1681925"/>
                  </a:lnTo>
                  <a:close/>
                  <a:moveTo>
                    <a:pt x="8621" y="1578600"/>
                  </a:moveTo>
                  <a:cubicBezTo>
                    <a:pt x="6009" y="1578600"/>
                    <a:pt x="3919" y="1575727"/>
                    <a:pt x="3919" y="1572200"/>
                  </a:cubicBezTo>
                  <a:lnTo>
                    <a:pt x="3919" y="1520603"/>
                  </a:lnTo>
                  <a:cubicBezTo>
                    <a:pt x="3919" y="1517076"/>
                    <a:pt x="5878" y="1514202"/>
                    <a:pt x="8491" y="1514072"/>
                  </a:cubicBezTo>
                  <a:lnTo>
                    <a:pt x="8491" y="1514072"/>
                  </a:lnTo>
                  <a:cubicBezTo>
                    <a:pt x="11103" y="1514072"/>
                    <a:pt x="13193" y="1516945"/>
                    <a:pt x="13193" y="1520472"/>
                  </a:cubicBezTo>
                  <a:lnTo>
                    <a:pt x="13193" y="1572069"/>
                  </a:lnTo>
                  <a:cubicBezTo>
                    <a:pt x="13193" y="1575596"/>
                    <a:pt x="11234" y="1578470"/>
                    <a:pt x="8621" y="1578600"/>
                  </a:cubicBezTo>
                  <a:lnTo>
                    <a:pt x="8621" y="1578600"/>
                  </a:lnTo>
                  <a:close/>
                  <a:moveTo>
                    <a:pt x="8360" y="1475276"/>
                  </a:moveTo>
                  <a:cubicBezTo>
                    <a:pt x="5747" y="1475276"/>
                    <a:pt x="3658" y="1472403"/>
                    <a:pt x="3658" y="1468876"/>
                  </a:cubicBezTo>
                  <a:lnTo>
                    <a:pt x="3658" y="1417279"/>
                  </a:lnTo>
                  <a:cubicBezTo>
                    <a:pt x="3658" y="1413752"/>
                    <a:pt x="5617" y="1410878"/>
                    <a:pt x="8229" y="1410748"/>
                  </a:cubicBezTo>
                  <a:lnTo>
                    <a:pt x="8229" y="1410748"/>
                  </a:lnTo>
                  <a:cubicBezTo>
                    <a:pt x="10842" y="1410748"/>
                    <a:pt x="12932" y="1413621"/>
                    <a:pt x="12932" y="1417148"/>
                  </a:cubicBezTo>
                  <a:lnTo>
                    <a:pt x="12932" y="1468745"/>
                  </a:lnTo>
                  <a:cubicBezTo>
                    <a:pt x="12932" y="1472272"/>
                    <a:pt x="10972" y="1475146"/>
                    <a:pt x="8360" y="1475276"/>
                  </a:cubicBezTo>
                  <a:lnTo>
                    <a:pt x="8360" y="1475276"/>
                  </a:lnTo>
                  <a:close/>
                  <a:moveTo>
                    <a:pt x="8099" y="1371952"/>
                  </a:moveTo>
                  <a:cubicBezTo>
                    <a:pt x="5486" y="1371952"/>
                    <a:pt x="3396" y="1369078"/>
                    <a:pt x="3396" y="1365551"/>
                  </a:cubicBezTo>
                  <a:lnTo>
                    <a:pt x="3396" y="1313955"/>
                  </a:lnTo>
                  <a:cubicBezTo>
                    <a:pt x="3396" y="1310428"/>
                    <a:pt x="5356" y="1307554"/>
                    <a:pt x="7968" y="1307423"/>
                  </a:cubicBezTo>
                  <a:lnTo>
                    <a:pt x="7968" y="1307423"/>
                  </a:lnTo>
                  <a:cubicBezTo>
                    <a:pt x="10581" y="1307423"/>
                    <a:pt x="12671" y="1310297"/>
                    <a:pt x="12671" y="1313824"/>
                  </a:cubicBezTo>
                  <a:lnTo>
                    <a:pt x="12671" y="1365421"/>
                  </a:lnTo>
                  <a:cubicBezTo>
                    <a:pt x="12671" y="1368948"/>
                    <a:pt x="10711" y="1371821"/>
                    <a:pt x="8099" y="1371952"/>
                  </a:cubicBezTo>
                  <a:lnTo>
                    <a:pt x="8099" y="1371952"/>
                  </a:lnTo>
                  <a:close/>
                  <a:moveTo>
                    <a:pt x="7837" y="1268628"/>
                  </a:moveTo>
                  <a:cubicBezTo>
                    <a:pt x="5225" y="1268628"/>
                    <a:pt x="3135" y="1265754"/>
                    <a:pt x="3135" y="1262227"/>
                  </a:cubicBezTo>
                  <a:lnTo>
                    <a:pt x="3135" y="1210630"/>
                  </a:lnTo>
                  <a:cubicBezTo>
                    <a:pt x="3135" y="1207104"/>
                    <a:pt x="5094" y="1204230"/>
                    <a:pt x="7707" y="1204099"/>
                  </a:cubicBezTo>
                  <a:lnTo>
                    <a:pt x="7707" y="1204099"/>
                  </a:lnTo>
                  <a:cubicBezTo>
                    <a:pt x="10319" y="1204099"/>
                    <a:pt x="12409" y="1206973"/>
                    <a:pt x="12409" y="1210500"/>
                  </a:cubicBezTo>
                  <a:lnTo>
                    <a:pt x="12409" y="1262097"/>
                  </a:lnTo>
                  <a:cubicBezTo>
                    <a:pt x="12409" y="1265624"/>
                    <a:pt x="10450" y="1268497"/>
                    <a:pt x="7837" y="1268628"/>
                  </a:cubicBezTo>
                  <a:lnTo>
                    <a:pt x="7837" y="1268628"/>
                  </a:lnTo>
                  <a:close/>
                  <a:moveTo>
                    <a:pt x="7576" y="1165304"/>
                  </a:moveTo>
                  <a:cubicBezTo>
                    <a:pt x="4964" y="1165304"/>
                    <a:pt x="2874" y="1162430"/>
                    <a:pt x="2874" y="1158903"/>
                  </a:cubicBezTo>
                  <a:lnTo>
                    <a:pt x="2874" y="1107306"/>
                  </a:lnTo>
                  <a:cubicBezTo>
                    <a:pt x="2874" y="1103779"/>
                    <a:pt x="4833" y="1100906"/>
                    <a:pt x="7446" y="1100775"/>
                  </a:cubicBezTo>
                  <a:lnTo>
                    <a:pt x="7446" y="1100775"/>
                  </a:lnTo>
                  <a:cubicBezTo>
                    <a:pt x="10058" y="1100775"/>
                    <a:pt x="12148" y="1103649"/>
                    <a:pt x="12148" y="1107176"/>
                  </a:cubicBezTo>
                  <a:lnTo>
                    <a:pt x="12148" y="1158772"/>
                  </a:lnTo>
                  <a:cubicBezTo>
                    <a:pt x="12148" y="1162299"/>
                    <a:pt x="10189" y="1165173"/>
                    <a:pt x="7576" y="1165304"/>
                  </a:cubicBezTo>
                  <a:lnTo>
                    <a:pt x="7576" y="1165304"/>
                  </a:lnTo>
                  <a:close/>
                  <a:moveTo>
                    <a:pt x="7315" y="1061979"/>
                  </a:moveTo>
                  <a:cubicBezTo>
                    <a:pt x="4702" y="1061979"/>
                    <a:pt x="2613" y="1059106"/>
                    <a:pt x="2613" y="1055579"/>
                  </a:cubicBezTo>
                  <a:lnTo>
                    <a:pt x="2613" y="1003982"/>
                  </a:lnTo>
                  <a:cubicBezTo>
                    <a:pt x="2613" y="1000455"/>
                    <a:pt x="4572" y="997581"/>
                    <a:pt x="7184" y="997451"/>
                  </a:cubicBezTo>
                  <a:cubicBezTo>
                    <a:pt x="9666" y="997451"/>
                    <a:pt x="11887" y="1000325"/>
                    <a:pt x="11887" y="1003851"/>
                  </a:cubicBezTo>
                  <a:lnTo>
                    <a:pt x="11887" y="1055448"/>
                  </a:lnTo>
                  <a:cubicBezTo>
                    <a:pt x="11887" y="1058975"/>
                    <a:pt x="9927" y="1061849"/>
                    <a:pt x="7315" y="1061979"/>
                  </a:cubicBezTo>
                  <a:lnTo>
                    <a:pt x="7315" y="1061979"/>
                  </a:lnTo>
                  <a:close/>
                  <a:moveTo>
                    <a:pt x="7054" y="958655"/>
                  </a:moveTo>
                  <a:cubicBezTo>
                    <a:pt x="4441" y="958655"/>
                    <a:pt x="2351" y="955782"/>
                    <a:pt x="2351" y="952255"/>
                  </a:cubicBezTo>
                  <a:lnTo>
                    <a:pt x="2351" y="900658"/>
                  </a:lnTo>
                  <a:cubicBezTo>
                    <a:pt x="2351" y="897131"/>
                    <a:pt x="4311" y="894257"/>
                    <a:pt x="6923" y="894127"/>
                  </a:cubicBezTo>
                  <a:lnTo>
                    <a:pt x="6923" y="894127"/>
                  </a:lnTo>
                  <a:cubicBezTo>
                    <a:pt x="9536" y="894127"/>
                    <a:pt x="11626" y="897000"/>
                    <a:pt x="11626" y="900527"/>
                  </a:cubicBezTo>
                  <a:lnTo>
                    <a:pt x="11626" y="952124"/>
                  </a:lnTo>
                  <a:cubicBezTo>
                    <a:pt x="11626" y="955651"/>
                    <a:pt x="9666" y="958525"/>
                    <a:pt x="7054" y="958655"/>
                  </a:cubicBezTo>
                  <a:lnTo>
                    <a:pt x="7054" y="958655"/>
                  </a:lnTo>
                  <a:close/>
                  <a:moveTo>
                    <a:pt x="6792" y="855331"/>
                  </a:moveTo>
                  <a:cubicBezTo>
                    <a:pt x="4180" y="855331"/>
                    <a:pt x="2090" y="852457"/>
                    <a:pt x="2090" y="848930"/>
                  </a:cubicBezTo>
                  <a:lnTo>
                    <a:pt x="2090" y="797334"/>
                  </a:lnTo>
                  <a:cubicBezTo>
                    <a:pt x="2090" y="793807"/>
                    <a:pt x="4049" y="790933"/>
                    <a:pt x="6662" y="790802"/>
                  </a:cubicBezTo>
                  <a:lnTo>
                    <a:pt x="6662" y="790802"/>
                  </a:lnTo>
                  <a:cubicBezTo>
                    <a:pt x="9274" y="790802"/>
                    <a:pt x="11364" y="793676"/>
                    <a:pt x="11364" y="797203"/>
                  </a:cubicBezTo>
                  <a:lnTo>
                    <a:pt x="11364" y="848800"/>
                  </a:lnTo>
                  <a:cubicBezTo>
                    <a:pt x="11364" y="852327"/>
                    <a:pt x="9405" y="855201"/>
                    <a:pt x="6792" y="855331"/>
                  </a:cubicBezTo>
                  <a:lnTo>
                    <a:pt x="6792" y="855331"/>
                  </a:lnTo>
                  <a:close/>
                  <a:moveTo>
                    <a:pt x="6531" y="752007"/>
                  </a:moveTo>
                  <a:cubicBezTo>
                    <a:pt x="3919" y="752007"/>
                    <a:pt x="1829" y="749133"/>
                    <a:pt x="1829" y="745606"/>
                  </a:cubicBezTo>
                  <a:lnTo>
                    <a:pt x="1829" y="694009"/>
                  </a:lnTo>
                  <a:cubicBezTo>
                    <a:pt x="1829" y="690483"/>
                    <a:pt x="3788" y="687609"/>
                    <a:pt x="6401" y="687478"/>
                  </a:cubicBezTo>
                  <a:lnTo>
                    <a:pt x="6401" y="687478"/>
                  </a:lnTo>
                  <a:cubicBezTo>
                    <a:pt x="9013" y="687478"/>
                    <a:pt x="11103" y="690352"/>
                    <a:pt x="11103" y="693879"/>
                  </a:cubicBezTo>
                  <a:lnTo>
                    <a:pt x="11103" y="745476"/>
                  </a:lnTo>
                  <a:cubicBezTo>
                    <a:pt x="11103" y="749003"/>
                    <a:pt x="9144" y="751876"/>
                    <a:pt x="6531" y="752007"/>
                  </a:cubicBezTo>
                  <a:lnTo>
                    <a:pt x="6531" y="752007"/>
                  </a:lnTo>
                  <a:close/>
                  <a:moveTo>
                    <a:pt x="6270" y="648683"/>
                  </a:moveTo>
                  <a:cubicBezTo>
                    <a:pt x="3658" y="648683"/>
                    <a:pt x="1568" y="645809"/>
                    <a:pt x="1568" y="642282"/>
                  </a:cubicBezTo>
                  <a:lnTo>
                    <a:pt x="1568" y="590685"/>
                  </a:lnTo>
                  <a:cubicBezTo>
                    <a:pt x="1568" y="587158"/>
                    <a:pt x="3527" y="584285"/>
                    <a:pt x="6139" y="584154"/>
                  </a:cubicBezTo>
                  <a:cubicBezTo>
                    <a:pt x="8621" y="584023"/>
                    <a:pt x="10842" y="587028"/>
                    <a:pt x="10842" y="590555"/>
                  </a:cubicBezTo>
                  <a:lnTo>
                    <a:pt x="10842" y="642151"/>
                  </a:lnTo>
                  <a:cubicBezTo>
                    <a:pt x="10842" y="645678"/>
                    <a:pt x="8882" y="648552"/>
                    <a:pt x="6270" y="648683"/>
                  </a:cubicBezTo>
                  <a:lnTo>
                    <a:pt x="6270" y="648683"/>
                  </a:lnTo>
                  <a:close/>
                  <a:moveTo>
                    <a:pt x="6009" y="545359"/>
                  </a:moveTo>
                  <a:cubicBezTo>
                    <a:pt x="3396" y="545359"/>
                    <a:pt x="1306" y="542485"/>
                    <a:pt x="1306" y="538958"/>
                  </a:cubicBezTo>
                  <a:lnTo>
                    <a:pt x="1306" y="487361"/>
                  </a:lnTo>
                  <a:cubicBezTo>
                    <a:pt x="1306" y="483834"/>
                    <a:pt x="3266" y="480960"/>
                    <a:pt x="5878" y="480830"/>
                  </a:cubicBezTo>
                  <a:lnTo>
                    <a:pt x="5878" y="480830"/>
                  </a:lnTo>
                  <a:cubicBezTo>
                    <a:pt x="8491" y="480830"/>
                    <a:pt x="10581" y="483704"/>
                    <a:pt x="10581" y="487230"/>
                  </a:cubicBezTo>
                  <a:lnTo>
                    <a:pt x="10581" y="538827"/>
                  </a:lnTo>
                  <a:cubicBezTo>
                    <a:pt x="10581" y="542354"/>
                    <a:pt x="8621" y="545228"/>
                    <a:pt x="6009" y="545359"/>
                  </a:cubicBezTo>
                  <a:lnTo>
                    <a:pt x="6009" y="545359"/>
                  </a:lnTo>
                  <a:close/>
                  <a:moveTo>
                    <a:pt x="5747" y="442034"/>
                  </a:moveTo>
                  <a:cubicBezTo>
                    <a:pt x="3135" y="442034"/>
                    <a:pt x="1045" y="439161"/>
                    <a:pt x="1045" y="435634"/>
                  </a:cubicBezTo>
                  <a:lnTo>
                    <a:pt x="1045" y="384037"/>
                  </a:lnTo>
                  <a:cubicBezTo>
                    <a:pt x="1045" y="380510"/>
                    <a:pt x="3004" y="377636"/>
                    <a:pt x="5617" y="377506"/>
                  </a:cubicBezTo>
                  <a:lnTo>
                    <a:pt x="5617" y="377506"/>
                  </a:lnTo>
                  <a:cubicBezTo>
                    <a:pt x="8229" y="377506"/>
                    <a:pt x="10319" y="380379"/>
                    <a:pt x="10319" y="383906"/>
                  </a:cubicBezTo>
                  <a:lnTo>
                    <a:pt x="10319" y="435503"/>
                  </a:lnTo>
                  <a:cubicBezTo>
                    <a:pt x="10319" y="439030"/>
                    <a:pt x="8360" y="441904"/>
                    <a:pt x="5747" y="442034"/>
                  </a:cubicBezTo>
                  <a:lnTo>
                    <a:pt x="5747" y="442034"/>
                  </a:lnTo>
                  <a:close/>
                  <a:moveTo>
                    <a:pt x="5486" y="338710"/>
                  </a:moveTo>
                  <a:cubicBezTo>
                    <a:pt x="2874" y="338710"/>
                    <a:pt x="784" y="335836"/>
                    <a:pt x="784" y="332309"/>
                  </a:cubicBezTo>
                  <a:lnTo>
                    <a:pt x="784" y="280713"/>
                  </a:lnTo>
                  <a:cubicBezTo>
                    <a:pt x="784" y="277186"/>
                    <a:pt x="2743" y="274312"/>
                    <a:pt x="5356" y="274181"/>
                  </a:cubicBezTo>
                  <a:lnTo>
                    <a:pt x="5356" y="274181"/>
                  </a:lnTo>
                  <a:cubicBezTo>
                    <a:pt x="7968" y="274181"/>
                    <a:pt x="10058" y="277055"/>
                    <a:pt x="10058" y="280582"/>
                  </a:cubicBezTo>
                  <a:lnTo>
                    <a:pt x="10058" y="332179"/>
                  </a:lnTo>
                  <a:cubicBezTo>
                    <a:pt x="10058" y="335706"/>
                    <a:pt x="8099" y="338579"/>
                    <a:pt x="5486" y="338710"/>
                  </a:cubicBezTo>
                  <a:lnTo>
                    <a:pt x="5486" y="338710"/>
                  </a:lnTo>
                  <a:close/>
                  <a:moveTo>
                    <a:pt x="5225" y="235386"/>
                  </a:moveTo>
                  <a:cubicBezTo>
                    <a:pt x="2613" y="235386"/>
                    <a:pt x="523" y="232512"/>
                    <a:pt x="523" y="228985"/>
                  </a:cubicBezTo>
                  <a:lnTo>
                    <a:pt x="523" y="177388"/>
                  </a:lnTo>
                  <a:cubicBezTo>
                    <a:pt x="523" y="173862"/>
                    <a:pt x="2482" y="170988"/>
                    <a:pt x="5094" y="170857"/>
                  </a:cubicBezTo>
                  <a:lnTo>
                    <a:pt x="5094" y="170857"/>
                  </a:lnTo>
                  <a:cubicBezTo>
                    <a:pt x="7707" y="170857"/>
                    <a:pt x="9797" y="173731"/>
                    <a:pt x="9797" y="177258"/>
                  </a:cubicBezTo>
                  <a:lnTo>
                    <a:pt x="9797" y="228855"/>
                  </a:lnTo>
                  <a:cubicBezTo>
                    <a:pt x="9797" y="232381"/>
                    <a:pt x="7837" y="235255"/>
                    <a:pt x="5225" y="235386"/>
                  </a:cubicBezTo>
                  <a:lnTo>
                    <a:pt x="5225" y="235386"/>
                  </a:lnTo>
                  <a:close/>
                  <a:moveTo>
                    <a:pt x="4964" y="132062"/>
                  </a:moveTo>
                  <a:cubicBezTo>
                    <a:pt x="2351" y="132062"/>
                    <a:pt x="261" y="129188"/>
                    <a:pt x="261" y="125661"/>
                  </a:cubicBezTo>
                  <a:lnTo>
                    <a:pt x="261" y="74064"/>
                  </a:lnTo>
                  <a:cubicBezTo>
                    <a:pt x="261" y="70537"/>
                    <a:pt x="2221" y="67664"/>
                    <a:pt x="4833" y="67533"/>
                  </a:cubicBezTo>
                  <a:lnTo>
                    <a:pt x="4833" y="67533"/>
                  </a:lnTo>
                  <a:cubicBezTo>
                    <a:pt x="7446" y="67533"/>
                    <a:pt x="9536" y="70407"/>
                    <a:pt x="9536" y="73934"/>
                  </a:cubicBezTo>
                  <a:lnTo>
                    <a:pt x="9536" y="125530"/>
                  </a:lnTo>
                  <a:cubicBezTo>
                    <a:pt x="9536" y="129057"/>
                    <a:pt x="7576" y="131931"/>
                    <a:pt x="4964" y="132062"/>
                  </a:cubicBezTo>
                  <a:lnTo>
                    <a:pt x="4964" y="132062"/>
                  </a:lnTo>
                  <a:close/>
                  <a:moveTo>
                    <a:pt x="4702" y="28738"/>
                  </a:moveTo>
                  <a:cubicBezTo>
                    <a:pt x="2090" y="28738"/>
                    <a:pt x="0" y="25864"/>
                    <a:pt x="0" y="22337"/>
                  </a:cubicBezTo>
                  <a:lnTo>
                    <a:pt x="0" y="6531"/>
                  </a:lnTo>
                  <a:cubicBezTo>
                    <a:pt x="0" y="3004"/>
                    <a:pt x="2090" y="131"/>
                    <a:pt x="4702" y="0"/>
                  </a:cubicBezTo>
                  <a:lnTo>
                    <a:pt x="4702" y="0"/>
                  </a:lnTo>
                  <a:cubicBezTo>
                    <a:pt x="7315" y="0"/>
                    <a:pt x="9405" y="2874"/>
                    <a:pt x="9405" y="6401"/>
                  </a:cubicBezTo>
                  <a:lnTo>
                    <a:pt x="9405" y="22206"/>
                  </a:lnTo>
                  <a:cubicBezTo>
                    <a:pt x="9405" y="25733"/>
                    <a:pt x="7315" y="28607"/>
                    <a:pt x="4702" y="28738"/>
                  </a:cubicBezTo>
                  <a:lnTo>
                    <a:pt x="4702" y="28738"/>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206" name="Graphic 717">
              <a:extLst>
                <a:ext uri="{FF2B5EF4-FFF2-40B4-BE49-F238E27FC236}">
                  <a16:creationId xmlns:a16="http://schemas.microsoft.com/office/drawing/2014/main" id="{1FA66BB1-F8E9-1F54-36E6-60D95E73D74C}"/>
                </a:ext>
              </a:extLst>
            </p:cNvPr>
            <p:cNvGrpSpPr/>
            <p:nvPr/>
          </p:nvGrpSpPr>
          <p:grpSpPr>
            <a:xfrm>
              <a:off x="1009687" y="5967986"/>
              <a:ext cx="56168" cy="77068"/>
              <a:chOff x="1009687" y="5967986"/>
              <a:chExt cx="56168" cy="77068"/>
            </a:xfrm>
            <a:grpFill/>
          </p:grpSpPr>
          <p:sp>
            <p:nvSpPr>
              <p:cNvPr id="207" name="Freeform: Shape 206">
                <a:extLst>
                  <a:ext uri="{FF2B5EF4-FFF2-40B4-BE49-F238E27FC236}">
                    <a16:creationId xmlns:a16="http://schemas.microsoft.com/office/drawing/2014/main" id="{5678B0E2-6D36-9EE5-E47F-D02BDD50A308}"/>
                  </a:ext>
                </a:extLst>
              </p:cNvPr>
              <p:cNvSpPr/>
              <p:nvPr/>
            </p:nvSpPr>
            <p:spPr>
              <a:xfrm>
                <a:off x="1014390" y="5974257"/>
                <a:ext cx="46763" cy="64267"/>
              </a:xfrm>
              <a:custGeom>
                <a:avLst/>
                <a:gdLst>
                  <a:gd name="connsiteX0" fmla="*/ 23382 w 46763"/>
                  <a:gd name="connsiteY0" fmla="*/ 64267 h 64267"/>
                  <a:gd name="connsiteX1" fmla="*/ 46764 w 46763"/>
                  <a:gd name="connsiteY1" fmla="*/ 32134 h 64267"/>
                  <a:gd name="connsiteX2" fmla="*/ 23382 w 46763"/>
                  <a:gd name="connsiteY2" fmla="*/ 0 h 64267"/>
                  <a:gd name="connsiteX3" fmla="*/ 0 w 46763"/>
                  <a:gd name="connsiteY3" fmla="*/ 32134 h 64267"/>
                  <a:gd name="connsiteX4" fmla="*/ 23382 w 46763"/>
                  <a:gd name="connsiteY4" fmla="*/ 64267 h 64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63" h="64267">
                    <a:moveTo>
                      <a:pt x="23382" y="64267"/>
                    </a:moveTo>
                    <a:cubicBezTo>
                      <a:pt x="36314" y="64267"/>
                      <a:pt x="46764" y="49899"/>
                      <a:pt x="46764" y="32134"/>
                    </a:cubicBezTo>
                    <a:cubicBezTo>
                      <a:pt x="46764" y="14369"/>
                      <a:pt x="36314" y="0"/>
                      <a:pt x="23382" y="0"/>
                    </a:cubicBezTo>
                    <a:cubicBezTo>
                      <a:pt x="10450" y="0"/>
                      <a:pt x="0" y="14369"/>
                      <a:pt x="0" y="32134"/>
                    </a:cubicBezTo>
                    <a:cubicBezTo>
                      <a:pt x="0" y="49899"/>
                      <a:pt x="10450" y="64267"/>
                      <a:pt x="23382" y="6426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08" name="Freeform: Shape 207">
                <a:extLst>
                  <a:ext uri="{FF2B5EF4-FFF2-40B4-BE49-F238E27FC236}">
                    <a16:creationId xmlns:a16="http://schemas.microsoft.com/office/drawing/2014/main" id="{56CE5553-FA4C-9A24-3122-88C1FBBF79EF}"/>
                  </a:ext>
                </a:extLst>
              </p:cNvPr>
              <p:cNvSpPr/>
              <p:nvPr/>
            </p:nvSpPr>
            <p:spPr>
              <a:xfrm>
                <a:off x="1009687" y="5967986"/>
                <a:ext cx="56168" cy="77068"/>
              </a:xfrm>
              <a:custGeom>
                <a:avLst/>
                <a:gdLst>
                  <a:gd name="connsiteX0" fmla="*/ 28084 w 56168"/>
                  <a:gd name="connsiteY0" fmla="*/ 77069 h 77068"/>
                  <a:gd name="connsiteX1" fmla="*/ 0 w 56168"/>
                  <a:gd name="connsiteY1" fmla="*/ 38534 h 77068"/>
                  <a:gd name="connsiteX2" fmla="*/ 28084 w 56168"/>
                  <a:gd name="connsiteY2" fmla="*/ 0 h 77068"/>
                  <a:gd name="connsiteX3" fmla="*/ 56169 w 56168"/>
                  <a:gd name="connsiteY3" fmla="*/ 38534 h 77068"/>
                  <a:gd name="connsiteX4" fmla="*/ 28084 w 56168"/>
                  <a:gd name="connsiteY4" fmla="*/ 77069 h 77068"/>
                  <a:gd name="connsiteX5" fmla="*/ 28084 w 56168"/>
                  <a:gd name="connsiteY5" fmla="*/ 12932 h 77068"/>
                  <a:gd name="connsiteX6" fmla="*/ 9405 w 56168"/>
                  <a:gd name="connsiteY6" fmla="*/ 38534 h 77068"/>
                  <a:gd name="connsiteX7" fmla="*/ 28084 w 56168"/>
                  <a:gd name="connsiteY7" fmla="*/ 64137 h 77068"/>
                  <a:gd name="connsiteX8" fmla="*/ 46764 w 56168"/>
                  <a:gd name="connsiteY8" fmla="*/ 38534 h 77068"/>
                  <a:gd name="connsiteX9" fmla="*/ 28084 w 56168"/>
                  <a:gd name="connsiteY9" fmla="*/ 12932 h 7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168" h="77068">
                    <a:moveTo>
                      <a:pt x="28084" y="77069"/>
                    </a:moveTo>
                    <a:cubicBezTo>
                      <a:pt x="12540" y="77069"/>
                      <a:pt x="0" y="59826"/>
                      <a:pt x="0" y="38534"/>
                    </a:cubicBezTo>
                    <a:cubicBezTo>
                      <a:pt x="0" y="17243"/>
                      <a:pt x="12671" y="0"/>
                      <a:pt x="28084" y="0"/>
                    </a:cubicBezTo>
                    <a:cubicBezTo>
                      <a:pt x="43498" y="0"/>
                      <a:pt x="56169" y="17243"/>
                      <a:pt x="56169" y="38534"/>
                    </a:cubicBezTo>
                    <a:cubicBezTo>
                      <a:pt x="56169" y="59826"/>
                      <a:pt x="43498" y="77069"/>
                      <a:pt x="28084" y="77069"/>
                    </a:cubicBezTo>
                    <a:close/>
                    <a:moveTo>
                      <a:pt x="28084" y="12932"/>
                    </a:moveTo>
                    <a:cubicBezTo>
                      <a:pt x="17765" y="12932"/>
                      <a:pt x="9405" y="24427"/>
                      <a:pt x="9405" y="38534"/>
                    </a:cubicBezTo>
                    <a:cubicBezTo>
                      <a:pt x="9405" y="52642"/>
                      <a:pt x="17765" y="64137"/>
                      <a:pt x="28084" y="64137"/>
                    </a:cubicBezTo>
                    <a:cubicBezTo>
                      <a:pt x="38404" y="64137"/>
                      <a:pt x="46764" y="52642"/>
                      <a:pt x="46764" y="38534"/>
                    </a:cubicBezTo>
                    <a:cubicBezTo>
                      <a:pt x="46764" y="24427"/>
                      <a:pt x="38404" y="12932"/>
                      <a:pt x="28084" y="12932"/>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nvGrpSpPr>
          <p:cNvPr id="209" name="Graphic 717">
            <a:extLst>
              <a:ext uri="{FF2B5EF4-FFF2-40B4-BE49-F238E27FC236}">
                <a16:creationId xmlns:a16="http://schemas.microsoft.com/office/drawing/2014/main" id="{5811883D-DFD3-0D64-5FA9-809E779C0AF0}"/>
              </a:ext>
            </a:extLst>
          </p:cNvPr>
          <p:cNvGrpSpPr/>
          <p:nvPr/>
        </p:nvGrpSpPr>
        <p:grpSpPr>
          <a:xfrm>
            <a:off x="8304887" y="875648"/>
            <a:ext cx="1562911" cy="1009534"/>
            <a:chOff x="2781743" y="2597476"/>
            <a:chExt cx="1273677" cy="799162"/>
          </a:xfrm>
          <a:noFill/>
        </p:grpSpPr>
        <p:grpSp>
          <p:nvGrpSpPr>
            <p:cNvPr id="210" name="Graphic 717">
              <a:extLst>
                <a:ext uri="{FF2B5EF4-FFF2-40B4-BE49-F238E27FC236}">
                  <a16:creationId xmlns:a16="http://schemas.microsoft.com/office/drawing/2014/main" id="{9BD7D482-FCCA-5D41-EBD5-1798568E3587}"/>
                </a:ext>
              </a:extLst>
            </p:cNvPr>
            <p:cNvGrpSpPr/>
            <p:nvPr/>
          </p:nvGrpSpPr>
          <p:grpSpPr>
            <a:xfrm>
              <a:off x="2781743" y="2597476"/>
              <a:ext cx="1273677" cy="799162"/>
              <a:chOff x="2781743" y="2597476"/>
              <a:chExt cx="1273677" cy="799162"/>
            </a:xfrm>
            <a:grpFill/>
          </p:grpSpPr>
          <p:sp>
            <p:nvSpPr>
              <p:cNvPr id="231" name="Freeform: Shape 230">
                <a:extLst>
                  <a:ext uri="{FF2B5EF4-FFF2-40B4-BE49-F238E27FC236}">
                    <a16:creationId xmlns:a16="http://schemas.microsoft.com/office/drawing/2014/main" id="{61718FEA-550F-FC99-9935-845C222E675C}"/>
                  </a:ext>
                </a:extLst>
              </p:cNvPr>
              <p:cNvSpPr/>
              <p:nvPr/>
            </p:nvSpPr>
            <p:spPr>
              <a:xfrm>
                <a:off x="2785429" y="2601394"/>
                <a:ext cx="1266184" cy="791455"/>
              </a:xfrm>
              <a:custGeom>
                <a:avLst/>
                <a:gdLst>
                  <a:gd name="connsiteX0" fmla="*/ 1263374 w 1266184"/>
                  <a:gd name="connsiteY0" fmla="*/ 790541 h 791455"/>
                  <a:gd name="connsiteX1" fmla="*/ 1264941 w 1266184"/>
                  <a:gd name="connsiteY1" fmla="*/ 0 h 791455"/>
                  <a:gd name="connsiteX2" fmla="*/ 1800 w 1266184"/>
                  <a:gd name="connsiteY2" fmla="*/ 1437 h 791455"/>
                  <a:gd name="connsiteX3" fmla="*/ 1800 w 1266184"/>
                  <a:gd name="connsiteY3" fmla="*/ 791456 h 791455"/>
                  <a:gd name="connsiteX4" fmla="*/ 1263374 w 1266184"/>
                  <a:gd name="connsiteY4" fmla="*/ 790541 h 791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184" h="791455">
                    <a:moveTo>
                      <a:pt x="1263374" y="790541"/>
                    </a:moveTo>
                    <a:cubicBezTo>
                      <a:pt x="1263374" y="507085"/>
                      <a:pt x="1268468" y="266083"/>
                      <a:pt x="1264941" y="0"/>
                    </a:cubicBezTo>
                    <a:cubicBezTo>
                      <a:pt x="846158" y="0"/>
                      <a:pt x="423718" y="5747"/>
                      <a:pt x="1800" y="1437"/>
                    </a:cubicBezTo>
                    <a:cubicBezTo>
                      <a:pt x="-2250" y="272614"/>
                      <a:pt x="1800" y="527724"/>
                      <a:pt x="1800" y="791456"/>
                    </a:cubicBezTo>
                    <a:cubicBezTo>
                      <a:pt x="423456" y="791456"/>
                      <a:pt x="843807" y="790541"/>
                      <a:pt x="1263374" y="790541"/>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DADB7159-6F87-A661-C7CB-1CEC9D860542}"/>
                  </a:ext>
                </a:extLst>
              </p:cNvPr>
              <p:cNvSpPr/>
              <p:nvPr/>
            </p:nvSpPr>
            <p:spPr>
              <a:xfrm>
                <a:off x="2781743" y="2597476"/>
                <a:ext cx="1273677" cy="799162"/>
              </a:xfrm>
              <a:custGeom>
                <a:avLst/>
                <a:gdLst>
                  <a:gd name="connsiteX0" fmla="*/ 5617 w 1273677"/>
                  <a:gd name="connsiteY0" fmla="*/ 799162 h 799162"/>
                  <a:gd name="connsiteX1" fmla="*/ 1829 w 1273677"/>
                  <a:gd name="connsiteY1" fmla="*/ 795374 h 799162"/>
                  <a:gd name="connsiteX2" fmla="*/ 914 w 1273677"/>
                  <a:gd name="connsiteY2" fmla="*/ 533472 h 799162"/>
                  <a:gd name="connsiteX3" fmla="*/ 1829 w 1273677"/>
                  <a:gd name="connsiteY3" fmla="*/ 5225 h 799162"/>
                  <a:gd name="connsiteX4" fmla="*/ 5617 w 1273677"/>
                  <a:gd name="connsiteY4" fmla="*/ 1567 h 799162"/>
                  <a:gd name="connsiteX5" fmla="*/ 809351 w 1273677"/>
                  <a:gd name="connsiteY5" fmla="*/ 1567 h 799162"/>
                  <a:gd name="connsiteX6" fmla="*/ 1268628 w 1273677"/>
                  <a:gd name="connsiteY6" fmla="*/ 0 h 799162"/>
                  <a:gd name="connsiteX7" fmla="*/ 1272416 w 1273677"/>
                  <a:gd name="connsiteY7" fmla="*/ 3657 h 799162"/>
                  <a:gd name="connsiteX8" fmla="*/ 1272416 w 1273677"/>
                  <a:gd name="connsiteY8" fmla="*/ 485663 h 799162"/>
                  <a:gd name="connsiteX9" fmla="*/ 1270979 w 1273677"/>
                  <a:gd name="connsiteY9" fmla="*/ 794329 h 799162"/>
                  <a:gd name="connsiteX10" fmla="*/ 1267191 w 1273677"/>
                  <a:gd name="connsiteY10" fmla="*/ 798117 h 799162"/>
                  <a:gd name="connsiteX11" fmla="*/ 637971 w 1273677"/>
                  <a:gd name="connsiteY11" fmla="*/ 798640 h 799162"/>
                  <a:gd name="connsiteX12" fmla="*/ 5617 w 1273677"/>
                  <a:gd name="connsiteY12" fmla="*/ 799162 h 799162"/>
                  <a:gd name="connsiteX13" fmla="*/ 9274 w 1273677"/>
                  <a:gd name="connsiteY13" fmla="*/ 9144 h 799162"/>
                  <a:gd name="connsiteX14" fmla="*/ 8491 w 1273677"/>
                  <a:gd name="connsiteY14" fmla="*/ 533472 h 799162"/>
                  <a:gd name="connsiteX15" fmla="*/ 9405 w 1273677"/>
                  <a:gd name="connsiteY15" fmla="*/ 791586 h 799162"/>
                  <a:gd name="connsiteX16" fmla="*/ 637971 w 1273677"/>
                  <a:gd name="connsiteY16" fmla="*/ 791064 h 799162"/>
                  <a:gd name="connsiteX17" fmla="*/ 1263403 w 1273677"/>
                  <a:gd name="connsiteY17" fmla="*/ 790541 h 799162"/>
                  <a:gd name="connsiteX18" fmla="*/ 1264839 w 1273677"/>
                  <a:gd name="connsiteY18" fmla="*/ 485663 h 799162"/>
                  <a:gd name="connsiteX19" fmla="*/ 1264970 w 1273677"/>
                  <a:gd name="connsiteY19" fmla="*/ 7446 h 799162"/>
                  <a:gd name="connsiteX20" fmla="*/ 809482 w 1273677"/>
                  <a:gd name="connsiteY20" fmla="*/ 9013 h 799162"/>
                  <a:gd name="connsiteX21" fmla="*/ 9274 w 1273677"/>
                  <a:gd name="connsiteY21" fmla="*/ 9013 h 799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3677" h="799162">
                    <a:moveTo>
                      <a:pt x="5617" y="799162"/>
                    </a:moveTo>
                    <a:cubicBezTo>
                      <a:pt x="3527" y="799162"/>
                      <a:pt x="1829" y="797464"/>
                      <a:pt x="1829" y="795374"/>
                    </a:cubicBezTo>
                    <a:cubicBezTo>
                      <a:pt x="1829" y="707464"/>
                      <a:pt x="1306" y="619031"/>
                      <a:pt x="914" y="533472"/>
                    </a:cubicBezTo>
                    <a:cubicBezTo>
                      <a:pt x="0" y="362614"/>
                      <a:pt x="-914" y="186010"/>
                      <a:pt x="1829" y="5225"/>
                    </a:cubicBezTo>
                    <a:cubicBezTo>
                      <a:pt x="1829" y="3135"/>
                      <a:pt x="3527" y="1437"/>
                      <a:pt x="5617" y="1567"/>
                    </a:cubicBezTo>
                    <a:cubicBezTo>
                      <a:pt x="273659" y="4180"/>
                      <a:pt x="546012" y="2874"/>
                      <a:pt x="809351" y="1567"/>
                    </a:cubicBezTo>
                    <a:cubicBezTo>
                      <a:pt x="960092" y="784"/>
                      <a:pt x="1115927" y="0"/>
                      <a:pt x="1268628" y="0"/>
                    </a:cubicBezTo>
                    <a:cubicBezTo>
                      <a:pt x="1270718" y="0"/>
                      <a:pt x="1272285" y="1698"/>
                      <a:pt x="1272416" y="3657"/>
                    </a:cubicBezTo>
                    <a:cubicBezTo>
                      <a:pt x="1274636" y="168637"/>
                      <a:pt x="1273461" y="322643"/>
                      <a:pt x="1272416" y="485663"/>
                    </a:cubicBezTo>
                    <a:cubicBezTo>
                      <a:pt x="1271763" y="584415"/>
                      <a:pt x="1270979" y="686564"/>
                      <a:pt x="1270979" y="794329"/>
                    </a:cubicBezTo>
                    <a:cubicBezTo>
                      <a:pt x="1270979" y="796419"/>
                      <a:pt x="1269281" y="798117"/>
                      <a:pt x="1267191" y="798117"/>
                    </a:cubicBezTo>
                    <a:cubicBezTo>
                      <a:pt x="1057669" y="798117"/>
                      <a:pt x="844358" y="798379"/>
                      <a:pt x="637971" y="798640"/>
                    </a:cubicBezTo>
                    <a:cubicBezTo>
                      <a:pt x="430931" y="798901"/>
                      <a:pt x="216706" y="799162"/>
                      <a:pt x="5617" y="799162"/>
                    </a:cubicBezTo>
                    <a:close/>
                    <a:moveTo>
                      <a:pt x="9274" y="9144"/>
                    </a:moveTo>
                    <a:cubicBezTo>
                      <a:pt x="6662" y="188622"/>
                      <a:pt x="7576" y="363921"/>
                      <a:pt x="8491" y="533472"/>
                    </a:cubicBezTo>
                    <a:cubicBezTo>
                      <a:pt x="8882" y="617725"/>
                      <a:pt x="9405" y="704851"/>
                      <a:pt x="9405" y="791586"/>
                    </a:cubicBezTo>
                    <a:cubicBezTo>
                      <a:pt x="219319" y="791586"/>
                      <a:pt x="432107" y="791325"/>
                      <a:pt x="637971" y="791064"/>
                    </a:cubicBezTo>
                    <a:cubicBezTo>
                      <a:pt x="843052" y="790802"/>
                      <a:pt x="1055056" y="790541"/>
                      <a:pt x="1263403" y="790541"/>
                    </a:cubicBezTo>
                    <a:cubicBezTo>
                      <a:pt x="1263403" y="684082"/>
                      <a:pt x="1264186" y="583240"/>
                      <a:pt x="1264839" y="485663"/>
                    </a:cubicBezTo>
                    <a:cubicBezTo>
                      <a:pt x="1266015" y="323819"/>
                      <a:pt x="1267060" y="170988"/>
                      <a:pt x="1264970" y="7446"/>
                    </a:cubicBezTo>
                    <a:cubicBezTo>
                      <a:pt x="1113445" y="7446"/>
                      <a:pt x="958916" y="8229"/>
                      <a:pt x="809482" y="9013"/>
                    </a:cubicBezTo>
                    <a:cubicBezTo>
                      <a:pt x="547318" y="10319"/>
                      <a:pt x="276271" y="11626"/>
                      <a:pt x="9274" y="9013"/>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211" name="Graphic 717">
              <a:extLst>
                <a:ext uri="{FF2B5EF4-FFF2-40B4-BE49-F238E27FC236}">
                  <a16:creationId xmlns:a16="http://schemas.microsoft.com/office/drawing/2014/main" id="{CD9432CF-457E-7244-E9E8-0FAF9F132001}"/>
                </a:ext>
              </a:extLst>
            </p:cNvPr>
            <p:cNvGrpSpPr/>
            <p:nvPr/>
          </p:nvGrpSpPr>
          <p:grpSpPr>
            <a:xfrm>
              <a:off x="3090017" y="2975373"/>
              <a:ext cx="425967" cy="299914"/>
              <a:chOff x="3090017" y="2975373"/>
              <a:chExt cx="425967" cy="299914"/>
            </a:xfrm>
            <a:grpFill/>
          </p:grpSpPr>
          <p:grpSp>
            <p:nvGrpSpPr>
              <p:cNvPr id="219" name="Graphic 717">
                <a:extLst>
                  <a:ext uri="{FF2B5EF4-FFF2-40B4-BE49-F238E27FC236}">
                    <a16:creationId xmlns:a16="http://schemas.microsoft.com/office/drawing/2014/main" id="{30CF5F05-21DF-42B4-E27B-00E67D3277DC}"/>
                  </a:ext>
                </a:extLst>
              </p:cNvPr>
              <p:cNvGrpSpPr/>
              <p:nvPr/>
            </p:nvGrpSpPr>
            <p:grpSpPr>
              <a:xfrm>
                <a:off x="3325011" y="2975373"/>
                <a:ext cx="77460" cy="299914"/>
                <a:chOff x="3325011" y="2975373"/>
                <a:chExt cx="77460" cy="299914"/>
              </a:xfrm>
              <a:grpFill/>
            </p:grpSpPr>
            <p:sp>
              <p:nvSpPr>
                <p:cNvPr id="229" name="Freeform: Shape 228">
                  <a:extLst>
                    <a:ext uri="{FF2B5EF4-FFF2-40B4-BE49-F238E27FC236}">
                      <a16:creationId xmlns:a16="http://schemas.microsoft.com/office/drawing/2014/main" id="{8D412044-C736-5D6F-3D13-A422176062E7}"/>
                    </a:ext>
                  </a:extLst>
                </p:cNvPr>
                <p:cNvSpPr/>
                <p:nvPr/>
              </p:nvSpPr>
              <p:spPr>
                <a:xfrm>
                  <a:off x="3328799" y="2979292"/>
                  <a:ext cx="69884" cy="292338"/>
                </a:xfrm>
                <a:custGeom>
                  <a:avLst/>
                  <a:gdLst>
                    <a:gd name="connsiteX0" fmla="*/ 0 w 69884"/>
                    <a:gd name="connsiteY0" fmla="*/ 0 h 292338"/>
                    <a:gd name="connsiteX1" fmla="*/ 69884 w 69884"/>
                    <a:gd name="connsiteY1" fmla="*/ 0 h 292338"/>
                    <a:gd name="connsiteX2" fmla="*/ 69884 w 69884"/>
                    <a:gd name="connsiteY2" fmla="*/ 292338 h 292338"/>
                    <a:gd name="connsiteX3" fmla="*/ 0 w 69884"/>
                    <a:gd name="connsiteY3" fmla="*/ 292338 h 292338"/>
                  </a:gdLst>
                  <a:ahLst/>
                  <a:cxnLst>
                    <a:cxn ang="0">
                      <a:pos x="connsiteX0" y="connsiteY0"/>
                    </a:cxn>
                    <a:cxn ang="0">
                      <a:pos x="connsiteX1" y="connsiteY1"/>
                    </a:cxn>
                    <a:cxn ang="0">
                      <a:pos x="connsiteX2" y="connsiteY2"/>
                    </a:cxn>
                    <a:cxn ang="0">
                      <a:pos x="connsiteX3" y="connsiteY3"/>
                    </a:cxn>
                  </a:cxnLst>
                  <a:rect l="l" t="t" r="r" b="b"/>
                  <a:pathLst>
                    <a:path w="69884" h="292338">
                      <a:moveTo>
                        <a:pt x="0" y="0"/>
                      </a:moveTo>
                      <a:lnTo>
                        <a:pt x="69884" y="0"/>
                      </a:lnTo>
                      <a:lnTo>
                        <a:pt x="69884" y="292338"/>
                      </a:lnTo>
                      <a:lnTo>
                        <a:pt x="0" y="292338"/>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30" name="Freeform: Shape 229">
                  <a:extLst>
                    <a:ext uri="{FF2B5EF4-FFF2-40B4-BE49-F238E27FC236}">
                      <a16:creationId xmlns:a16="http://schemas.microsoft.com/office/drawing/2014/main" id="{6F9DD079-9A87-286D-F994-8923E3DCE68E}"/>
                    </a:ext>
                  </a:extLst>
                </p:cNvPr>
                <p:cNvSpPr/>
                <p:nvPr/>
              </p:nvSpPr>
              <p:spPr>
                <a:xfrm>
                  <a:off x="3325011" y="2975373"/>
                  <a:ext cx="77460" cy="299914"/>
                </a:xfrm>
                <a:custGeom>
                  <a:avLst/>
                  <a:gdLst>
                    <a:gd name="connsiteX0" fmla="*/ 73673 w 77460"/>
                    <a:gd name="connsiteY0" fmla="*/ 299914 h 299914"/>
                    <a:gd name="connsiteX1" fmla="*/ 3788 w 77460"/>
                    <a:gd name="connsiteY1" fmla="*/ 299914 h 299914"/>
                    <a:gd name="connsiteX2" fmla="*/ 0 w 77460"/>
                    <a:gd name="connsiteY2" fmla="*/ 296126 h 299914"/>
                    <a:gd name="connsiteX3" fmla="*/ 0 w 77460"/>
                    <a:gd name="connsiteY3" fmla="*/ 3788 h 299914"/>
                    <a:gd name="connsiteX4" fmla="*/ 3788 w 77460"/>
                    <a:gd name="connsiteY4" fmla="*/ 0 h 299914"/>
                    <a:gd name="connsiteX5" fmla="*/ 73673 w 77460"/>
                    <a:gd name="connsiteY5" fmla="*/ 0 h 299914"/>
                    <a:gd name="connsiteX6" fmla="*/ 77460 w 77460"/>
                    <a:gd name="connsiteY6" fmla="*/ 3788 h 299914"/>
                    <a:gd name="connsiteX7" fmla="*/ 77460 w 77460"/>
                    <a:gd name="connsiteY7" fmla="*/ 296126 h 299914"/>
                    <a:gd name="connsiteX8" fmla="*/ 73673 w 77460"/>
                    <a:gd name="connsiteY8" fmla="*/ 299914 h 299914"/>
                    <a:gd name="connsiteX9" fmla="*/ 7576 w 77460"/>
                    <a:gd name="connsiteY9" fmla="*/ 292469 h 299914"/>
                    <a:gd name="connsiteX10" fmla="*/ 70015 w 77460"/>
                    <a:gd name="connsiteY10" fmla="*/ 292469 h 299914"/>
                    <a:gd name="connsiteX11" fmla="*/ 70015 w 77460"/>
                    <a:gd name="connsiteY11" fmla="*/ 7576 h 299914"/>
                    <a:gd name="connsiteX12" fmla="*/ 7576 w 77460"/>
                    <a:gd name="connsiteY12" fmla="*/ 7576 h 299914"/>
                    <a:gd name="connsiteX13" fmla="*/ 7576 w 77460"/>
                    <a:gd name="connsiteY13" fmla="*/ 292469 h 29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60" h="299914">
                      <a:moveTo>
                        <a:pt x="73673" y="299914"/>
                      </a:moveTo>
                      <a:lnTo>
                        <a:pt x="3788" y="299914"/>
                      </a:lnTo>
                      <a:cubicBezTo>
                        <a:pt x="1698" y="299914"/>
                        <a:pt x="0" y="298216"/>
                        <a:pt x="0" y="296126"/>
                      </a:cubicBezTo>
                      <a:lnTo>
                        <a:pt x="0" y="3788"/>
                      </a:lnTo>
                      <a:cubicBezTo>
                        <a:pt x="0" y="1698"/>
                        <a:pt x="1698" y="0"/>
                        <a:pt x="3788" y="0"/>
                      </a:cubicBezTo>
                      <a:lnTo>
                        <a:pt x="73673" y="0"/>
                      </a:lnTo>
                      <a:cubicBezTo>
                        <a:pt x="75762" y="0"/>
                        <a:pt x="77460" y="1698"/>
                        <a:pt x="77460" y="3788"/>
                      </a:cubicBezTo>
                      <a:lnTo>
                        <a:pt x="77460" y="296126"/>
                      </a:lnTo>
                      <a:cubicBezTo>
                        <a:pt x="77460" y="298216"/>
                        <a:pt x="75762" y="299914"/>
                        <a:pt x="73673" y="299914"/>
                      </a:cubicBezTo>
                      <a:close/>
                      <a:moveTo>
                        <a:pt x="7576" y="292469"/>
                      </a:moveTo>
                      <a:lnTo>
                        <a:pt x="70015" y="292469"/>
                      </a:lnTo>
                      <a:lnTo>
                        <a:pt x="70015" y="7576"/>
                      </a:lnTo>
                      <a:lnTo>
                        <a:pt x="7576" y="7576"/>
                      </a:lnTo>
                      <a:lnTo>
                        <a:pt x="7576" y="292469"/>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220" name="Graphic 717">
                <a:extLst>
                  <a:ext uri="{FF2B5EF4-FFF2-40B4-BE49-F238E27FC236}">
                    <a16:creationId xmlns:a16="http://schemas.microsoft.com/office/drawing/2014/main" id="{C989CDC1-F37E-01C2-241B-3BE385761173}"/>
                  </a:ext>
                </a:extLst>
              </p:cNvPr>
              <p:cNvGrpSpPr/>
              <p:nvPr/>
            </p:nvGrpSpPr>
            <p:grpSpPr>
              <a:xfrm>
                <a:off x="3090017" y="3145838"/>
                <a:ext cx="77460" cy="129449"/>
                <a:chOff x="3090017" y="3145838"/>
                <a:chExt cx="77460" cy="129449"/>
              </a:xfrm>
              <a:grpFill/>
            </p:grpSpPr>
            <p:sp>
              <p:nvSpPr>
                <p:cNvPr id="227" name="Freeform: Shape 226">
                  <a:extLst>
                    <a:ext uri="{FF2B5EF4-FFF2-40B4-BE49-F238E27FC236}">
                      <a16:creationId xmlns:a16="http://schemas.microsoft.com/office/drawing/2014/main" id="{79A54101-1B23-33FA-7599-985EB3003509}"/>
                    </a:ext>
                  </a:extLst>
                </p:cNvPr>
                <p:cNvSpPr/>
                <p:nvPr/>
              </p:nvSpPr>
              <p:spPr>
                <a:xfrm>
                  <a:off x="3093805" y="3149757"/>
                  <a:ext cx="69884" cy="121872"/>
                </a:xfrm>
                <a:custGeom>
                  <a:avLst/>
                  <a:gdLst>
                    <a:gd name="connsiteX0" fmla="*/ 0 w 69884"/>
                    <a:gd name="connsiteY0" fmla="*/ 0 h 121872"/>
                    <a:gd name="connsiteX1" fmla="*/ 69884 w 69884"/>
                    <a:gd name="connsiteY1" fmla="*/ 0 h 121872"/>
                    <a:gd name="connsiteX2" fmla="*/ 69884 w 69884"/>
                    <a:gd name="connsiteY2" fmla="*/ 121873 h 121872"/>
                    <a:gd name="connsiteX3" fmla="*/ 0 w 69884"/>
                    <a:gd name="connsiteY3" fmla="*/ 121873 h 121872"/>
                  </a:gdLst>
                  <a:ahLst/>
                  <a:cxnLst>
                    <a:cxn ang="0">
                      <a:pos x="connsiteX0" y="connsiteY0"/>
                    </a:cxn>
                    <a:cxn ang="0">
                      <a:pos x="connsiteX1" y="connsiteY1"/>
                    </a:cxn>
                    <a:cxn ang="0">
                      <a:pos x="connsiteX2" y="connsiteY2"/>
                    </a:cxn>
                    <a:cxn ang="0">
                      <a:pos x="connsiteX3" y="connsiteY3"/>
                    </a:cxn>
                  </a:cxnLst>
                  <a:rect l="l" t="t" r="r" b="b"/>
                  <a:pathLst>
                    <a:path w="69884" h="121872">
                      <a:moveTo>
                        <a:pt x="0" y="0"/>
                      </a:moveTo>
                      <a:lnTo>
                        <a:pt x="69884" y="0"/>
                      </a:lnTo>
                      <a:lnTo>
                        <a:pt x="69884" y="121873"/>
                      </a:lnTo>
                      <a:lnTo>
                        <a:pt x="0" y="121873"/>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28" name="Freeform: Shape 227">
                  <a:extLst>
                    <a:ext uri="{FF2B5EF4-FFF2-40B4-BE49-F238E27FC236}">
                      <a16:creationId xmlns:a16="http://schemas.microsoft.com/office/drawing/2014/main" id="{8F6EA302-D054-6A22-8AE1-64058E73A79E}"/>
                    </a:ext>
                  </a:extLst>
                </p:cNvPr>
                <p:cNvSpPr/>
                <p:nvPr/>
              </p:nvSpPr>
              <p:spPr>
                <a:xfrm>
                  <a:off x="3090017" y="3145838"/>
                  <a:ext cx="77460" cy="129449"/>
                </a:xfrm>
                <a:custGeom>
                  <a:avLst/>
                  <a:gdLst>
                    <a:gd name="connsiteX0" fmla="*/ 73672 w 77460"/>
                    <a:gd name="connsiteY0" fmla="*/ 129449 h 129449"/>
                    <a:gd name="connsiteX1" fmla="*/ 3788 w 77460"/>
                    <a:gd name="connsiteY1" fmla="*/ 129449 h 129449"/>
                    <a:gd name="connsiteX2" fmla="*/ 0 w 77460"/>
                    <a:gd name="connsiteY2" fmla="*/ 125661 h 129449"/>
                    <a:gd name="connsiteX3" fmla="*/ 0 w 77460"/>
                    <a:gd name="connsiteY3" fmla="*/ 3788 h 129449"/>
                    <a:gd name="connsiteX4" fmla="*/ 3788 w 77460"/>
                    <a:gd name="connsiteY4" fmla="*/ 0 h 129449"/>
                    <a:gd name="connsiteX5" fmla="*/ 73672 w 77460"/>
                    <a:gd name="connsiteY5" fmla="*/ 0 h 129449"/>
                    <a:gd name="connsiteX6" fmla="*/ 77461 w 77460"/>
                    <a:gd name="connsiteY6" fmla="*/ 3788 h 129449"/>
                    <a:gd name="connsiteX7" fmla="*/ 77461 w 77460"/>
                    <a:gd name="connsiteY7" fmla="*/ 125661 h 129449"/>
                    <a:gd name="connsiteX8" fmla="*/ 73672 w 77460"/>
                    <a:gd name="connsiteY8" fmla="*/ 129449 h 129449"/>
                    <a:gd name="connsiteX9" fmla="*/ 7576 w 77460"/>
                    <a:gd name="connsiteY9" fmla="*/ 122003 h 129449"/>
                    <a:gd name="connsiteX10" fmla="*/ 70015 w 77460"/>
                    <a:gd name="connsiteY10" fmla="*/ 122003 h 129449"/>
                    <a:gd name="connsiteX11" fmla="*/ 70015 w 77460"/>
                    <a:gd name="connsiteY11" fmla="*/ 7707 h 129449"/>
                    <a:gd name="connsiteX12" fmla="*/ 7576 w 77460"/>
                    <a:gd name="connsiteY12" fmla="*/ 7707 h 129449"/>
                    <a:gd name="connsiteX13" fmla="*/ 7576 w 77460"/>
                    <a:gd name="connsiteY13" fmla="*/ 122003 h 12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60" h="129449">
                      <a:moveTo>
                        <a:pt x="73672" y="129449"/>
                      </a:moveTo>
                      <a:lnTo>
                        <a:pt x="3788" y="129449"/>
                      </a:lnTo>
                      <a:cubicBezTo>
                        <a:pt x="1698" y="129449"/>
                        <a:pt x="0" y="127751"/>
                        <a:pt x="0" y="125661"/>
                      </a:cubicBezTo>
                      <a:lnTo>
                        <a:pt x="0" y="3788"/>
                      </a:lnTo>
                      <a:cubicBezTo>
                        <a:pt x="0" y="1698"/>
                        <a:pt x="1698" y="0"/>
                        <a:pt x="3788" y="0"/>
                      </a:cubicBezTo>
                      <a:lnTo>
                        <a:pt x="73672" y="0"/>
                      </a:lnTo>
                      <a:cubicBezTo>
                        <a:pt x="75762" y="0"/>
                        <a:pt x="77461" y="1698"/>
                        <a:pt x="77461" y="3788"/>
                      </a:cubicBezTo>
                      <a:lnTo>
                        <a:pt x="77461" y="125661"/>
                      </a:lnTo>
                      <a:cubicBezTo>
                        <a:pt x="77461" y="127751"/>
                        <a:pt x="75762" y="129449"/>
                        <a:pt x="73672" y="129449"/>
                      </a:cubicBezTo>
                      <a:close/>
                      <a:moveTo>
                        <a:pt x="7576" y="122003"/>
                      </a:moveTo>
                      <a:lnTo>
                        <a:pt x="70015" y="122003"/>
                      </a:lnTo>
                      <a:lnTo>
                        <a:pt x="70015" y="7707"/>
                      </a:lnTo>
                      <a:lnTo>
                        <a:pt x="7576" y="7707"/>
                      </a:lnTo>
                      <a:lnTo>
                        <a:pt x="7576" y="122003"/>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221" name="Graphic 717">
                <a:extLst>
                  <a:ext uri="{FF2B5EF4-FFF2-40B4-BE49-F238E27FC236}">
                    <a16:creationId xmlns:a16="http://schemas.microsoft.com/office/drawing/2014/main" id="{4B102FB6-CC51-4913-9245-90D315811913}"/>
                  </a:ext>
                </a:extLst>
              </p:cNvPr>
              <p:cNvGrpSpPr/>
              <p:nvPr/>
            </p:nvGrpSpPr>
            <p:grpSpPr>
              <a:xfrm>
                <a:off x="3438524" y="3076607"/>
                <a:ext cx="77460" cy="198680"/>
                <a:chOff x="3438524" y="3076607"/>
                <a:chExt cx="77460" cy="198680"/>
              </a:xfrm>
              <a:grpFill/>
            </p:grpSpPr>
            <p:sp>
              <p:nvSpPr>
                <p:cNvPr id="225" name="Freeform: Shape 224">
                  <a:extLst>
                    <a:ext uri="{FF2B5EF4-FFF2-40B4-BE49-F238E27FC236}">
                      <a16:creationId xmlns:a16="http://schemas.microsoft.com/office/drawing/2014/main" id="{43592926-6D3C-5961-58A1-21263A7D5F04}"/>
                    </a:ext>
                  </a:extLst>
                </p:cNvPr>
                <p:cNvSpPr/>
                <p:nvPr/>
              </p:nvSpPr>
              <p:spPr>
                <a:xfrm>
                  <a:off x="3442312" y="3080395"/>
                  <a:ext cx="69884" cy="191104"/>
                </a:xfrm>
                <a:custGeom>
                  <a:avLst/>
                  <a:gdLst>
                    <a:gd name="connsiteX0" fmla="*/ 0 w 69884"/>
                    <a:gd name="connsiteY0" fmla="*/ 0 h 191104"/>
                    <a:gd name="connsiteX1" fmla="*/ 69884 w 69884"/>
                    <a:gd name="connsiteY1" fmla="*/ 0 h 191104"/>
                    <a:gd name="connsiteX2" fmla="*/ 69884 w 69884"/>
                    <a:gd name="connsiteY2" fmla="*/ 191104 h 191104"/>
                    <a:gd name="connsiteX3" fmla="*/ 0 w 69884"/>
                    <a:gd name="connsiteY3" fmla="*/ 191104 h 191104"/>
                  </a:gdLst>
                  <a:ahLst/>
                  <a:cxnLst>
                    <a:cxn ang="0">
                      <a:pos x="connsiteX0" y="connsiteY0"/>
                    </a:cxn>
                    <a:cxn ang="0">
                      <a:pos x="connsiteX1" y="connsiteY1"/>
                    </a:cxn>
                    <a:cxn ang="0">
                      <a:pos x="connsiteX2" y="connsiteY2"/>
                    </a:cxn>
                    <a:cxn ang="0">
                      <a:pos x="connsiteX3" y="connsiteY3"/>
                    </a:cxn>
                  </a:cxnLst>
                  <a:rect l="l" t="t" r="r" b="b"/>
                  <a:pathLst>
                    <a:path w="69884" h="191104">
                      <a:moveTo>
                        <a:pt x="0" y="0"/>
                      </a:moveTo>
                      <a:lnTo>
                        <a:pt x="69884" y="0"/>
                      </a:lnTo>
                      <a:lnTo>
                        <a:pt x="69884" y="191104"/>
                      </a:lnTo>
                      <a:lnTo>
                        <a:pt x="0" y="191104"/>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26" name="Freeform: Shape 225">
                  <a:extLst>
                    <a:ext uri="{FF2B5EF4-FFF2-40B4-BE49-F238E27FC236}">
                      <a16:creationId xmlns:a16="http://schemas.microsoft.com/office/drawing/2014/main" id="{9B550C51-CDCA-4F77-AA1A-A86EF4C54037}"/>
                    </a:ext>
                  </a:extLst>
                </p:cNvPr>
                <p:cNvSpPr/>
                <p:nvPr/>
              </p:nvSpPr>
              <p:spPr>
                <a:xfrm>
                  <a:off x="3438524" y="3076607"/>
                  <a:ext cx="77460" cy="198680"/>
                </a:xfrm>
                <a:custGeom>
                  <a:avLst/>
                  <a:gdLst>
                    <a:gd name="connsiteX0" fmla="*/ 73672 w 77460"/>
                    <a:gd name="connsiteY0" fmla="*/ 198680 h 198680"/>
                    <a:gd name="connsiteX1" fmla="*/ 3788 w 77460"/>
                    <a:gd name="connsiteY1" fmla="*/ 198680 h 198680"/>
                    <a:gd name="connsiteX2" fmla="*/ 0 w 77460"/>
                    <a:gd name="connsiteY2" fmla="*/ 194892 h 198680"/>
                    <a:gd name="connsiteX3" fmla="*/ 0 w 77460"/>
                    <a:gd name="connsiteY3" fmla="*/ 3788 h 198680"/>
                    <a:gd name="connsiteX4" fmla="*/ 3788 w 77460"/>
                    <a:gd name="connsiteY4" fmla="*/ 0 h 198680"/>
                    <a:gd name="connsiteX5" fmla="*/ 73672 w 77460"/>
                    <a:gd name="connsiteY5" fmla="*/ 0 h 198680"/>
                    <a:gd name="connsiteX6" fmla="*/ 77460 w 77460"/>
                    <a:gd name="connsiteY6" fmla="*/ 3788 h 198680"/>
                    <a:gd name="connsiteX7" fmla="*/ 77460 w 77460"/>
                    <a:gd name="connsiteY7" fmla="*/ 194892 h 198680"/>
                    <a:gd name="connsiteX8" fmla="*/ 73672 w 77460"/>
                    <a:gd name="connsiteY8" fmla="*/ 198680 h 198680"/>
                    <a:gd name="connsiteX9" fmla="*/ 7576 w 77460"/>
                    <a:gd name="connsiteY9" fmla="*/ 191235 h 198680"/>
                    <a:gd name="connsiteX10" fmla="*/ 70015 w 77460"/>
                    <a:gd name="connsiteY10" fmla="*/ 191235 h 198680"/>
                    <a:gd name="connsiteX11" fmla="*/ 70015 w 77460"/>
                    <a:gd name="connsiteY11" fmla="*/ 7576 h 198680"/>
                    <a:gd name="connsiteX12" fmla="*/ 7576 w 77460"/>
                    <a:gd name="connsiteY12" fmla="*/ 7576 h 198680"/>
                    <a:gd name="connsiteX13" fmla="*/ 7576 w 77460"/>
                    <a:gd name="connsiteY13" fmla="*/ 191235 h 19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60" h="198680">
                      <a:moveTo>
                        <a:pt x="73672" y="198680"/>
                      </a:moveTo>
                      <a:lnTo>
                        <a:pt x="3788" y="198680"/>
                      </a:lnTo>
                      <a:cubicBezTo>
                        <a:pt x="1698" y="198680"/>
                        <a:pt x="0" y="196982"/>
                        <a:pt x="0" y="194892"/>
                      </a:cubicBezTo>
                      <a:lnTo>
                        <a:pt x="0" y="3788"/>
                      </a:lnTo>
                      <a:cubicBezTo>
                        <a:pt x="0" y="1698"/>
                        <a:pt x="1698" y="0"/>
                        <a:pt x="3788" y="0"/>
                      </a:cubicBezTo>
                      <a:lnTo>
                        <a:pt x="73672" y="0"/>
                      </a:lnTo>
                      <a:cubicBezTo>
                        <a:pt x="75762" y="0"/>
                        <a:pt x="77460" y="1698"/>
                        <a:pt x="77460" y="3788"/>
                      </a:cubicBezTo>
                      <a:lnTo>
                        <a:pt x="77460" y="194892"/>
                      </a:lnTo>
                      <a:cubicBezTo>
                        <a:pt x="77460" y="196982"/>
                        <a:pt x="75762" y="198680"/>
                        <a:pt x="73672" y="198680"/>
                      </a:cubicBezTo>
                      <a:close/>
                      <a:moveTo>
                        <a:pt x="7576" y="191235"/>
                      </a:moveTo>
                      <a:lnTo>
                        <a:pt x="70015" y="191235"/>
                      </a:lnTo>
                      <a:lnTo>
                        <a:pt x="70015" y="7576"/>
                      </a:lnTo>
                      <a:lnTo>
                        <a:pt x="7576" y="7576"/>
                      </a:lnTo>
                      <a:lnTo>
                        <a:pt x="7576" y="191235"/>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nvGrpSpPr>
              <p:cNvPr id="222" name="Graphic 717">
                <a:extLst>
                  <a:ext uri="{FF2B5EF4-FFF2-40B4-BE49-F238E27FC236}">
                    <a16:creationId xmlns:a16="http://schemas.microsoft.com/office/drawing/2014/main" id="{CF03E980-E7C0-E4F7-036D-1D0E57D67646}"/>
                  </a:ext>
                </a:extLst>
              </p:cNvPr>
              <p:cNvGrpSpPr/>
              <p:nvPr/>
            </p:nvGrpSpPr>
            <p:grpSpPr>
              <a:xfrm>
                <a:off x="3211498" y="3044473"/>
                <a:ext cx="77460" cy="230813"/>
                <a:chOff x="3211498" y="3044473"/>
                <a:chExt cx="77460" cy="230813"/>
              </a:xfrm>
              <a:grpFill/>
            </p:grpSpPr>
            <p:sp>
              <p:nvSpPr>
                <p:cNvPr id="223" name="Freeform: Shape 222">
                  <a:extLst>
                    <a:ext uri="{FF2B5EF4-FFF2-40B4-BE49-F238E27FC236}">
                      <a16:creationId xmlns:a16="http://schemas.microsoft.com/office/drawing/2014/main" id="{341E5958-C562-266D-71A5-C6FB9432DCAF}"/>
                    </a:ext>
                  </a:extLst>
                </p:cNvPr>
                <p:cNvSpPr/>
                <p:nvPr/>
              </p:nvSpPr>
              <p:spPr>
                <a:xfrm>
                  <a:off x="3215286" y="3048392"/>
                  <a:ext cx="69884" cy="223237"/>
                </a:xfrm>
                <a:custGeom>
                  <a:avLst/>
                  <a:gdLst>
                    <a:gd name="connsiteX0" fmla="*/ 0 w 69884"/>
                    <a:gd name="connsiteY0" fmla="*/ 0 h 223237"/>
                    <a:gd name="connsiteX1" fmla="*/ 69884 w 69884"/>
                    <a:gd name="connsiteY1" fmla="*/ 0 h 223237"/>
                    <a:gd name="connsiteX2" fmla="*/ 69884 w 69884"/>
                    <a:gd name="connsiteY2" fmla="*/ 223238 h 223237"/>
                    <a:gd name="connsiteX3" fmla="*/ 0 w 69884"/>
                    <a:gd name="connsiteY3" fmla="*/ 223238 h 223237"/>
                  </a:gdLst>
                  <a:ahLst/>
                  <a:cxnLst>
                    <a:cxn ang="0">
                      <a:pos x="connsiteX0" y="connsiteY0"/>
                    </a:cxn>
                    <a:cxn ang="0">
                      <a:pos x="connsiteX1" y="connsiteY1"/>
                    </a:cxn>
                    <a:cxn ang="0">
                      <a:pos x="connsiteX2" y="connsiteY2"/>
                    </a:cxn>
                    <a:cxn ang="0">
                      <a:pos x="connsiteX3" y="connsiteY3"/>
                    </a:cxn>
                  </a:cxnLst>
                  <a:rect l="l" t="t" r="r" b="b"/>
                  <a:pathLst>
                    <a:path w="69884" h="223237">
                      <a:moveTo>
                        <a:pt x="0" y="0"/>
                      </a:moveTo>
                      <a:lnTo>
                        <a:pt x="69884" y="0"/>
                      </a:lnTo>
                      <a:lnTo>
                        <a:pt x="69884" y="223238"/>
                      </a:lnTo>
                      <a:lnTo>
                        <a:pt x="0" y="223238"/>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24" name="Freeform: Shape 223">
                  <a:extLst>
                    <a:ext uri="{FF2B5EF4-FFF2-40B4-BE49-F238E27FC236}">
                      <a16:creationId xmlns:a16="http://schemas.microsoft.com/office/drawing/2014/main" id="{8C6C0EE9-CFF7-7B02-0E5A-C66663CC47C5}"/>
                    </a:ext>
                  </a:extLst>
                </p:cNvPr>
                <p:cNvSpPr/>
                <p:nvPr/>
              </p:nvSpPr>
              <p:spPr>
                <a:xfrm>
                  <a:off x="3211498" y="3044473"/>
                  <a:ext cx="77460" cy="230813"/>
                </a:xfrm>
                <a:custGeom>
                  <a:avLst/>
                  <a:gdLst>
                    <a:gd name="connsiteX0" fmla="*/ 73672 w 77460"/>
                    <a:gd name="connsiteY0" fmla="*/ 230814 h 230813"/>
                    <a:gd name="connsiteX1" fmla="*/ 3788 w 77460"/>
                    <a:gd name="connsiteY1" fmla="*/ 230814 h 230813"/>
                    <a:gd name="connsiteX2" fmla="*/ 0 w 77460"/>
                    <a:gd name="connsiteY2" fmla="*/ 227026 h 230813"/>
                    <a:gd name="connsiteX3" fmla="*/ 0 w 77460"/>
                    <a:gd name="connsiteY3" fmla="*/ 3788 h 230813"/>
                    <a:gd name="connsiteX4" fmla="*/ 3788 w 77460"/>
                    <a:gd name="connsiteY4" fmla="*/ 0 h 230813"/>
                    <a:gd name="connsiteX5" fmla="*/ 73672 w 77460"/>
                    <a:gd name="connsiteY5" fmla="*/ 0 h 230813"/>
                    <a:gd name="connsiteX6" fmla="*/ 77461 w 77460"/>
                    <a:gd name="connsiteY6" fmla="*/ 3788 h 230813"/>
                    <a:gd name="connsiteX7" fmla="*/ 77461 w 77460"/>
                    <a:gd name="connsiteY7" fmla="*/ 227026 h 230813"/>
                    <a:gd name="connsiteX8" fmla="*/ 73672 w 77460"/>
                    <a:gd name="connsiteY8" fmla="*/ 230814 h 230813"/>
                    <a:gd name="connsiteX9" fmla="*/ 7576 w 77460"/>
                    <a:gd name="connsiteY9" fmla="*/ 223368 h 230813"/>
                    <a:gd name="connsiteX10" fmla="*/ 70015 w 77460"/>
                    <a:gd name="connsiteY10" fmla="*/ 223368 h 230813"/>
                    <a:gd name="connsiteX11" fmla="*/ 70015 w 77460"/>
                    <a:gd name="connsiteY11" fmla="*/ 7707 h 230813"/>
                    <a:gd name="connsiteX12" fmla="*/ 7576 w 77460"/>
                    <a:gd name="connsiteY12" fmla="*/ 7707 h 230813"/>
                    <a:gd name="connsiteX13" fmla="*/ 7576 w 77460"/>
                    <a:gd name="connsiteY13" fmla="*/ 223368 h 23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60" h="230813">
                      <a:moveTo>
                        <a:pt x="73672" y="230814"/>
                      </a:moveTo>
                      <a:lnTo>
                        <a:pt x="3788" y="230814"/>
                      </a:lnTo>
                      <a:cubicBezTo>
                        <a:pt x="1698" y="230814"/>
                        <a:pt x="0" y="229116"/>
                        <a:pt x="0" y="227026"/>
                      </a:cubicBezTo>
                      <a:lnTo>
                        <a:pt x="0" y="3788"/>
                      </a:lnTo>
                      <a:cubicBezTo>
                        <a:pt x="0" y="1698"/>
                        <a:pt x="1698" y="0"/>
                        <a:pt x="3788" y="0"/>
                      </a:cubicBezTo>
                      <a:lnTo>
                        <a:pt x="73672" y="0"/>
                      </a:lnTo>
                      <a:cubicBezTo>
                        <a:pt x="75762" y="0"/>
                        <a:pt x="77461" y="1698"/>
                        <a:pt x="77461" y="3788"/>
                      </a:cubicBezTo>
                      <a:lnTo>
                        <a:pt x="77461" y="227026"/>
                      </a:lnTo>
                      <a:cubicBezTo>
                        <a:pt x="77461" y="229116"/>
                        <a:pt x="75762" y="230814"/>
                        <a:pt x="73672" y="230814"/>
                      </a:cubicBezTo>
                      <a:close/>
                      <a:moveTo>
                        <a:pt x="7576" y="223368"/>
                      </a:moveTo>
                      <a:lnTo>
                        <a:pt x="70015" y="223368"/>
                      </a:lnTo>
                      <a:lnTo>
                        <a:pt x="70015" y="7707"/>
                      </a:lnTo>
                      <a:lnTo>
                        <a:pt x="7576" y="7707"/>
                      </a:lnTo>
                      <a:lnTo>
                        <a:pt x="7576" y="223368"/>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sp>
          <p:nvSpPr>
            <p:cNvPr id="212" name="Freeform: Shape 211">
              <a:extLst>
                <a:ext uri="{FF2B5EF4-FFF2-40B4-BE49-F238E27FC236}">
                  <a16:creationId xmlns:a16="http://schemas.microsoft.com/office/drawing/2014/main" id="{78C94CDF-C84A-CD08-9B4B-50C4E4DD1771}"/>
                </a:ext>
              </a:extLst>
            </p:cNvPr>
            <p:cNvSpPr/>
            <p:nvPr/>
          </p:nvSpPr>
          <p:spPr>
            <a:xfrm>
              <a:off x="3730209" y="3173792"/>
              <a:ext cx="212265" cy="7968"/>
            </a:xfrm>
            <a:custGeom>
              <a:avLst/>
              <a:gdLst>
                <a:gd name="connsiteX0" fmla="*/ 5356 w 212265"/>
                <a:gd name="connsiteY0" fmla="*/ 7968 h 7968"/>
                <a:gd name="connsiteX1" fmla="*/ 3788 w 212265"/>
                <a:gd name="connsiteY1" fmla="*/ 7968 h 7968"/>
                <a:gd name="connsiteX2" fmla="*/ 0 w 212265"/>
                <a:gd name="connsiteY2" fmla="*/ 4180 h 7968"/>
                <a:gd name="connsiteX3" fmla="*/ 3788 w 212265"/>
                <a:gd name="connsiteY3" fmla="*/ 392 h 7968"/>
                <a:gd name="connsiteX4" fmla="*/ 5356 w 212265"/>
                <a:gd name="connsiteY4" fmla="*/ 392 h 7968"/>
                <a:gd name="connsiteX5" fmla="*/ 208477 w 212265"/>
                <a:gd name="connsiteY5" fmla="*/ 0 h 7968"/>
                <a:gd name="connsiteX6" fmla="*/ 208477 w 212265"/>
                <a:gd name="connsiteY6" fmla="*/ 0 h 7968"/>
                <a:gd name="connsiteX7" fmla="*/ 212265 w 212265"/>
                <a:gd name="connsiteY7" fmla="*/ 3788 h 7968"/>
                <a:gd name="connsiteX8" fmla="*/ 208477 w 212265"/>
                <a:gd name="connsiteY8" fmla="*/ 7576 h 7968"/>
                <a:gd name="connsiteX9" fmla="*/ 5356 w 212265"/>
                <a:gd name="connsiteY9" fmla="*/ 7968 h 7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265" h="7968">
                  <a:moveTo>
                    <a:pt x="5356" y="7968"/>
                  </a:moveTo>
                  <a:lnTo>
                    <a:pt x="3788" y="7968"/>
                  </a:lnTo>
                  <a:cubicBezTo>
                    <a:pt x="1698" y="7968"/>
                    <a:pt x="0" y="6270"/>
                    <a:pt x="0" y="4180"/>
                  </a:cubicBezTo>
                  <a:cubicBezTo>
                    <a:pt x="0" y="2090"/>
                    <a:pt x="1698" y="392"/>
                    <a:pt x="3788" y="392"/>
                  </a:cubicBezTo>
                  <a:lnTo>
                    <a:pt x="5356" y="392"/>
                  </a:lnTo>
                  <a:cubicBezTo>
                    <a:pt x="70146" y="392"/>
                    <a:pt x="136634" y="261"/>
                    <a:pt x="208477" y="0"/>
                  </a:cubicBezTo>
                  <a:lnTo>
                    <a:pt x="208477" y="0"/>
                  </a:lnTo>
                  <a:cubicBezTo>
                    <a:pt x="210567" y="0"/>
                    <a:pt x="212265" y="1698"/>
                    <a:pt x="212265" y="3788"/>
                  </a:cubicBezTo>
                  <a:cubicBezTo>
                    <a:pt x="212265" y="5878"/>
                    <a:pt x="210567" y="7576"/>
                    <a:pt x="208477" y="7576"/>
                  </a:cubicBezTo>
                  <a:cubicBezTo>
                    <a:pt x="136634" y="7837"/>
                    <a:pt x="70276" y="7968"/>
                    <a:pt x="5356" y="7968"/>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13" name="Freeform: Shape 212">
              <a:extLst>
                <a:ext uri="{FF2B5EF4-FFF2-40B4-BE49-F238E27FC236}">
                  <a16:creationId xmlns:a16="http://schemas.microsoft.com/office/drawing/2014/main" id="{BA2EFD9E-74E2-738E-D6B4-DEA36BCFFCB9}"/>
                </a:ext>
              </a:extLst>
            </p:cNvPr>
            <p:cNvSpPr/>
            <p:nvPr/>
          </p:nvSpPr>
          <p:spPr>
            <a:xfrm>
              <a:off x="3695717" y="3080265"/>
              <a:ext cx="246757" cy="9796"/>
            </a:xfrm>
            <a:custGeom>
              <a:avLst/>
              <a:gdLst>
                <a:gd name="connsiteX0" fmla="*/ 106075 w 246757"/>
                <a:gd name="connsiteY0" fmla="*/ 9666 h 9796"/>
                <a:gd name="connsiteX1" fmla="*/ 3534 w 246757"/>
                <a:gd name="connsiteY1" fmla="*/ 7446 h 9796"/>
                <a:gd name="connsiteX2" fmla="*/ 8 w 246757"/>
                <a:gd name="connsiteY2" fmla="*/ 3527 h 9796"/>
                <a:gd name="connsiteX3" fmla="*/ 3926 w 246757"/>
                <a:gd name="connsiteY3" fmla="*/ 0 h 9796"/>
                <a:gd name="connsiteX4" fmla="*/ 180270 w 246757"/>
                <a:gd name="connsiteY4" fmla="*/ 1698 h 9796"/>
                <a:gd name="connsiteX5" fmla="*/ 242970 w 246757"/>
                <a:gd name="connsiteY5" fmla="*/ 1176 h 9796"/>
                <a:gd name="connsiteX6" fmla="*/ 242970 w 246757"/>
                <a:gd name="connsiteY6" fmla="*/ 1176 h 9796"/>
                <a:gd name="connsiteX7" fmla="*/ 246758 w 246757"/>
                <a:gd name="connsiteY7" fmla="*/ 4964 h 9796"/>
                <a:gd name="connsiteX8" fmla="*/ 242970 w 246757"/>
                <a:gd name="connsiteY8" fmla="*/ 8752 h 9796"/>
                <a:gd name="connsiteX9" fmla="*/ 180400 w 246757"/>
                <a:gd name="connsiteY9" fmla="*/ 9274 h 9796"/>
                <a:gd name="connsiteX10" fmla="*/ 106075 w 246757"/>
                <a:gd name="connsiteY10" fmla="*/ 9797 h 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757" h="9796">
                  <a:moveTo>
                    <a:pt x="106075" y="9666"/>
                  </a:moveTo>
                  <a:cubicBezTo>
                    <a:pt x="71851" y="9666"/>
                    <a:pt x="37497" y="9144"/>
                    <a:pt x="3534" y="7446"/>
                  </a:cubicBezTo>
                  <a:cubicBezTo>
                    <a:pt x="1444" y="7446"/>
                    <a:pt x="-123" y="5617"/>
                    <a:pt x="8" y="3527"/>
                  </a:cubicBezTo>
                  <a:cubicBezTo>
                    <a:pt x="8" y="1437"/>
                    <a:pt x="1836" y="0"/>
                    <a:pt x="3926" y="0"/>
                  </a:cubicBezTo>
                  <a:cubicBezTo>
                    <a:pt x="62315" y="3004"/>
                    <a:pt x="122272" y="2351"/>
                    <a:pt x="180270" y="1698"/>
                  </a:cubicBezTo>
                  <a:cubicBezTo>
                    <a:pt x="200778" y="1437"/>
                    <a:pt x="221939" y="1306"/>
                    <a:pt x="242970" y="1176"/>
                  </a:cubicBezTo>
                  <a:lnTo>
                    <a:pt x="242970" y="1176"/>
                  </a:lnTo>
                  <a:cubicBezTo>
                    <a:pt x="245060" y="1176"/>
                    <a:pt x="246758" y="2874"/>
                    <a:pt x="246758" y="4964"/>
                  </a:cubicBezTo>
                  <a:cubicBezTo>
                    <a:pt x="246758" y="7054"/>
                    <a:pt x="245060" y="8752"/>
                    <a:pt x="242970" y="8752"/>
                  </a:cubicBezTo>
                  <a:cubicBezTo>
                    <a:pt x="222070" y="8752"/>
                    <a:pt x="200909" y="9013"/>
                    <a:pt x="180400" y="9274"/>
                  </a:cubicBezTo>
                  <a:cubicBezTo>
                    <a:pt x="155974" y="9536"/>
                    <a:pt x="131024" y="9797"/>
                    <a:pt x="106075" y="979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214" name="Graphic 717">
              <a:extLst>
                <a:ext uri="{FF2B5EF4-FFF2-40B4-BE49-F238E27FC236}">
                  <a16:creationId xmlns:a16="http://schemas.microsoft.com/office/drawing/2014/main" id="{3DEC2C7C-0B24-5C4C-F7C0-F2F05938F409}"/>
                </a:ext>
              </a:extLst>
            </p:cNvPr>
            <p:cNvGrpSpPr/>
            <p:nvPr/>
          </p:nvGrpSpPr>
          <p:grpSpPr>
            <a:xfrm>
              <a:off x="3299148" y="2712033"/>
              <a:ext cx="690743" cy="101103"/>
              <a:chOff x="3299148" y="2712033"/>
              <a:chExt cx="690743" cy="101103"/>
            </a:xfrm>
            <a:grpFill/>
          </p:grpSpPr>
          <p:sp>
            <p:nvSpPr>
              <p:cNvPr id="215" name="Freeform: Shape 214">
                <a:extLst>
                  <a:ext uri="{FF2B5EF4-FFF2-40B4-BE49-F238E27FC236}">
                    <a16:creationId xmlns:a16="http://schemas.microsoft.com/office/drawing/2014/main" id="{8687BC51-D05E-56D2-609B-AE3B27CDB3A8}"/>
                  </a:ext>
                </a:extLst>
              </p:cNvPr>
              <p:cNvSpPr/>
              <p:nvPr/>
            </p:nvSpPr>
            <p:spPr>
              <a:xfrm>
                <a:off x="3581820" y="2712425"/>
                <a:ext cx="408071" cy="8359"/>
              </a:xfrm>
              <a:custGeom>
                <a:avLst/>
                <a:gdLst>
                  <a:gd name="connsiteX0" fmla="*/ 404153 w 408071"/>
                  <a:gd name="connsiteY0" fmla="*/ 8360 h 8359"/>
                  <a:gd name="connsiteX1" fmla="*/ 404153 w 408071"/>
                  <a:gd name="connsiteY1" fmla="*/ 8360 h 8359"/>
                  <a:gd name="connsiteX2" fmla="*/ 109333 w 408071"/>
                  <a:gd name="connsiteY2" fmla="*/ 7707 h 8359"/>
                  <a:gd name="connsiteX3" fmla="*/ 3788 w 408071"/>
                  <a:gd name="connsiteY3" fmla="*/ 7576 h 8359"/>
                  <a:gd name="connsiteX4" fmla="*/ 0 w 408071"/>
                  <a:gd name="connsiteY4" fmla="*/ 3788 h 8359"/>
                  <a:gd name="connsiteX5" fmla="*/ 3788 w 408071"/>
                  <a:gd name="connsiteY5" fmla="*/ 0 h 8359"/>
                  <a:gd name="connsiteX6" fmla="*/ 3788 w 408071"/>
                  <a:gd name="connsiteY6" fmla="*/ 0 h 8359"/>
                  <a:gd name="connsiteX7" fmla="*/ 109333 w 408071"/>
                  <a:gd name="connsiteY7" fmla="*/ 131 h 8359"/>
                  <a:gd name="connsiteX8" fmla="*/ 404283 w 408071"/>
                  <a:gd name="connsiteY8" fmla="*/ 784 h 8359"/>
                  <a:gd name="connsiteX9" fmla="*/ 408072 w 408071"/>
                  <a:gd name="connsiteY9" fmla="*/ 4572 h 8359"/>
                  <a:gd name="connsiteX10" fmla="*/ 404283 w 408071"/>
                  <a:gd name="connsiteY10" fmla="*/ 8360 h 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071" h="8359">
                    <a:moveTo>
                      <a:pt x="404153" y="8360"/>
                    </a:moveTo>
                    <a:lnTo>
                      <a:pt x="404153" y="8360"/>
                    </a:lnTo>
                    <a:cubicBezTo>
                      <a:pt x="305793" y="7838"/>
                      <a:pt x="205865" y="7838"/>
                      <a:pt x="109333" y="7707"/>
                    </a:cubicBezTo>
                    <a:cubicBezTo>
                      <a:pt x="74195" y="7707"/>
                      <a:pt x="38926" y="7707"/>
                      <a:pt x="3788" y="7576"/>
                    </a:cubicBezTo>
                    <a:cubicBezTo>
                      <a:pt x="1698" y="7576"/>
                      <a:pt x="0" y="5878"/>
                      <a:pt x="0" y="3788"/>
                    </a:cubicBezTo>
                    <a:cubicBezTo>
                      <a:pt x="0" y="1698"/>
                      <a:pt x="1698" y="0"/>
                      <a:pt x="3788" y="0"/>
                    </a:cubicBezTo>
                    <a:lnTo>
                      <a:pt x="3788" y="0"/>
                    </a:lnTo>
                    <a:cubicBezTo>
                      <a:pt x="38926" y="0"/>
                      <a:pt x="74195" y="0"/>
                      <a:pt x="109333" y="131"/>
                    </a:cubicBezTo>
                    <a:cubicBezTo>
                      <a:pt x="205865" y="131"/>
                      <a:pt x="305793" y="392"/>
                      <a:pt x="404283" y="784"/>
                    </a:cubicBezTo>
                    <a:cubicBezTo>
                      <a:pt x="406373" y="784"/>
                      <a:pt x="408072" y="2482"/>
                      <a:pt x="408072" y="4572"/>
                    </a:cubicBezTo>
                    <a:cubicBezTo>
                      <a:pt x="408072" y="6662"/>
                      <a:pt x="406373" y="8360"/>
                      <a:pt x="404283" y="8360"/>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16" name="Freeform: Shape 215">
                <a:extLst>
                  <a:ext uri="{FF2B5EF4-FFF2-40B4-BE49-F238E27FC236}">
                    <a16:creationId xmlns:a16="http://schemas.microsoft.com/office/drawing/2014/main" id="{7BCF692E-9067-27E1-B2E1-63E61DD956A6}"/>
                  </a:ext>
                </a:extLst>
              </p:cNvPr>
              <p:cNvSpPr/>
              <p:nvPr/>
            </p:nvSpPr>
            <p:spPr>
              <a:xfrm>
                <a:off x="3299271" y="2712033"/>
                <a:ext cx="239572" cy="8359"/>
              </a:xfrm>
              <a:custGeom>
                <a:avLst/>
                <a:gdLst>
                  <a:gd name="connsiteX0" fmla="*/ 145784 w 239572"/>
                  <a:gd name="connsiteY0" fmla="*/ 8099 h 8359"/>
                  <a:gd name="connsiteX1" fmla="*/ 3665 w 239572"/>
                  <a:gd name="connsiteY1" fmla="*/ 7446 h 8359"/>
                  <a:gd name="connsiteX2" fmla="*/ 7 w 239572"/>
                  <a:gd name="connsiteY2" fmla="*/ 3657 h 8359"/>
                  <a:gd name="connsiteX3" fmla="*/ 3795 w 239572"/>
                  <a:gd name="connsiteY3" fmla="*/ 0 h 8359"/>
                  <a:gd name="connsiteX4" fmla="*/ 3795 w 239572"/>
                  <a:gd name="connsiteY4" fmla="*/ 0 h 8359"/>
                  <a:gd name="connsiteX5" fmla="*/ 235785 w 239572"/>
                  <a:gd name="connsiteY5" fmla="*/ 523 h 8359"/>
                  <a:gd name="connsiteX6" fmla="*/ 235785 w 239572"/>
                  <a:gd name="connsiteY6" fmla="*/ 523 h 8359"/>
                  <a:gd name="connsiteX7" fmla="*/ 239573 w 239572"/>
                  <a:gd name="connsiteY7" fmla="*/ 4311 h 8359"/>
                  <a:gd name="connsiteX8" fmla="*/ 235785 w 239572"/>
                  <a:gd name="connsiteY8" fmla="*/ 8099 h 8359"/>
                  <a:gd name="connsiteX9" fmla="*/ 145784 w 239572"/>
                  <a:gd name="connsiteY9" fmla="*/ 8360 h 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572" h="8359">
                    <a:moveTo>
                      <a:pt x="145784" y="8099"/>
                    </a:moveTo>
                    <a:cubicBezTo>
                      <a:pt x="93926" y="8099"/>
                      <a:pt x="47554" y="7837"/>
                      <a:pt x="3665" y="7446"/>
                    </a:cubicBezTo>
                    <a:cubicBezTo>
                      <a:pt x="1574" y="7446"/>
                      <a:pt x="-123" y="5747"/>
                      <a:pt x="7" y="3657"/>
                    </a:cubicBezTo>
                    <a:cubicBezTo>
                      <a:pt x="7" y="1567"/>
                      <a:pt x="1705" y="0"/>
                      <a:pt x="3795" y="0"/>
                    </a:cubicBezTo>
                    <a:lnTo>
                      <a:pt x="3795" y="0"/>
                    </a:lnTo>
                    <a:cubicBezTo>
                      <a:pt x="71590" y="784"/>
                      <a:pt x="145262" y="914"/>
                      <a:pt x="235785" y="523"/>
                    </a:cubicBezTo>
                    <a:lnTo>
                      <a:pt x="235785" y="523"/>
                    </a:lnTo>
                    <a:cubicBezTo>
                      <a:pt x="237875" y="523"/>
                      <a:pt x="239573" y="2221"/>
                      <a:pt x="239573" y="4311"/>
                    </a:cubicBezTo>
                    <a:cubicBezTo>
                      <a:pt x="239573" y="6401"/>
                      <a:pt x="237875" y="8099"/>
                      <a:pt x="235785" y="8099"/>
                    </a:cubicBezTo>
                    <a:cubicBezTo>
                      <a:pt x="203913" y="8229"/>
                      <a:pt x="173999" y="8360"/>
                      <a:pt x="145784" y="8360"/>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17" name="Freeform: Shape 216">
                <a:extLst>
                  <a:ext uri="{FF2B5EF4-FFF2-40B4-BE49-F238E27FC236}">
                    <a16:creationId xmlns:a16="http://schemas.microsoft.com/office/drawing/2014/main" id="{C598E00F-F638-BA8E-CB7E-C4488D3C6315}"/>
                  </a:ext>
                </a:extLst>
              </p:cNvPr>
              <p:cNvSpPr/>
              <p:nvPr/>
            </p:nvSpPr>
            <p:spPr>
              <a:xfrm>
                <a:off x="3492472" y="2804587"/>
                <a:ext cx="248840" cy="8549"/>
              </a:xfrm>
              <a:custGeom>
                <a:avLst/>
                <a:gdLst>
                  <a:gd name="connsiteX0" fmla="*/ 245052 w 248840"/>
                  <a:gd name="connsiteY0" fmla="*/ 8550 h 8549"/>
                  <a:gd name="connsiteX1" fmla="*/ 245052 w 248840"/>
                  <a:gd name="connsiteY1" fmla="*/ 8550 h 8549"/>
                  <a:gd name="connsiteX2" fmla="*/ 3788 w 248840"/>
                  <a:gd name="connsiteY2" fmla="*/ 7636 h 8549"/>
                  <a:gd name="connsiteX3" fmla="*/ 3788 w 248840"/>
                  <a:gd name="connsiteY3" fmla="*/ 7636 h 8549"/>
                  <a:gd name="connsiteX4" fmla="*/ 0 w 248840"/>
                  <a:gd name="connsiteY4" fmla="*/ 3847 h 8549"/>
                  <a:gd name="connsiteX5" fmla="*/ 3788 w 248840"/>
                  <a:gd name="connsiteY5" fmla="*/ 59 h 8549"/>
                  <a:gd name="connsiteX6" fmla="*/ 245183 w 248840"/>
                  <a:gd name="connsiteY6" fmla="*/ 974 h 8549"/>
                  <a:gd name="connsiteX7" fmla="*/ 248840 w 248840"/>
                  <a:gd name="connsiteY7" fmla="*/ 4762 h 8549"/>
                  <a:gd name="connsiteX8" fmla="*/ 245052 w 248840"/>
                  <a:gd name="connsiteY8" fmla="*/ 8419 h 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840" h="8549">
                    <a:moveTo>
                      <a:pt x="245052" y="8550"/>
                    </a:moveTo>
                    <a:lnTo>
                      <a:pt x="245052" y="8550"/>
                    </a:lnTo>
                    <a:cubicBezTo>
                      <a:pt x="165109" y="7505"/>
                      <a:pt x="81902" y="7505"/>
                      <a:pt x="3788" y="7636"/>
                    </a:cubicBezTo>
                    <a:lnTo>
                      <a:pt x="3788" y="7636"/>
                    </a:lnTo>
                    <a:cubicBezTo>
                      <a:pt x="1698" y="7636"/>
                      <a:pt x="0" y="5937"/>
                      <a:pt x="0" y="3847"/>
                    </a:cubicBezTo>
                    <a:cubicBezTo>
                      <a:pt x="0" y="1757"/>
                      <a:pt x="1698" y="59"/>
                      <a:pt x="3788" y="59"/>
                    </a:cubicBezTo>
                    <a:cubicBezTo>
                      <a:pt x="81902" y="-71"/>
                      <a:pt x="165109" y="-71"/>
                      <a:pt x="245183" y="974"/>
                    </a:cubicBezTo>
                    <a:cubicBezTo>
                      <a:pt x="247273" y="974"/>
                      <a:pt x="248840" y="2672"/>
                      <a:pt x="248840" y="4762"/>
                    </a:cubicBezTo>
                    <a:cubicBezTo>
                      <a:pt x="248840" y="6852"/>
                      <a:pt x="247142" y="8419"/>
                      <a:pt x="245052" y="841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18" name="Freeform: Shape 217">
                <a:extLst>
                  <a:ext uri="{FF2B5EF4-FFF2-40B4-BE49-F238E27FC236}">
                    <a16:creationId xmlns:a16="http://schemas.microsoft.com/office/drawing/2014/main" id="{F08F3EB2-F565-8C11-FFE9-EC27305FCAA1}"/>
                  </a:ext>
                </a:extLst>
              </p:cNvPr>
              <p:cNvSpPr/>
              <p:nvPr/>
            </p:nvSpPr>
            <p:spPr>
              <a:xfrm>
                <a:off x="3299148" y="2804646"/>
                <a:ext cx="149304" cy="7837"/>
              </a:xfrm>
              <a:custGeom>
                <a:avLst/>
                <a:gdLst>
                  <a:gd name="connsiteX0" fmla="*/ 3788 w 149304"/>
                  <a:gd name="connsiteY0" fmla="*/ 7837 h 7837"/>
                  <a:gd name="connsiteX1" fmla="*/ 0 w 149304"/>
                  <a:gd name="connsiteY1" fmla="*/ 4049 h 7837"/>
                  <a:gd name="connsiteX2" fmla="*/ 3788 w 149304"/>
                  <a:gd name="connsiteY2" fmla="*/ 261 h 7837"/>
                  <a:gd name="connsiteX3" fmla="*/ 145516 w 149304"/>
                  <a:gd name="connsiteY3" fmla="*/ 0 h 7837"/>
                  <a:gd name="connsiteX4" fmla="*/ 145516 w 149304"/>
                  <a:gd name="connsiteY4" fmla="*/ 0 h 7837"/>
                  <a:gd name="connsiteX5" fmla="*/ 149304 w 149304"/>
                  <a:gd name="connsiteY5" fmla="*/ 3788 h 7837"/>
                  <a:gd name="connsiteX6" fmla="*/ 145516 w 149304"/>
                  <a:gd name="connsiteY6" fmla="*/ 7576 h 7837"/>
                  <a:gd name="connsiteX7" fmla="*/ 3788 w 149304"/>
                  <a:gd name="connsiteY7" fmla="*/ 7837 h 7837"/>
                  <a:gd name="connsiteX8" fmla="*/ 3788 w 149304"/>
                  <a:gd name="connsiteY8" fmla="*/ 7837 h 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04" h="7837">
                    <a:moveTo>
                      <a:pt x="3788" y="7837"/>
                    </a:moveTo>
                    <a:cubicBezTo>
                      <a:pt x="1698" y="7837"/>
                      <a:pt x="0" y="6139"/>
                      <a:pt x="0" y="4049"/>
                    </a:cubicBezTo>
                    <a:cubicBezTo>
                      <a:pt x="0" y="1959"/>
                      <a:pt x="1698" y="261"/>
                      <a:pt x="3788" y="261"/>
                    </a:cubicBezTo>
                    <a:cubicBezTo>
                      <a:pt x="51074" y="261"/>
                      <a:pt x="98230" y="0"/>
                      <a:pt x="145516" y="0"/>
                    </a:cubicBezTo>
                    <a:lnTo>
                      <a:pt x="145516" y="0"/>
                    </a:lnTo>
                    <a:cubicBezTo>
                      <a:pt x="147606" y="0"/>
                      <a:pt x="149304" y="1698"/>
                      <a:pt x="149304" y="3788"/>
                    </a:cubicBezTo>
                    <a:cubicBezTo>
                      <a:pt x="149304" y="5878"/>
                      <a:pt x="147606" y="7576"/>
                      <a:pt x="145516" y="7576"/>
                    </a:cubicBezTo>
                    <a:cubicBezTo>
                      <a:pt x="98230" y="7576"/>
                      <a:pt x="51074" y="7576"/>
                      <a:pt x="3788" y="7837"/>
                    </a:cubicBezTo>
                    <a:lnTo>
                      <a:pt x="3788" y="7837"/>
                    </a:ln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grpSp>
        <p:nvGrpSpPr>
          <p:cNvPr id="233" name="Graphic 717">
            <a:extLst>
              <a:ext uri="{FF2B5EF4-FFF2-40B4-BE49-F238E27FC236}">
                <a16:creationId xmlns:a16="http://schemas.microsoft.com/office/drawing/2014/main" id="{712CA27F-2ECE-9750-87ED-09C863C12D24}"/>
              </a:ext>
            </a:extLst>
          </p:cNvPr>
          <p:cNvGrpSpPr/>
          <p:nvPr/>
        </p:nvGrpSpPr>
        <p:grpSpPr>
          <a:xfrm>
            <a:off x="9200794" y="1761155"/>
            <a:ext cx="442041" cy="1396135"/>
            <a:chOff x="3477320" y="3276202"/>
            <a:chExt cx="382730" cy="1218467"/>
          </a:xfrm>
          <a:noFill/>
        </p:grpSpPr>
        <p:sp>
          <p:nvSpPr>
            <p:cNvPr id="234" name="Freeform: Shape 233">
              <a:extLst>
                <a:ext uri="{FF2B5EF4-FFF2-40B4-BE49-F238E27FC236}">
                  <a16:creationId xmlns:a16="http://schemas.microsoft.com/office/drawing/2014/main" id="{63A474CF-7C59-FDE6-1DC0-3D6E4BEA76EA}"/>
                </a:ext>
              </a:extLst>
            </p:cNvPr>
            <p:cNvSpPr/>
            <p:nvPr/>
          </p:nvSpPr>
          <p:spPr>
            <a:xfrm>
              <a:off x="3477320" y="3294751"/>
              <a:ext cx="364312" cy="1199919"/>
            </a:xfrm>
            <a:custGeom>
              <a:avLst/>
              <a:gdLst>
                <a:gd name="connsiteX0" fmla="*/ 360394 w 364312"/>
                <a:gd name="connsiteY0" fmla="*/ 1199919 h 1199919"/>
                <a:gd name="connsiteX1" fmla="*/ 360394 w 364312"/>
                <a:gd name="connsiteY1" fmla="*/ 1199919 h 1199919"/>
                <a:gd name="connsiteX2" fmla="*/ 3657 w 364312"/>
                <a:gd name="connsiteY2" fmla="*/ 1194302 h 1199919"/>
                <a:gd name="connsiteX3" fmla="*/ 0 w 364312"/>
                <a:gd name="connsiteY3" fmla="*/ 1190514 h 1199919"/>
                <a:gd name="connsiteX4" fmla="*/ 3788 w 364312"/>
                <a:gd name="connsiteY4" fmla="*/ 1186857 h 1199919"/>
                <a:gd name="connsiteX5" fmla="*/ 3788 w 364312"/>
                <a:gd name="connsiteY5" fmla="*/ 1186857 h 1199919"/>
                <a:gd name="connsiteX6" fmla="*/ 356736 w 364312"/>
                <a:gd name="connsiteY6" fmla="*/ 1192474 h 1199919"/>
                <a:gd name="connsiteX7" fmla="*/ 356736 w 364312"/>
                <a:gd name="connsiteY7" fmla="*/ 3788 h 1199919"/>
                <a:gd name="connsiteX8" fmla="*/ 360524 w 364312"/>
                <a:gd name="connsiteY8" fmla="*/ 0 h 1199919"/>
                <a:gd name="connsiteX9" fmla="*/ 364312 w 364312"/>
                <a:gd name="connsiteY9" fmla="*/ 3788 h 1199919"/>
                <a:gd name="connsiteX10" fmla="*/ 364312 w 364312"/>
                <a:gd name="connsiteY10" fmla="*/ 1196131 h 1199919"/>
                <a:gd name="connsiteX11" fmla="*/ 363137 w 364312"/>
                <a:gd name="connsiteY11" fmla="*/ 1198744 h 1199919"/>
                <a:gd name="connsiteX12" fmla="*/ 360524 w 364312"/>
                <a:gd name="connsiteY12" fmla="*/ 1199789 h 119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4312" h="1199919">
                  <a:moveTo>
                    <a:pt x="360394" y="1199919"/>
                  </a:moveTo>
                  <a:lnTo>
                    <a:pt x="360394" y="1199919"/>
                  </a:lnTo>
                  <a:lnTo>
                    <a:pt x="3657" y="1194302"/>
                  </a:lnTo>
                  <a:cubicBezTo>
                    <a:pt x="1567" y="1194302"/>
                    <a:pt x="0" y="1192604"/>
                    <a:pt x="0" y="1190514"/>
                  </a:cubicBezTo>
                  <a:cubicBezTo>
                    <a:pt x="0" y="1188424"/>
                    <a:pt x="1698" y="1186857"/>
                    <a:pt x="3788" y="1186857"/>
                  </a:cubicBezTo>
                  <a:lnTo>
                    <a:pt x="3788" y="1186857"/>
                  </a:lnTo>
                  <a:lnTo>
                    <a:pt x="356736" y="1192474"/>
                  </a:lnTo>
                  <a:lnTo>
                    <a:pt x="356736" y="3788"/>
                  </a:lnTo>
                  <a:cubicBezTo>
                    <a:pt x="356736" y="1698"/>
                    <a:pt x="358434" y="0"/>
                    <a:pt x="360524" y="0"/>
                  </a:cubicBezTo>
                  <a:cubicBezTo>
                    <a:pt x="362614" y="0"/>
                    <a:pt x="364312" y="1698"/>
                    <a:pt x="364312" y="3788"/>
                  </a:cubicBezTo>
                  <a:lnTo>
                    <a:pt x="364312" y="1196131"/>
                  </a:lnTo>
                  <a:cubicBezTo>
                    <a:pt x="364312" y="1197176"/>
                    <a:pt x="363920" y="1198090"/>
                    <a:pt x="363137" y="1198744"/>
                  </a:cubicBezTo>
                  <a:cubicBezTo>
                    <a:pt x="362484" y="1199397"/>
                    <a:pt x="361438" y="1199789"/>
                    <a:pt x="360524" y="1199789"/>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nvGrpSpPr>
            <p:cNvPr id="235" name="Graphic 717">
              <a:extLst>
                <a:ext uri="{FF2B5EF4-FFF2-40B4-BE49-F238E27FC236}">
                  <a16:creationId xmlns:a16="http://schemas.microsoft.com/office/drawing/2014/main" id="{191FA4E2-405E-11B9-B87D-CC7793B7EFFC}"/>
                </a:ext>
              </a:extLst>
            </p:cNvPr>
            <p:cNvGrpSpPr/>
            <p:nvPr/>
          </p:nvGrpSpPr>
          <p:grpSpPr>
            <a:xfrm>
              <a:off x="3815377" y="3276202"/>
              <a:ext cx="44673" cy="44673"/>
              <a:chOff x="3815377" y="3276202"/>
              <a:chExt cx="44673" cy="44673"/>
            </a:xfrm>
            <a:grpFill/>
          </p:grpSpPr>
          <p:sp>
            <p:nvSpPr>
              <p:cNvPr id="236" name="Freeform: Shape 235">
                <a:extLst>
                  <a:ext uri="{FF2B5EF4-FFF2-40B4-BE49-F238E27FC236}">
                    <a16:creationId xmlns:a16="http://schemas.microsoft.com/office/drawing/2014/main" id="{43992573-C69F-0048-80D2-B82F9A3B9E96}"/>
                  </a:ext>
                </a:extLst>
              </p:cNvPr>
              <p:cNvSpPr/>
              <p:nvPr/>
            </p:nvSpPr>
            <p:spPr>
              <a:xfrm>
                <a:off x="3819165" y="3280121"/>
                <a:ext cx="37097" cy="37097"/>
              </a:xfrm>
              <a:custGeom>
                <a:avLst/>
                <a:gdLst>
                  <a:gd name="connsiteX0" fmla="*/ 18549 w 37097"/>
                  <a:gd name="connsiteY0" fmla="*/ 37097 h 37097"/>
                  <a:gd name="connsiteX1" fmla="*/ 37098 w 37097"/>
                  <a:gd name="connsiteY1" fmla="*/ 18549 h 37097"/>
                  <a:gd name="connsiteX2" fmla="*/ 18549 w 37097"/>
                  <a:gd name="connsiteY2" fmla="*/ 0 h 37097"/>
                  <a:gd name="connsiteX3" fmla="*/ 0 w 37097"/>
                  <a:gd name="connsiteY3" fmla="*/ 18549 h 37097"/>
                  <a:gd name="connsiteX4" fmla="*/ 18549 w 37097"/>
                  <a:gd name="connsiteY4" fmla="*/ 37097 h 3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97" h="37097">
                    <a:moveTo>
                      <a:pt x="18549" y="37097"/>
                    </a:moveTo>
                    <a:cubicBezTo>
                      <a:pt x="28868" y="37097"/>
                      <a:pt x="37098" y="28737"/>
                      <a:pt x="37098" y="18549"/>
                    </a:cubicBezTo>
                    <a:cubicBezTo>
                      <a:pt x="37098" y="8360"/>
                      <a:pt x="28738" y="0"/>
                      <a:pt x="18549" y="0"/>
                    </a:cubicBezTo>
                    <a:cubicBezTo>
                      <a:pt x="8360" y="0"/>
                      <a:pt x="0" y="8360"/>
                      <a:pt x="0" y="18549"/>
                    </a:cubicBezTo>
                    <a:cubicBezTo>
                      <a:pt x="0" y="28737"/>
                      <a:pt x="8360" y="37097"/>
                      <a:pt x="18549" y="37097"/>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sp>
            <p:nvSpPr>
              <p:cNvPr id="237" name="Freeform: Shape 236">
                <a:extLst>
                  <a:ext uri="{FF2B5EF4-FFF2-40B4-BE49-F238E27FC236}">
                    <a16:creationId xmlns:a16="http://schemas.microsoft.com/office/drawing/2014/main" id="{F57619E0-82D2-D682-AC22-12D169244DE9}"/>
                  </a:ext>
                </a:extLst>
              </p:cNvPr>
              <p:cNvSpPr/>
              <p:nvPr/>
            </p:nvSpPr>
            <p:spPr>
              <a:xfrm>
                <a:off x="3815377" y="3276202"/>
                <a:ext cx="44673" cy="44673"/>
              </a:xfrm>
              <a:custGeom>
                <a:avLst/>
                <a:gdLst>
                  <a:gd name="connsiteX0" fmla="*/ 22337 w 44673"/>
                  <a:gd name="connsiteY0" fmla="*/ 44674 h 44673"/>
                  <a:gd name="connsiteX1" fmla="*/ 0 w 44673"/>
                  <a:gd name="connsiteY1" fmla="*/ 22337 h 44673"/>
                  <a:gd name="connsiteX2" fmla="*/ 22337 w 44673"/>
                  <a:gd name="connsiteY2" fmla="*/ 0 h 44673"/>
                  <a:gd name="connsiteX3" fmla="*/ 44673 w 44673"/>
                  <a:gd name="connsiteY3" fmla="*/ 22337 h 44673"/>
                  <a:gd name="connsiteX4" fmla="*/ 22337 w 44673"/>
                  <a:gd name="connsiteY4" fmla="*/ 44674 h 44673"/>
                  <a:gd name="connsiteX5" fmla="*/ 22337 w 44673"/>
                  <a:gd name="connsiteY5" fmla="*/ 7446 h 44673"/>
                  <a:gd name="connsiteX6" fmla="*/ 7445 w 44673"/>
                  <a:gd name="connsiteY6" fmla="*/ 22337 h 44673"/>
                  <a:gd name="connsiteX7" fmla="*/ 22337 w 44673"/>
                  <a:gd name="connsiteY7" fmla="*/ 37228 h 44673"/>
                  <a:gd name="connsiteX8" fmla="*/ 37228 w 44673"/>
                  <a:gd name="connsiteY8" fmla="*/ 22337 h 44673"/>
                  <a:gd name="connsiteX9" fmla="*/ 22337 w 44673"/>
                  <a:gd name="connsiteY9" fmla="*/ 7446 h 4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73" h="44673">
                    <a:moveTo>
                      <a:pt x="22337" y="44674"/>
                    </a:moveTo>
                    <a:cubicBezTo>
                      <a:pt x="10058" y="44674"/>
                      <a:pt x="0" y="34616"/>
                      <a:pt x="0" y="22337"/>
                    </a:cubicBezTo>
                    <a:cubicBezTo>
                      <a:pt x="0" y="10058"/>
                      <a:pt x="10058" y="0"/>
                      <a:pt x="22337" y="0"/>
                    </a:cubicBezTo>
                    <a:cubicBezTo>
                      <a:pt x="34615" y="0"/>
                      <a:pt x="44673" y="10058"/>
                      <a:pt x="44673" y="22337"/>
                    </a:cubicBezTo>
                    <a:cubicBezTo>
                      <a:pt x="44673" y="34616"/>
                      <a:pt x="34615" y="44674"/>
                      <a:pt x="22337" y="44674"/>
                    </a:cubicBezTo>
                    <a:close/>
                    <a:moveTo>
                      <a:pt x="22337" y="7446"/>
                    </a:moveTo>
                    <a:cubicBezTo>
                      <a:pt x="14107" y="7446"/>
                      <a:pt x="7445" y="14107"/>
                      <a:pt x="7445" y="22337"/>
                    </a:cubicBezTo>
                    <a:cubicBezTo>
                      <a:pt x="7445" y="30566"/>
                      <a:pt x="14107" y="37228"/>
                      <a:pt x="22337" y="37228"/>
                    </a:cubicBezTo>
                    <a:cubicBezTo>
                      <a:pt x="30566" y="37228"/>
                      <a:pt x="37228" y="30566"/>
                      <a:pt x="37228" y="22337"/>
                    </a:cubicBezTo>
                    <a:cubicBezTo>
                      <a:pt x="37228" y="14107"/>
                      <a:pt x="30566" y="7446"/>
                      <a:pt x="22337" y="7446"/>
                    </a:cubicBezTo>
                    <a:close/>
                  </a:path>
                </a:pathLst>
              </a:custGeom>
              <a:grpFill/>
              <a:ln w="13039" cap="flat">
                <a:solidFill>
                  <a:schemeClr val="tx2">
                    <a:lumMod val="60000"/>
                    <a:lumOff val="40000"/>
                    <a:alpha val="54000"/>
                  </a:schemeClr>
                </a:solidFill>
                <a:prstDash val="solid"/>
                <a:miter/>
              </a:ln>
            </p:spPr>
            <p:txBody>
              <a:bodyPr rtlCol="0" anchor="ctr"/>
              <a:lstStyle/>
              <a:p>
                <a:endParaRPr lang="en-US" dirty="0"/>
              </a:p>
            </p:txBody>
          </p:sp>
        </p:grpSp>
      </p:grpSp>
    </p:spTree>
    <p:extLst>
      <p:ext uri="{BB962C8B-B14F-4D97-AF65-F5344CB8AC3E}">
        <p14:creationId xmlns:p14="http://schemas.microsoft.com/office/powerpoint/2010/main" val="30463661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1/3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567378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727F30D-9242-4A88-9322-2EDE74F75B38}"/>
              </a:ext>
            </a:extLst>
          </p:cNvPr>
          <p:cNvSpPr>
            <a:spLocks noGrp="1"/>
          </p:cNvSpPr>
          <p:nvPr>
            <p:ph type="ftr" sz="quarter" idx="3"/>
          </p:nvPr>
        </p:nvSpPr>
        <p:spPr>
          <a:xfrm>
            <a:off x="436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4" name="Title 3">
            <a:extLst>
              <a:ext uri="{FF2B5EF4-FFF2-40B4-BE49-F238E27FC236}">
                <a16:creationId xmlns:a16="http://schemas.microsoft.com/office/drawing/2014/main" id="{CE1BEDEA-6CDE-421B-87A1-0632A5F947FD}"/>
              </a:ext>
            </a:extLst>
          </p:cNvPr>
          <p:cNvSpPr>
            <a:spLocks noGrp="1"/>
          </p:cNvSpPr>
          <p:nvPr>
            <p:ph type="title"/>
          </p:nvPr>
        </p:nvSpPr>
        <p:spPr>
          <a:xfrm>
            <a:off x="531813" y="560588"/>
            <a:ext cx="3135726" cy="837152"/>
          </a:xfrm>
        </p:spPr>
        <p:txBody>
          <a:bodyPr vert="horz" wrap="square" lIns="0" tIns="0" rIns="0" bIns="0" rtlCol="0" anchor="t">
            <a:spAutoFit/>
          </a:bodyPr>
          <a:lstStyle>
            <a:lvl1pPr rtl="0">
              <a:defRPr lang="en-IN" dirty="0">
                <a:solidFill>
                  <a:schemeClr val="bg1"/>
                </a:solidFill>
              </a:defRPr>
            </a:lvl1pPr>
          </a:lstStyle>
          <a:p>
            <a:pPr lvl="0">
              <a:lnSpc>
                <a:spcPct val="85000"/>
              </a:lnSpc>
            </a:pPr>
            <a:r>
              <a:rPr lang="en-US" dirty="0"/>
              <a:t>Click to edit Master title style</a:t>
            </a:r>
          </a:p>
        </p:txBody>
      </p:sp>
    </p:spTree>
    <p:extLst>
      <p:ext uri="{BB962C8B-B14F-4D97-AF65-F5344CB8AC3E}">
        <p14:creationId xmlns:p14="http://schemas.microsoft.com/office/powerpoint/2010/main" val="8330695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1/3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816016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727F30D-9242-4A88-9322-2EDE74F75B38}"/>
              </a:ext>
            </a:extLst>
          </p:cNvPr>
          <p:cNvSpPr>
            <a:spLocks noGrp="1"/>
          </p:cNvSpPr>
          <p:nvPr>
            <p:ph type="ftr" sz="quarter" idx="3"/>
          </p:nvPr>
        </p:nvSpPr>
        <p:spPr>
          <a:xfrm>
            <a:off x="436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4" name="Title 3">
            <a:extLst>
              <a:ext uri="{FF2B5EF4-FFF2-40B4-BE49-F238E27FC236}">
                <a16:creationId xmlns:a16="http://schemas.microsoft.com/office/drawing/2014/main" id="{CE1BEDEA-6CDE-421B-87A1-0632A5F947FD}"/>
              </a:ext>
            </a:extLst>
          </p:cNvPr>
          <p:cNvSpPr>
            <a:spLocks noGrp="1"/>
          </p:cNvSpPr>
          <p:nvPr>
            <p:ph type="title"/>
          </p:nvPr>
        </p:nvSpPr>
        <p:spPr>
          <a:xfrm>
            <a:off x="531813" y="560588"/>
            <a:ext cx="3135726" cy="837152"/>
          </a:xfrm>
        </p:spPr>
        <p:txBody>
          <a:bodyPr vert="horz" wrap="square" lIns="0" tIns="0" rIns="0" bIns="0" rtlCol="0" anchor="t">
            <a:spAutoFit/>
          </a:bodyPr>
          <a:lstStyle>
            <a:lvl1pPr rtl="0">
              <a:defRPr lang="en-IN" dirty="0">
                <a:solidFill>
                  <a:schemeClr val="bg1"/>
                </a:solidFill>
              </a:defRPr>
            </a:lvl1pPr>
          </a:lstStyle>
          <a:p>
            <a:pPr lvl="0">
              <a:lnSpc>
                <a:spcPct val="85000"/>
              </a:lnSpc>
            </a:pPr>
            <a:r>
              <a:rPr lang="en-US" dirty="0"/>
              <a:t>Click to edit Master title style</a:t>
            </a:r>
          </a:p>
        </p:txBody>
      </p:sp>
      <p:grpSp>
        <p:nvGrpSpPr>
          <p:cNvPr id="2" name="Group 1">
            <a:extLst>
              <a:ext uri="{FF2B5EF4-FFF2-40B4-BE49-F238E27FC236}">
                <a16:creationId xmlns:a16="http://schemas.microsoft.com/office/drawing/2014/main" id="{C3D51F48-4D08-9F30-EAEA-58E0C207EF54}"/>
              </a:ext>
            </a:extLst>
          </p:cNvPr>
          <p:cNvGrpSpPr/>
          <p:nvPr userDrawn="1"/>
        </p:nvGrpSpPr>
        <p:grpSpPr>
          <a:xfrm>
            <a:off x="550863" y="2284658"/>
            <a:ext cx="3338776" cy="2798620"/>
            <a:chOff x="10189944" y="2138023"/>
            <a:chExt cx="4401576" cy="3689476"/>
          </a:xfrm>
          <a:solidFill>
            <a:schemeClr val="bg1">
              <a:alpha val="28000"/>
            </a:schemeClr>
          </a:solidFill>
        </p:grpSpPr>
        <p:sp>
          <p:nvSpPr>
            <p:cNvPr id="8" name="Freeform: Shape 7">
              <a:extLst>
                <a:ext uri="{FF2B5EF4-FFF2-40B4-BE49-F238E27FC236}">
                  <a16:creationId xmlns:a16="http://schemas.microsoft.com/office/drawing/2014/main" id="{47C94DE5-F9BD-DA68-4E5D-E883C0CFB6D0}"/>
                </a:ext>
              </a:extLst>
            </p:cNvPr>
            <p:cNvSpPr/>
            <p:nvPr/>
          </p:nvSpPr>
          <p:spPr>
            <a:xfrm>
              <a:off x="10189944" y="2138023"/>
              <a:ext cx="4401576" cy="3689476"/>
            </a:xfrm>
            <a:custGeom>
              <a:avLst/>
              <a:gdLst>
                <a:gd name="connsiteX0" fmla="*/ 4303409 w 4401576"/>
                <a:gd name="connsiteY0" fmla="*/ 204400 h 3689476"/>
                <a:gd name="connsiteX1" fmla="*/ 4099366 w 4401576"/>
                <a:gd name="connsiteY1" fmla="*/ 0 h 3689476"/>
                <a:gd name="connsiteX2" fmla="*/ 362475 w 4401576"/>
                <a:gd name="connsiteY2" fmla="*/ 0 h 3689476"/>
                <a:gd name="connsiteX3" fmla="*/ 158464 w 4401576"/>
                <a:gd name="connsiteY3" fmla="*/ 204400 h 3689476"/>
                <a:gd name="connsiteX4" fmla="*/ 158464 w 4401576"/>
                <a:gd name="connsiteY4" fmla="*/ 2799307 h 3689476"/>
                <a:gd name="connsiteX5" fmla="*/ 113147 w 4401576"/>
                <a:gd name="connsiteY5" fmla="*/ 2799307 h 3689476"/>
                <a:gd name="connsiteX6" fmla="*/ 0 w 4401576"/>
                <a:gd name="connsiteY6" fmla="*/ 2912453 h 3689476"/>
                <a:gd name="connsiteX7" fmla="*/ 0 w 4401576"/>
                <a:gd name="connsiteY7" fmla="*/ 3576329 h 3689476"/>
                <a:gd name="connsiteX8" fmla="*/ 32217 w 4401576"/>
                <a:gd name="connsiteY8" fmla="*/ 3655125 h 3689476"/>
                <a:gd name="connsiteX9" fmla="*/ 4884 w 4401576"/>
                <a:gd name="connsiteY9" fmla="*/ 3655125 h 3689476"/>
                <a:gd name="connsiteX10" fmla="*/ 4884 w 4401576"/>
                <a:gd name="connsiteY10" fmla="*/ 3689476 h 3689476"/>
                <a:gd name="connsiteX11" fmla="*/ 4401577 w 4401576"/>
                <a:gd name="connsiteY11" fmla="*/ 3689476 h 3689476"/>
                <a:gd name="connsiteX12" fmla="*/ 4401577 w 4401576"/>
                <a:gd name="connsiteY12" fmla="*/ 3655125 h 3689476"/>
                <a:gd name="connsiteX13" fmla="*/ 4361274 w 4401576"/>
                <a:gd name="connsiteY13" fmla="*/ 3655125 h 3689476"/>
                <a:gd name="connsiteX14" fmla="*/ 4389932 w 4401576"/>
                <a:gd name="connsiteY14" fmla="*/ 3582961 h 3689476"/>
                <a:gd name="connsiteX15" fmla="*/ 4389932 w 4401576"/>
                <a:gd name="connsiteY15" fmla="*/ 2965050 h 3689476"/>
                <a:gd name="connsiteX16" fmla="*/ 4302274 w 4401576"/>
                <a:gd name="connsiteY16" fmla="*/ 2860540 h 3689476"/>
                <a:gd name="connsiteX17" fmla="*/ 4303373 w 4401576"/>
                <a:gd name="connsiteY17" fmla="*/ 2847925 h 3689476"/>
                <a:gd name="connsiteX18" fmla="*/ 192812 w 4401576"/>
                <a:gd name="connsiteY18" fmla="*/ 204400 h 3689476"/>
                <a:gd name="connsiteX19" fmla="*/ 362466 w 4401576"/>
                <a:gd name="connsiteY19" fmla="*/ 34356 h 3689476"/>
                <a:gd name="connsiteX20" fmla="*/ 4099358 w 4401576"/>
                <a:gd name="connsiteY20" fmla="*/ 34356 h 3689476"/>
                <a:gd name="connsiteX21" fmla="*/ 4269045 w 4401576"/>
                <a:gd name="connsiteY21" fmla="*/ 204400 h 3689476"/>
                <a:gd name="connsiteX22" fmla="*/ 4269045 w 4401576"/>
                <a:gd name="connsiteY22" fmla="*/ 2632534 h 3689476"/>
                <a:gd name="connsiteX23" fmla="*/ 4038934 w 4401576"/>
                <a:gd name="connsiteY23" fmla="*/ 2632534 h 3689476"/>
                <a:gd name="connsiteX24" fmla="*/ 3968095 w 4401576"/>
                <a:gd name="connsiteY24" fmla="*/ 2476593 h 3689476"/>
                <a:gd name="connsiteX25" fmla="*/ 4116501 w 4401576"/>
                <a:gd name="connsiteY25" fmla="*/ 2476593 h 3689476"/>
                <a:gd name="connsiteX26" fmla="*/ 4116566 w 4401576"/>
                <a:gd name="connsiteY26" fmla="*/ 187242 h 3689476"/>
                <a:gd name="connsiteX27" fmla="*/ 345310 w 4401576"/>
                <a:gd name="connsiteY27" fmla="*/ 187242 h 3689476"/>
                <a:gd name="connsiteX28" fmla="*/ 345310 w 4401576"/>
                <a:gd name="connsiteY28" fmla="*/ 2476593 h 3689476"/>
                <a:gd name="connsiteX29" fmla="*/ 3523837 w 4401576"/>
                <a:gd name="connsiteY29" fmla="*/ 2476593 h 3689476"/>
                <a:gd name="connsiteX30" fmla="*/ 3594675 w 4401576"/>
                <a:gd name="connsiteY30" fmla="*/ 2632534 h 3689476"/>
                <a:gd name="connsiteX31" fmla="*/ 192819 w 4401576"/>
                <a:gd name="connsiteY31" fmla="*/ 2632534 h 3689476"/>
                <a:gd name="connsiteX32" fmla="*/ 4063767 w 4401576"/>
                <a:gd name="connsiteY32" fmla="*/ 2687269 h 3689476"/>
                <a:gd name="connsiteX33" fmla="*/ 4054516 w 4401576"/>
                <a:gd name="connsiteY33" fmla="*/ 2666924 h 3689476"/>
                <a:gd name="connsiteX34" fmla="*/ 4269002 w 4401576"/>
                <a:gd name="connsiteY34" fmla="*/ 2666924 h 3689476"/>
                <a:gd name="connsiteX35" fmla="*/ 4269002 w 4401576"/>
                <a:gd name="connsiteY35" fmla="*/ 2847964 h 3689476"/>
                <a:gd name="connsiteX36" fmla="*/ 4268096 w 4401576"/>
                <a:gd name="connsiteY36" fmla="*/ 2858606 h 3689476"/>
                <a:gd name="connsiteX37" fmla="*/ 4061792 w 4401576"/>
                <a:gd name="connsiteY37" fmla="*/ 2858606 h 3689476"/>
                <a:gd name="connsiteX38" fmla="*/ 4063765 w 4401576"/>
                <a:gd name="connsiteY38" fmla="*/ 2687271 h 3689476"/>
                <a:gd name="connsiteX39" fmla="*/ 3949039 w 4401576"/>
                <a:gd name="connsiteY39" fmla="*/ 2923657 h 3689476"/>
                <a:gd name="connsiteX40" fmla="*/ 3726853 w 4401576"/>
                <a:gd name="connsiteY40" fmla="*/ 2840494 h 3689476"/>
                <a:gd name="connsiteX41" fmla="*/ 3466559 w 4401576"/>
                <a:gd name="connsiteY41" fmla="*/ 2267316 h 3689476"/>
                <a:gd name="connsiteX42" fmla="*/ 3546325 w 4401576"/>
                <a:gd name="connsiteY42" fmla="*/ 2046231 h 3689476"/>
                <a:gd name="connsiteX43" fmla="*/ 3550109 w 4401576"/>
                <a:gd name="connsiteY43" fmla="*/ 2044646 h 3689476"/>
                <a:gd name="connsiteX44" fmla="*/ 3772163 w 4401576"/>
                <a:gd name="connsiteY44" fmla="*/ 2128198 h 3689476"/>
                <a:gd name="connsiteX45" fmla="*/ 4032515 w 4401576"/>
                <a:gd name="connsiteY45" fmla="*/ 2701467 h 3689476"/>
                <a:gd name="connsiteX46" fmla="*/ 3949029 w 4401576"/>
                <a:gd name="connsiteY46" fmla="*/ 2923654 h 3689476"/>
                <a:gd name="connsiteX47" fmla="*/ 3766964 w 4401576"/>
                <a:gd name="connsiteY47" fmla="*/ 2059985 h 3689476"/>
                <a:gd name="connsiteX48" fmla="*/ 3622732 w 4401576"/>
                <a:gd name="connsiteY48" fmla="*/ 1995939 h 3689476"/>
                <a:gd name="connsiteX49" fmla="*/ 3586504 w 4401576"/>
                <a:gd name="connsiteY49" fmla="*/ 1916400 h 3689476"/>
                <a:gd name="connsiteX50" fmla="*/ 3935161 w 4401576"/>
                <a:gd name="connsiteY50" fmla="*/ 1916400 h 3689476"/>
                <a:gd name="connsiteX51" fmla="*/ 3935161 w 4401576"/>
                <a:gd name="connsiteY51" fmla="*/ 1882048 h 3689476"/>
                <a:gd name="connsiteX52" fmla="*/ 3575731 w 4401576"/>
                <a:gd name="connsiteY52" fmla="*/ 1882048 h 3689476"/>
                <a:gd name="connsiteX53" fmla="*/ 3886934 w 4401576"/>
                <a:gd name="connsiteY53" fmla="*/ 882905 h 3689476"/>
                <a:gd name="connsiteX54" fmla="*/ 2844649 w 4401576"/>
                <a:gd name="connsiteY54" fmla="*/ 491711 h 3689476"/>
                <a:gd name="connsiteX55" fmla="*/ 2561037 w 4401576"/>
                <a:gd name="connsiteY55" fmla="*/ 709823 h 3689476"/>
                <a:gd name="connsiteX56" fmla="*/ 2105311 w 4401576"/>
                <a:gd name="connsiteY56" fmla="*/ 423851 h 3689476"/>
                <a:gd name="connsiteX57" fmla="*/ 1543809 w 4401576"/>
                <a:gd name="connsiteY57" fmla="*/ 779339 h 3689476"/>
                <a:gd name="connsiteX58" fmla="*/ 1562182 w 4401576"/>
                <a:gd name="connsiteY58" fmla="*/ 808386 h 3689476"/>
                <a:gd name="connsiteX59" fmla="*/ 2105376 w 4401576"/>
                <a:gd name="connsiteY59" fmla="*/ 464449 h 3689476"/>
                <a:gd name="connsiteX60" fmla="*/ 2539853 w 4401576"/>
                <a:gd name="connsiteY60" fmla="*/ 737131 h 3689476"/>
                <a:gd name="connsiteX61" fmla="*/ 2453097 w 4401576"/>
                <a:gd name="connsiteY61" fmla="*/ 1533953 h 3689476"/>
                <a:gd name="connsiteX62" fmla="*/ 2517272 w 4401576"/>
                <a:gd name="connsiteY62" fmla="*/ 1647100 h 3689476"/>
                <a:gd name="connsiteX63" fmla="*/ 2245534 w 4401576"/>
                <a:gd name="connsiteY63" fmla="*/ 1647100 h 3689476"/>
                <a:gd name="connsiteX64" fmla="*/ 2247895 w 4401576"/>
                <a:gd name="connsiteY64" fmla="*/ 1635455 h 3689476"/>
                <a:gd name="connsiteX65" fmla="*/ 2247928 w 4401576"/>
                <a:gd name="connsiteY65" fmla="*/ 762261 h 3689476"/>
                <a:gd name="connsiteX66" fmla="*/ 2201996 w 4401576"/>
                <a:gd name="connsiteY66" fmla="*/ 716329 h 3689476"/>
                <a:gd name="connsiteX67" fmla="*/ 2017586 w 4401576"/>
                <a:gd name="connsiteY67" fmla="*/ 716329 h 3689476"/>
                <a:gd name="connsiteX68" fmla="*/ 1971654 w 4401576"/>
                <a:gd name="connsiteY68" fmla="*/ 762261 h 3689476"/>
                <a:gd name="connsiteX69" fmla="*/ 1971686 w 4401576"/>
                <a:gd name="connsiteY69" fmla="*/ 1635455 h 3689476"/>
                <a:gd name="connsiteX70" fmla="*/ 1974047 w 4401576"/>
                <a:gd name="connsiteY70" fmla="*/ 1647100 h 3689476"/>
                <a:gd name="connsiteX71" fmla="*/ 1692894 w 4401576"/>
                <a:gd name="connsiteY71" fmla="*/ 1647100 h 3689476"/>
                <a:gd name="connsiteX72" fmla="*/ 1695256 w 4401576"/>
                <a:gd name="connsiteY72" fmla="*/ 1635455 h 3689476"/>
                <a:gd name="connsiteX73" fmla="*/ 1695223 w 4401576"/>
                <a:gd name="connsiteY73" fmla="*/ 1049889 h 3689476"/>
                <a:gd name="connsiteX74" fmla="*/ 1649292 w 4401576"/>
                <a:gd name="connsiteY74" fmla="*/ 1003925 h 3689476"/>
                <a:gd name="connsiteX75" fmla="*/ 1464881 w 4401576"/>
                <a:gd name="connsiteY75" fmla="*/ 1003925 h 3689476"/>
                <a:gd name="connsiteX76" fmla="*/ 1418917 w 4401576"/>
                <a:gd name="connsiteY76" fmla="*/ 1049889 h 3689476"/>
                <a:gd name="connsiteX77" fmla="*/ 1418950 w 4401576"/>
                <a:gd name="connsiteY77" fmla="*/ 1635455 h 3689476"/>
                <a:gd name="connsiteX78" fmla="*/ 1421311 w 4401576"/>
                <a:gd name="connsiteY78" fmla="*/ 1647100 h 3689476"/>
                <a:gd name="connsiteX79" fmla="*/ 1322523 w 4401576"/>
                <a:gd name="connsiteY79" fmla="*/ 1647100 h 3689476"/>
                <a:gd name="connsiteX80" fmla="*/ 1322523 w 4401576"/>
                <a:gd name="connsiteY80" fmla="*/ 1681451 h 3689476"/>
                <a:gd name="connsiteX81" fmla="*/ 2540772 w 4401576"/>
                <a:gd name="connsiteY81" fmla="*/ 1681451 h 3689476"/>
                <a:gd name="connsiteX82" fmla="*/ 2763182 w 4401576"/>
                <a:gd name="connsiteY82" fmla="*/ 1882033 h 3689476"/>
                <a:gd name="connsiteX83" fmla="*/ 1198553 w 4401576"/>
                <a:gd name="connsiteY83" fmla="*/ 1882033 h 3689476"/>
                <a:gd name="connsiteX84" fmla="*/ 1198553 w 4401576"/>
                <a:gd name="connsiteY84" fmla="*/ 1916385 h 3689476"/>
                <a:gd name="connsiteX85" fmla="*/ 2826032 w 4401576"/>
                <a:gd name="connsiteY85" fmla="*/ 1916385 h 3689476"/>
                <a:gd name="connsiteX86" fmla="*/ 3414314 w 4401576"/>
                <a:gd name="connsiteY86" fmla="*/ 1956074 h 3689476"/>
                <a:gd name="connsiteX87" fmla="*/ 3461766 w 4401576"/>
                <a:gd name="connsiteY87" fmla="*/ 2059971 h 3689476"/>
                <a:gd name="connsiteX88" fmla="*/ 1198499 w 4401576"/>
                <a:gd name="connsiteY88" fmla="*/ 2059971 h 3689476"/>
                <a:gd name="connsiteX89" fmla="*/ 1198499 w 4401576"/>
                <a:gd name="connsiteY89" fmla="*/ 2094323 h 3689476"/>
                <a:gd name="connsiteX90" fmla="*/ 3445619 w 4401576"/>
                <a:gd name="connsiteY90" fmla="*/ 2094323 h 3689476"/>
                <a:gd name="connsiteX91" fmla="*/ 3421488 w 4401576"/>
                <a:gd name="connsiteY91" fmla="*/ 2238265 h 3689476"/>
                <a:gd name="connsiteX92" fmla="*/ 1198548 w 4401576"/>
                <a:gd name="connsiteY92" fmla="*/ 2238233 h 3689476"/>
                <a:gd name="connsiteX93" fmla="*/ 1198548 w 4401576"/>
                <a:gd name="connsiteY93" fmla="*/ 2272584 h 3689476"/>
                <a:gd name="connsiteX94" fmla="*/ 3431839 w 4401576"/>
                <a:gd name="connsiteY94" fmla="*/ 2272584 h 3689476"/>
                <a:gd name="connsiteX95" fmla="*/ 3435203 w 4401576"/>
                <a:gd name="connsiteY95" fmla="*/ 2281415 h 3689476"/>
                <a:gd name="connsiteX96" fmla="*/ 3508241 w 4401576"/>
                <a:gd name="connsiteY96" fmla="*/ 2442275 h 3689476"/>
                <a:gd name="connsiteX97" fmla="*/ 379646 w 4401576"/>
                <a:gd name="connsiteY97" fmla="*/ 2442275 h 3689476"/>
                <a:gd name="connsiteX98" fmla="*/ 379646 w 4401576"/>
                <a:gd name="connsiteY98" fmla="*/ 221570 h 3689476"/>
                <a:gd name="connsiteX99" fmla="*/ 4082173 w 4401576"/>
                <a:gd name="connsiteY99" fmla="*/ 221570 h 3689476"/>
                <a:gd name="connsiteX100" fmla="*/ 4082173 w 4401576"/>
                <a:gd name="connsiteY100" fmla="*/ 2442275 h 3689476"/>
                <a:gd name="connsiteX101" fmla="*/ 3952531 w 4401576"/>
                <a:gd name="connsiteY101" fmla="*/ 2442275 h 3689476"/>
                <a:gd name="connsiteX102" fmla="*/ 3803446 w 4401576"/>
                <a:gd name="connsiteY102" fmla="*/ 2113988 h 3689476"/>
                <a:gd name="connsiteX103" fmla="*/ 3792771 w 4401576"/>
                <a:gd name="connsiteY103" fmla="*/ 2094322 h 3689476"/>
                <a:gd name="connsiteX104" fmla="*/ 3935157 w 4401576"/>
                <a:gd name="connsiteY104" fmla="*/ 2094322 h 3689476"/>
                <a:gd name="connsiteX105" fmla="*/ 3935157 w 4401576"/>
                <a:gd name="connsiteY105" fmla="*/ 2059970 h 3689476"/>
                <a:gd name="connsiteX106" fmla="*/ 3495350 w 4401576"/>
                <a:gd name="connsiteY106" fmla="*/ 1925201 h 3689476"/>
                <a:gd name="connsiteX107" fmla="*/ 3542091 w 4401576"/>
                <a:gd name="connsiteY107" fmla="*/ 1901783 h 3689476"/>
                <a:gd name="connsiteX108" fmla="*/ 3586340 w 4401576"/>
                <a:gd name="connsiteY108" fmla="*/ 1998857 h 3689476"/>
                <a:gd name="connsiteX109" fmla="*/ 3535557 w 4401576"/>
                <a:gd name="connsiteY109" fmla="*/ 2013380 h 3689476"/>
                <a:gd name="connsiteX110" fmla="*/ 3534231 w 4401576"/>
                <a:gd name="connsiteY110" fmla="*/ 2013995 h 3689476"/>
                <a:gd name="connsiteX111" fmla="*/ 3491275 w 4401576"/>
                <a:gd name="connsiteY111" fmla="*/ 2041813 h 3689476"/>
                <a:gd name="connsiteX112" fmla="*/ 3446864 w 4401576"/>
                <a:gd name="connsiteY112" fmla="*/ 1944548 h 3689476"/>
                <a:gd name="connsiteX113" fmla="*/ 3495351 w 4401576"/>
                <a:gd name="connsiteY113" fmla="*/ 1925205 h 3689476"/>
                <a:gd name="connsiteX114" fmla="*/ 3417978 w 4401576"/>
                <a:gd name="connsiteY114" fmla="*/ 1919088 h 3689476"/>
                <a:gd name="connsiteX115" fmla="*/ 2484417 w 4401576"/>
                <a:gd name="connsiteY115" fmla="*/ 1519770 h 3689476"/>
                <a:gd name="connsiteX116" fmla="*/ 2858860 w 4401576"/>
                <a:gd name="connsiteY116" fmla="*/ 522945 h 3689476"/>
                <a:gd name="connsiteX117" fmla="*/ 3855684 w 4401576"/>
                <a:gd name="connsiteY117" fmla="*/ 897098 h 3689476"/>
                <a:gd name="connsiteX118" fmla="*/ 3541666 w 4401576"/>
                <a:gd name="connsiteY118" fmla="*/ 1862870 h 3689476"/>
                <a:gd name="connsiteX119" fmla="*/ 3541633 w 4401576"/>
                <a:gd name="connsiteY119" fmla="*/ 1862903 h 3689476"/>
                <a:gd name="connsiteX120" fmla="*/ 3481211 w 4401576"/>
                <a:gd name="connsiteY120" fmla="*/ 1893761 h 3689476"/>
                <a:gd name="connsiteX121" fmla="*/ 3418038 w 4401576"/>
                <a:gd name="connsiteY121" fmla="*/ 1919024 h 3689476"/>
                <a:gd name="connsiteX122" fmla="*/ 2213557 w 4401576"/>
                <a:gd name="connsiteY122" fmla="*/ 762281 h 3689476"/>
                <a:gd name="connsiteX123" fmla="*/ 2213557 w 4401576"/>
                <a:gd name="connsiteY123" fmla="*/ 1635476 h 3689476"/>
                <a:gd name="connsiteX124" fmla="*/ 2201978 w 4401576"/>
                <a:gd name="connsiteY124" fmla="*/ 1647087 h 3689476"/>
                <a:gd name="connsiteX125" fmla="*/ 2017568 w 4401576"/>
                <a:gd name="connsiteY125" fmla="*/ 1647087 h 3689476"/>
                <a:gd name="connsiteX126" fmla="*/ 2005988 w 4401576"/>
                <a:gd name="connsiteY126" fmla="*/ 1635476 h 3689476"/>
                <a:gd name="connsiteX127" fmla="*/ 2005988 w 4401576"/>
                <a:gd name="connsiteY127" fmla="*/ 762281 h 3689476"/>
                <a:gd name="connsiteX128" fmla="*/ 2017568 w 4401576"/>
                <a:gd name="connsiteY128" fmla="*/ 750701 h 3689476"/>
                <a:gd name="connsiteX129" fmla="*/ 2201978 w 4401576"/>
                <a:gd name="connsiteY129" fmla="*/ 750701 h 3689476"/>
                <a:gd name="connsiteX130" fmla="*/ 2213557 w 4401576"/>
                <a:gd name="connsiteY130" fmla="*/ 762281 h 3689476"/>
                <a:gd name="connsiteX131" fmla="*/ 1660857 w 4401576"/>
                <a:gd name="connsiteY131" fmla="*/ 1049901 h 3689476"/>
                <a:gd name="connsiteX132" fmla="*/ 1660857 w 4401576"/>
                <a:gd name="connsiteY132" fmla="*/ 1635467 h 3689476"/>
                <a:gd name="connsiteX133" fmla="*/ 1649277 w 4401576"/>
                <a:gd name="connsiteY133" fmla="*/ 1647079 h 3689476"/>
                <a:gd name="connsiteX134" fmla="*/ 1464867 w 4401576"/>
                <a:gd name="connsiteY134" fmla="*/ 1647079 h 3689476"/>
                <a:gd name="connsiteX135" fmla="*/ 1453256 w 4401576"/>
                <a:gd name="connsiteY135" fmla="*/ 1635467 h 3689476"/>
                <a:gd name="connsiteX136" fmla="*/ 1453288 w 4401576"/>
                <a:gd name="connsiteY136" fmla="*/ 1049901 h 3689476"/>
                <a:gd name="connsiteX137" fmla="*/ 1464900 w 4401576"/>
                <a:gd name="connsiteY137" fmla="*/ 1038289 h 3689476"/>
                <a:gd name="connsiteX138" fmla="*/ 1649310 w 4401576"/>
                <a:gd name="connsiteY138" fmla="*/ 1038289 h 3689476"/>
                <a:gd name="connsiteX139" fmla="*/ 1660857 w 4401576"/>
                <a:gd name="connsiteY139" fmla="*/ 1049901 h 3689476"/>
                <a:gd name="connsiteX140" fmla="*/ 1004682 w 4401576"/>
                <a:gd name="connsiteY140" fmla="*/ 3576410 h 3689476"/>
                <a:gd name="connsiteX141" fmla="*/ 925887 w 4401576"/>
                <a:gd name="connsiteY141" fmla="*/ 3655205 h 3689476"/>
                <a:gd name="connsiteX142" fmla="*/ 113124 w 4401576"/>
                <a:gd name="connsiteY142" fmla="*/ 3655205 h 3689476"/>
                <a:gd name="connsiteX143" fmla="*/ 34329 w 4401576"/>
                <a:gd name="connsiteY143" fmla="*/ 3576410 h 3689476"/>
                <a:gd name="connsiteX144" fmla="*/ 34329 w 4401576"/>
                <a:gd name="connsiteY144" fmla="*/ 2912534 h 3689476"/>
                <a:gd name="connsiteX145" fmla="*/ 113124 w 4401576"/>
                <a:gd name="connsiteY145" fmla="*/ 2833738 h 3689476"/>
                <a:gd name="connsiteX146" fmla="*/ 925854 w 4401576"/>
                <a:gd name="connsiteY146" fmla="*/ 2833738 h 3689476"/>
                <a:gd name="connsiteX147" fmla="*/ 1004649 w 4401576"/>
                <a:gd name="connsiteY147" fmla="*/ 2912534 h 3689476"/>
                <a:gd name="connsiteX148" fmla="*/ 1006817 w 4401576"/>
                <a:gd name="connsiteY148" fmla="*/ 3655205 h 3689476"/>
                <a:gd name="connsiteX149" fmla="*/ 1039034 w 4401576"/>
                <a:gd name="connsiteY149" fmla="*/ 3576410 h 3689476"/>
                <a:gd name="connsiteX150" fmla="*/ 1039034 w 4401576"/>
                <a:gd name="connsiteY150" fmla="*/ 3052013 h 3689476"/>
                <a:gd name="connsiteX151" fmla="*/ 1816702 w 4401576"/>
                <a:gd name="connsiteY151" fmla="*/ 3052013 h 3689476"/>
                <a:gd name="connsiteX152" fmla="*/ 1599501 w 4401576"/>
                <a:gd name="connsiteY152" fmla="*/ 3561372 h 3689476"/>
                <a:gd name="connsiteX153" fmla="*/ 1505665 w 4401576"/>
                <a:gd name="connsiteY153" fmla="*/ 3655209 h 3689476"/>
                <a:gd name="connsiteX154" fmla="*/ 1558581 w 4401576"/>
                <a:gd name="connsiteY154" fmla="*/ 3650839 h 3689476"/>
                <a:gd name="connsiteX155" fmla="*/ 1623759 w 4401576"/>
                <a:gd name="connsiteY155" fmla="*/ 3585661 h 3689476"/>
                <a:gd name="connsiteX156" fmla="*/ 1851700 w 4401576"/>
                <a:gd name="connsiteY156" fmla="*/ 3052105 h 3689476"/>
                <a:gd name="connsiteX157" fmla="*/ 2610059 w 4401576"/>
                <a:gd name="connsiteY157" fmla="*/ 3052105 h 3689476"/>
                <a:gd name="connsiteX158" fmla="*/ 2838033 w 4401576"/>
                <a:gd name="connsiteY158" fmla="*/ 3585661 h 3689476"/>
                <a:gd name="connsiteX159" fmla="*/ 2903179 w 4401576"/>
                <a:gd name="connsiteY159" fmla="*/ 3650839 h 3689476"/>
                <a:gd name="connsiteX160" fmla="*/ 2956107 w 4401576"/>
                <a:gd name="connsiteY160" fmla="*/ 3655205 h 3689476"/>
                <a:gd name="connsiteX161" fmla="*/ 2862303 w 4401576"/>
                <a:gd name="connsiteY161" fmla="*/ 3561369 h 3689476"/>
                <a:gd name="connsiteX162" fmla="*/ 2645069 w 4401576"/>
                <a:gd name="connsiteY162" fmla="*/ 3052010 h 3689476"/>
                <a:gd name="connsiteX163" fmla="*/ 3420535 w 4401576"/>
                <a:gd name="connsiteY163" fmla="*/ 3052010 h 3689476"/>
                <a:gd name="connsiteX164" fmla="*/ 3420535 w 4401576"/>
                <a:gd name="connsiteY164" fmla="*/ 3583040 h 3689476"/>
                <a:gd name="connsiteX165" fmla="*/ 3449194 w 4401576"/>
                <a:gd name="connsiteY165" fmla="*/ 3655204 h 3689476"/>
                <a:gd name="connsiteX166" fmla="*/ 3420535 w 4401576"/>
                <a:gd name="connsiteY166" fmla="*/ 2965129 h 3689476"/>
                <a:gd name="connsiteX167" fmla="*/ 3420535 w 4401576"/>
                <a:gd name="connsiteY167" fmla="*/ 3017660 h 3689476"/>
                <a:gd name="connsiteX168" fmla="*/ 1039020 w 4401576"/>
                <a:gd name="connsiteY168" fmla="*/ 3017660 h 3689476"/>
                <a:gd name="connsiteX169" fmla="*/ 1039020 w 4401576"/>
                <a:gd name="connsiteY169" fmla="*/ 2912537 h 3689476"/>
                <a:gd name="connsiteX170" fmla="*/ 925873 w 4401576"/>
                <a:gd name="connsiteY170" fmla="*/ 2799390 h 3689476"/>
                <a:gd name="connsiteX171" fmla="*/ 192746 w 4401576"/>
                <a:gd name="connsiteY171" fmla="*/ 2799390 h 3689476"/>
                <a:gd name="connsiteX172" fmla="*/ 192746 w 4401576"/>
                <a:gd name="connsiteY172" fmla="*/ 2666966 h 3689476"/>
                <a:gd name="connsiteX173" fmla="*/ 3610087 w 4401576"/>
                <a:gd name="connsiteY173" fmla="*/ 2666966 h 3689476"/>
                <a:gd name="connsiteX174" fmla="*/ 3695477 w 4401576"/>
                <a:gd name="connsiteY174" fmla="*/ 2854705 h 3689476"/>
                <a:gd name="connsiteX175" fmla="*/ 3697742 w 4401576"/>
                <a:gd name="connsiteY175" fmla="*/ 2858619 h 3689476"/>
                <a:gd name="connsiteX176" fmla="*/ 3527019 w 4401576"/>
                <a:gd name="connsiteY176" fmla="*/ 2858619 h 3689476"/>
                <a:gd name="connsiteX177" fmla="*/ 3420538 w 4401576"/>
                <a:gd name="connsiteY177" fmla="*/ 2965133 h 3689476"/>
                <a:gd name="connsiteX178" fmla="*/ 4355503 w 4401576"/>
                <a:gd name="connsiteY178" fmla="*/ 2965129 h 3689476"/>
                <a:gd name="connsiteX179" fmla="*/ 4355503 w 4401576"/>
                <a:gd name="connsiteY179" fmla="*/ 3583040 h 3689476"/>
                <a:gd name="connsiteX180" fmla="*/ 4283371 w 4401576"/>
                <a:gd name="connsiteY180" fmla="*/ 3655204 h 3689476"/>
                <a:gd name="connsiteX181" fmla="*/ 3526984 w 4401576"/>
                <a:gd name="connsiteY181" fmla="*/ 3655204 h 3689476"/>
                <a:gd name="connsiteX182" fmla="*/ 3454852 w 4401576"/>
                <a:gd name="connsiteY182" fmla="*/ 3583040 h 3689476"/>
                <a:gd name="connsiteX183" fmla="*/ 3454852 w 4401576"/>
                <a:gd name="connsiteY183" fmla="*/ 2965129 h 3689476"/>
                <a:gd name="connsiteX184" fmla="*/ 3526984 w 4401576"/>
                <a:gd name="connsiteY184" fmla="*/ 2892965 h 3689476"/>
                <a:gd name="connsiteX185" fmla="*/ 3718374 w 4401576"/>
                <a:gd name="connsiteY185" fmla="*/ 2892965 h 3689476"/>
                <a:gd name="connsiteX186" fmla="*/ 3963108 w 4401576"/>
                <a:gd name="connsiteY186" fmla="*/ 2955328 h 3689476"/>
                <a:gd name="connsiteX187" fmla="*/ 4040740 w 4401576"/>
                <a:gd name="connsiteY187" fmla="*/ 2892965 h 3689476"/>
                <a:gd name="connsiteX188" fmla="*/ 4283595 w 4401576"/>
                <a:gd name="connsiteY188" fmla="*/ 2892965 h 3689476"/>
                <a:gd name="connsiteX189" fmla="*/ 4355500 w 4401576"/>
                <a:gd name="connsiteY189" fmla="*/ 2965129 h 368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4401576" h="3689476">
                  <a:moveTo>
                    <a:pt x="4303409" y="204400"/>
                  </a:moveTo>
                  <a:cubicBezTo>
                    <a:pt x="4303409" y="91708"/>
                    <a:pt x="4211867" y="0"/>
                    <a:pt x="4099366" y="0"/>
                  </a:cubicBezTo>
                  <a:lnTo>
                    <a:pt x="362475" y="0"/>
                  </a:lnTo>
                  <a:cubicBezTo>
                    <a:pt x="249974" y="0"/>
                    <a:pt x="158464" y="91667"/>
                    <a:pt x="158464" y="204400"/>
                  </a:cubicBezTo>
                  <a:lnTo>
                    <a:pt x="158464" y="2799307"/>
                  </a:lnTo>
                  <a:lnTo>
                    <a:pt x="113147" y="2799307"/>
                  </a:lnTo>
                  <a:cubicBezTo>
                    <a:pt x="53759" y="2799307"/>
                    <a:pt x="0" y="2847405"/>
                    <a:pt x="0" y="2912453"/>
                  </a:cubicBezTo>
                  <a:lnTo>
                    <a:pt x="0" y="3576329"/>
                  </a:lnTo>
                  <a:cubicBezTo>
                    <a:pt x="0" y="3606993"/>
                    <a:pt x="12356" y="3634715"/>
                    <a:pt x="32217" y="3655125"/>
                  </a:cubicBezTo>
                  <a:lnTo>
                    <a:pt x="4884" y="3655125"/>
                  </a:lnTo>
                  <a:lnTo>
                    <a:pt x="4884" y="3689476"/>
                  </a:lnTo>
                  <a:lnTo>
                    <a:pt x="4401577" y="3689476"/>
                  </a:lnTo>
                  <a:lnTo>
                    <a:pt x="4401577" y="3655125"/>
                  </a:lnTo>
                  <a:lnTo>
                    <a:pt x="4361274" y="3655125"/>
                  </a:lnTo>
                  <a:cubicBezTo>
                    <a:pt x="4378902" y="3636105"/>
                    <a:pt x="4389932" y="3610875"/>
                    <a:pt x="4389932" y="3582961"/>
                  </a:cubicBezTo>
                  <a:lnTo>
                    <a:pt x="4389932" y="2965050"/>
                  </a:lnTo>
                  <a:cubicBezTo>
                    <a:pt x="4389932" y="2913005"/>
                    <a:pt x="4352023" y="2869632"/>
                    <a:pt x="4302274" y="2860540"/>
                  </a:cubicBezTo>
                  <a:cubicBezTo>
                    <a:pt x="4302565" y="2856303"/>
                    <a:pt x="4303373" y="2852389"/>
                    <a:pt x="4303373" y="2847925"/>
                  </a:cubicBezTo>
                  <a:close/>
                  <a:moveTo>
                    <a:pt x="192812" y="204400"/>
                  </a:moveTo>
                  <a:cubicBezTo>
                    <a:pt x="192812" y="110629"/>
                    <a:pt x="268923" y="34356"/>
                    <a:pt x="362466" y="34356"/>
                  </a:cubicBezTo>
                  <a:lnTo>
                    <a:pt x="4099358" y="34356"/>
                  </a:lnTo>
                  <a:cubicBezTo>
                    <a:pt x="4192937" y="34356"/>
                    <a:pt x="4269045" y="110629"/>
                    <a:pt x="4269045" y="204400"/>
                  </a:cubicBezTo>
                  <a:lnTo>
                    <a:pt x="4269045" y="2632534"/>
                  </a:lnTo>
                  <a:lnTo>
                    <a:pt x="4038934" y="2632534"/>
                  </a:lnTo>
                  <a:lnTo>
                    <a:pt x="3968095" y="2476593"/>
                  </a:lnTo>
                  <a:lnTo>
                    <a:pt x="4116501" y="2476593"/>
                  </a:lnTo>
                  <a:lnTo>
                    <a:pt x="4116566" y="187242"/>
                  </a:lnTo>
                  <a:lnTo>
                    <a:pt x="345310" y="187242"/>
                  </a:lnTo>
                  <a:lnTo>
                    <a:pt x="345310" y="2476593"/>
                  </a:lnTo>
                  <a:lnTo>
                    <a:pt x="3523837" y="2476593"/>
                  </a:lnTo>
                  <a:lnTo>
                    <a:pt x="3594675" y="2632534"/>
                  </a:lnTo>
                  <a:lnTo>
                    <a:pt x="192819" y="2632534"/>
                  </a:lnTo>
                  <a:close/>
                  <a:moveTo>
                    <a:pt x="4063767" y="2687269"/>
                  </a:moveTo>
                  <a:lnTo>
                    <a:pt x="4054516" y="2666924"/>
                  </a:lnTo>
                  <a:lnTo>
                    <a:pt x="4269002" y="2666924"/>
                  </a:lnTo>
                  <a:lnTo>
                    <a:pt x="4269002" y="2847964"/>
                  </a:lnTo>
                  <a:cubicBezTo>
                    <a:pt x="4269002" y="2851781"/>
                    <a:pt x="4268355" y="2855047"/>
                    <a:pt x="4268096" y="2858606"/>
                  </a:cubicBezTo>
                  <a:lnTo>
                    <a:pt x="4061792" y="2858606"/>
                  </a:lnTo>
                  <a:cubicBezTo>
                    <a:pt x="4086472" y="2807466"/>
                    <a:pt x="4088704" y="2742031"/>
                    <a:pt x="4063765" y="2687271"/>
                  </a:cubicBezTo>
                  <a:close/>
                  <a:moveTo>
                    <a:pt x="3949039" y="2923657"/>
                  </a:moveTo>
                  <a:cubicBezTo>
                    <a:pt x="3945610" y="2923625"/>
                    <a:pt x="3792709" y="2987606"/>
                    <a:pt x="3726853" y="2840494"/>
                  </a:cubicBezTo>
                  <a:cubicBezTo>
                    <a:pt x="3717343" y="2819567"/>
                    <a:pt x="3476040" y="2288250"/>
                    <a:pt x="3466559" y="2267316"/>
                  </a:cubicBezTo>
                  <a:cubicBezTo>
                    <a:pt x="3429457" y="2183607"/>
                    <a:pt x="3465524" y="2084463"/>
                    <a:pt x="3546325" y="2046231"/>
                  </a:cubicBezTo>
                  <a:lnTo>
                    <a:pt x="3550109" y="2044646"/>
                  </a:lnTo>
                  <a:cubicBezTo>
                    <a:pt x="3629486" y="2007901"/>
                    <a:pt x="3732027" y="2040441"/>
                    <a:pt x="3772163" y="2128198"/>
                  </a:cubicBezTo>
                  <a:cubicBezTo>
                    <a:pt x="4052571" y="2745595"/>
                    <a:pt x="3998299" y="2626105"/>
                    <a:pt x="4032515" y="2701467"/>
                  </a:cubicBezTo>
                  <a:cubicBezTo>
                    <a:pt x="4070295" y="2784406"/>
                    <a:pt x="4034197" y="2885198"/>
                    <a:pt x="3949029" y="2923654"/>
                  </a:cubicBezTo>
                  <a:close/>
                  <a:moveTo>
                    <a:pt x="3766964" y="2059985"/>
                  </a:moveTo>
                  <a:cubicBezTo>
                    <a:pt x="3729766" y="2019843"/>
                    <a:pt x="3677169" y="1996942"/>
                    <a:pt x="3622732" y="1995939"/>
                  </a:cubicBezTo>
                  <a:lnTo>
                    <a:pt x="3586504" y="1916400"/>
                  </a:lnTo>
                  <a:lnTo>
                    <a:pt x="3935161" y="1916400"/>
                  </a:lnTo>
                  <a:lnTo>
                    <a:pt x="3935161" y="1882048"/>
                  </a:lnTo>
                  <a:lnTo>
                    <a:pt x="3575731" y="1882048"/>
                  </a:lnTo>
                  <a:cubicBezTo>
                    <a:pt x="3914169" y="1678816"/>
                    <a:pt x="4051288" y="1244538"/>
                    <a:pt x="3886934" y="882905"/>
                  </a:cubicBezTo>
                  <a:cubicBezTo>
                    <a:pt x="3707054" y="486660"/>
                    <a:pt x="3241010" y="311731"/>
                    <a:pt x="2844649" y="491711"/>
                  </a:cubicBezTo>
                  <a:cubicBezTo>
                    <a:pt x="2732827" y="542494"/>
                    <a:pt x="2637633" y="616020"/>
                    <a:pt x="2561037" y="709823"/>
                  </a:cubicBezTo>
                  <a:lnTo>
                    <a:pt x="2105311" y="423851"/>
                  </a:lnTo>
                  <a:lnTo>
                    <a:pt x="1543809" y="779339"/>
                  </a:lnTo>
                  <a:lnTo>
                    <a:pt x="1562182" y="808386"/>
                  </a:lnTo>
                  <a:lnTo>
                    <a:pt x="2105376" y="464449"/>
                  </a:lnTo>
                  <a:lnTo>
                    <a:pt x="2539853" y="737131"/>
                  </a:lnTo>
                  <a:cubicBezTo>
                    <a:pt x="2367483" y="967432"/>
                    <a:pt x="2333706" y="1270777"/>
                    <a:pt x="2453097" y="1533953"/>
                  </a:cubicBezTo>
                  <a:cubicBezTo>
                    <a:pt x="2471017" y="1573642"/>
                    <a:pt x="2493109" y="1611163"/>
                    <a:pt x="2517272" y="1647100"/>
                  </a:cubicBezTo>
                  <a:lnTo>
                    <a:pt x="2245534" y="1647100"/>
                  </a:lnTo>
                  <a:cubicBezTo>
                    <a:pt x="2246569" y="1643283"/>
                    <a:pt x="2247895" y="1639595"/>
                    <a:pt x="2247895" y="1635455"/>
                  </a:cubicBezTo>
                  <a:lnTo>
                    <a:pt x="2247928" y="762261"/>
                  </a:lnTo>
                  <a:cubicBezTo>
                    <a:pt x="2247928" y="736934"/>
                    <a:pt x="2227323" y="716329"/>
                    <a:pt x="2201996" y="716329"/>
                  </a:cubicBezTo>
                  <a:lnTo>
                    <a:pt x="2017586" y="716329"/>
                  </a:lnTo>
                  <a:cubicBezTo>
                    <a:pt x="1992258" y="716329"/>
                    <a:pt x="1971654" y="736934"/>
                    <a:pt x="1971654" y="762261"/>
                  </a:cubicBezTo>
                  <a:lnTo>
                    <a:pt x="1971686" y="1635455"/>
                  </a:lnTo>
                  <a:cubicBezTo>
                    <a:pt x="1971686" y="1639596"/>
                    <a:pt x="1973012" y="1643283"/>
                    <a:pt x="1974047" y="1647100"/>
                  </a:cubicBezTo>
                  <a:lnTo>
                    <a:pt x="1692894" y="1647100"/>
                  </a:lnTo>
                  <a:cubicBezTo>
                    <a:pt x="1693929" y="1643283"/>
                    <a:pt x="1695256" y="1639595"/>
                    <a:pt x="1695256" y="1635455"/>
                  </a:cubicBezTo>
                  <a:lnTo>
                    <a:pt x="1695223" y="1049889"/>
                  </a:lnTo>
                  <a:cubicBezTo>
                    <a:pt x="1695223" y="1024562"/>
                    <a:pt x="1674619" y="1003925"/>
                    <a:pt x="1649292" y="1003925"/>
                  </a:cubicBezTo>
                  <a:lnTo>
                    <a:pt x="1464881" y="1003925"/>
                  </a:lnTo>
                  <a:cubicBezTo>
                    <a:pt x="1439554" y="1003925"/>
                    <a:pt x="1418917" y="1024562"/>
                    <a:pt x="1418917" y="1049889"/>
                  </a:cubicBezTo>
                  <a:lnTo>
                    <a:pt x="1418950" y="1635455"/>
                  </a:lnTo>
                  <a:cubicBezTo>
                    <a:pt x="1418950" y="1639596"/>
                    <a:pt x="1420276" y="1643283"/>
                    <a:pt x="1421311" y="1647100"/>
                  </a:cubicBezTo>
                  <a:lnTo>
                    <a:pt x="1322523" y="1647100"/>
                  </a:lnTo>
                  <a:lnTo>
                    <a:pt x="1322523" y="1681451"/>
                  </a:lnTo>
                  <a:lnTo>
                    <a:pt x="2540772" y="1681451"/>
                  </a:lnTo>
                  <a:cubicBezTo>
                    <a:pt x="2601130" y="1761831"/>
                    <a:pt x="2677080" y="1830081"/>
                    <a:pt x="2763182" y="1882033"/>
                  </a:cubicBezTo>
                  <a:lnTo>
                    <a:pt x="1198553" y="1882033"/>
                  </a:lnTo>
                  <a:lnTo>
                    <a:pt x="1198553" y="1916385"/>
                  </a:lnTo>
                  <a:lnTo>
                    <a:pt x="2826032" y="1916385"/>
                  </a:lnTo>
                  <a:cubicBezTo>
                    <a:pt x="3004877" y="2003141"/>
                    <a:pt x="3210536" y="2023288"/>
                    <a:pt x="3414314" y="1956074"/>
                  </a:cubicBezTo>
                  <a:lnTo>
                    <a:pt x="3461766" y="2059971"/>
                  </a:lnTo>
                  <a:lnTo>
                    <a:pt x="1198499" y="2059971"/>
                  </a:lnTo>
                  <a:lnTo>
                    <a:pt x="1198499" y="2094323"/>
                  </a:lnTo>
                  <a:lnTo>
                    <a:pt x="3445619" y="2094323"/>
                  </a:lnTo>
                  <a:cubicBezTo>
                    <a:pt x="3421133" y="2135984"/>
                    <a:pt x="3411332" y="2188383"/>
                    <a:pt x="3421488" y="2238265"/>
                  </a:cubicBezTo>
                  <a:lnTo>
                    <a:pt x="1198548" y="2238233"/>
                  </a:lnTo>
                  <a:lnTo>
                    <a:pt x="1198548" y="2272584"/>
                  </a:lnTo>
                  <a:lnTo>
                    <a:pt x="3431839" y="2272584"/>
                  </a:lnTo>
                  <a:cubicBezTo>
                    <a:pt x="3432971" y="2275496"/>
                    <a:pt x="3433909" y="2278504"/>
                    <a:pt x="3435203" y="2281415"/>
                  </a:cubicBezTo>
                  <a:lnTo>
                    <a:pt x="3508241" y="2442275"/>
                  </a:lnTo>
                  <a:lnTo>
                    <a:pt x="379646" y="2442275"/>
                  </a:lnTo>
                  <a:lnTo>
                    <a:pt x="379646" y="221570"/>
                  </a:lnTo>
                  <a:lnTo>
                    <a:pt x="4082173" y="221570"/>
                  </a:lnTo>
                  <a:lnTo>
                    <a:pt x="4082173" y="2442275"/>
                  </a:lnTo>
                  <a:lnTo>
                    <a:pt x="3952531" y="2442275"/>
                  </a:lnTo>
                  <a:lnTo>
                    <a:pt x="3803446" y="2113988"/>
                  </a:lnTo>
                  <a:cubicBezTo>
                    <a:pt x="3800244" y="2107002"/>
                    <a:pt x="3796524" y="2100661"/>
                    <a:pt x="3792771" y="2094322"/>
                  </a:cubicBezTo>
                  <a:lnTo>
                    <a:pt x="3935157" y="2094322"/>
                  </a:lnTo>
                  <a:lnTo>
                    <a:pt x="3935157" y="2059970"/>
                  </a:lnTo>
                  <a:close/>
                  <a:moveTo>
                    <a:pt x="3495350" y="1925201"/>
                  </a:moveTo>
                  <a:cubicBezTo>
                    <a:pt x="3510715" y="1918247"/>
                    <a:pt x="3526403" y="1910257"/>
                    <a:pt x="3542091" y="1901783"/>
                  </a:cubicBezTo>
                  <a:lnTo>
                    <a:pt x="3586340" y="1998857"/>
                  </a:lnTo>
                  <a:cubicBezTo>
                    <a:pt x="3554156" y="2004000"/>
                    <a:pt x="3540636" y="2011634"/>
                    <a:pt x="3535557" y="2013380"/>
                  </a:cubicBezTo>
                  <a:cubicBezTo>
                    <a:pt x="3535137" y="2013574"/>
                    <a:pt x="3534684" y="2013768"/>
                    <a:pt x="3534231" y="2013995"/>
                  </a:cubicBezTo>
                  <a:cubicBezTo>
                    <a:pt x="3513950" y="2023246"/>
                    <a:pt x="3505313" y="2030200"/>
                    <a:pt x="3491275" y="2041813"/>
                  </a:cubicBezTo>
                  <a:lnTo>
                    <a:pt x="3446864" y="1944548"/>
                  </a:lnTo>
                  <a:cubicBezTo>
                    <a:pt x="3463199" y="1938403"/>
                    <a:pt x="3479662" y="1932256"/>
                    <a:pt x="3495351" y="1925205"/>
                  </a:cubicBezTo>
                  <a:close/>
                  <a:moveTo>
                    <a:pt x="3417978" y="1919088"/>
                  </a:moveTo>
                  <a:cubicBezTo>
                    <a:pt x="3041954" y="2051288"/>
                    <a:pt x="2639953" y="1864746"/>
                    <a:pt x="2484417" y="1519770"/>
                  </a:cubicBezTo>
                  <a:cubicBezTo>
                    <a:pt x="2312693" y="1141187"/>
                    <a:pt x="2478627" y="695812"/>
                    <a:pt x="2858860" y="522945"/>
                  </a:cubicBezTo>
                  <a:cubicBezTo>
                    <a:pt x="3237667" y="350865"/>
                    <a:pt x="3683563" y="518029"/>
                    <a:pt x="3855684" y="897098"/>
                  </a:cubicBezTo>
                  <a:cubicBezTo>
                    <a:pt x="4015576" y="1248835"/>
                    <a:pt x="3877615" y="1673086"/>
                    <a:pt x="3541666" y="1862870"/>
                  </a:cubicBezTo>
                  <a:lnTo>
                    <a:pt x="3541633" y="1862903"/>
                  </a:lnTo>
                  <a:cubicBezTo>
                    <a:pt x="3521353" y="1874450"/>
                    <a:pt x="3501039" y="1884833"/>
                    <a:pt x="3481211" y="1893761"/>
                  </a:cubicBezTo>
                  <a:cubicBezTo>
                    <a:pt x="3460897" y="1903013"/>
                    <a:pt x="3439646" y="1911519"/>
                    <a:pt x="3418038" y="1919024"/>
                  </a:cubicBezTo>
                  <a:close/>
                  <a:moveTo>
                    <a:pt x="2213557" y="762281"/>
                  </a:moveTo>
                  <a:lnTo>
                    <a:pt x="2213557" y="1635476"/>
                  </a:lnTo>
                  <a:cubicBezTo>
                    <a:pt x="2213557" y="1641880"/>
                    <a:pt x="2208350" y="1647087"/>
                    <a:pt x="2201978" y="1647087"/>
                  </a:cubicBezTo>
                  <a:lnTo>
                    <a:pt x="2017568" y="1647087"/>
                  </a:lnTo>
                  <a:cubicBezTo>
                    <a:pt x="2011195" y="1647087"/>
                    <a:pt x="2005988" y="1641880"/>
                    <a:pt x="2005988" y="1635476"/>
                  </a:cubicBezTo>
                  <a:lnTo>
                    <a:pt x="2005988" y="762281"/>
                  </a:lnTo>
                  <a:cubicBezTo>
                    <a:pt x="2005988" y="755909"/>
                    <a:pt x="2011196" y="750701"/>
                    <a:pt x="2017568" y="750701"/>
                  </a:cubicBezTo>
                  <a:lnTo>
                    <a:pt x="2201978" y="750701"/>
                  </a:lnTo>
                  <a:cubicBezTo>
                    <a:pt x="2208350" y="750701"/>
                    <a:pt x="2213557" y="755909"/>
                    <a:pt x="2213557" y="762281"/>
                  </a:cubicBezTo>
                  <a:close/>
                  <a:moveTo>
                    <a:pt x="1660857" y="1049901"/>
                  </a:moveTo>
                  <a:lnTo>
                    <a:pt x="1660857" y="1635467"/>
                  </a:lnTo>
                  <a:cubicBezTo>
                    <a:pt x="1660857" y="1641872"/>
                    <a:pt x="1655649" y="1647079"/>
                    <a:pt x="1649277" y="1647079"/>
                  </a:cubicBezTo>
                  <a:lnTo>
                    <a:pt x="1464867" y="1647079"/>
                  </a:lnTo>
                  <a:cubicBezTo>
                    <a:pt x="1458463" y="1647079"/>
                    <a:pt x="1453256" y="1641871"/>
                    <a:pt x="1453256" y="1635467"/>
                  </a:cubicBezTo>
                  <a:lnTo>
                    <a:pt x="1453288" y="1049901"/>
                  </a:lnTo>
                  <a:cubicBezTo>
                    <a:pt x="1453288" y="1043497"/>
                    <a:pt x="1458496" y="1038289"/>
                    <a:pt x="1464900" y="1038289"/>
                  </a:cubicBezTo>
                  <a:lnTo>
                    <a:pt x="1649310" y="1038289"/>
                  </a:lnTo>
                  <a:cubicBezTo>
                    <a:pt x="1655682" y="1038322"/>
                    <a:pt x="1660857" y="1043497"/>
                    <a:pt x="1660857" y="1049901"/>
                  </a:cubicBezTo>
                  <a:close/>
                  <a:moveTo>
                    <a:pt x="1004682" y="3576410"/>
                  </a:moveTo>
                  <a:cubicBezTo>
                    <a:pt x="1004682" y="3619851"/>
                    <a:pt x="969328" y="3655205"/>
                    <a:pt x="925887" y="3655205"/>
                  </a:cubicBezTo>
                  <a:lnTo>
                    <a:pt x="113124" y="3655205"/>
                  </a:lnTo>
                  <a:cubicBezTo>
                    <a:pt x="69683" y="3655205"/>
                    <a:pt x="34329" y="3619851"/>
                    <a:pt x="34329" y="3576410"/>
                  </a:cubicBezTo>
                  <a:lnTo>
                    <a:pt x="34329" y="2912534"/>
                  </a:lnTo>
                  <a:cubicBezTo>
                    <a:pt x="34329" y="2867055"/>
                    <a:pt x="72110" y="2833738"/>
                    <a:pt x="113124" y="2833738"/>
                  </a:cubicBezTo>
                  <a:lnTo>
                    <a:pt x="925854" y="2833738"/>
                  </a:lnTo>
                  <a:cubicBezTo>
                    <a:pt x="969295" y="2833738"/>
                    <a:pt x="1004649" y="2869093"/>
                    <a:pt x="1004649" y="2912534"/>
                  </a:cubicBezTo>
                  <a:close/>
                  <a:moveTo>
                    <a:pt x="1006817" y="3655205"/>
                  </a:moveTo>
                  <a:cubicBezTo>
                    <a:pt x="1026677" y="3634795"/>
                    <a:pt x="1039034" y="3607074"/>
                    <a:pt x="1039034" y="3576410"/>
                  </a:cubicBezTo>
                  <a:lnTo>
                    <a:pt x="1039034" y="3052013"/>
                  </a:lnTo>
                  <a:lnTo>
                    <a:pt x="1816702" y="3052013"/>
                  </a:lnTo>
                  <a:cubicBezTo>
                    <a:pt x="1812368" y="3244472"/>
                    <a:pt x="1736063" y="3424833"/>
                    <a:pt x="1599501" y="3561372"/>
                  </a:cubicBezTo>
                  <a:lnTo>
                    <a:pt x="1505665" y="3655209"/>
                  </a:lnTo>
                  <a:close/>
                  <a:moveTo>
                    <a:pt x="1558581" y="3650839"/>
                  </a:moveTo>
                  <a:lnTo>
                    <a:pt x="1623759" y="3585661"/>
                  </a:lnTo>
                  <a:cubicBezTo>
                    <a:pt x="1766791" y="3442629"/>
                    <a:pt x="1847337" y="3253689"/>
                    <a:pt x="1851700" y="3052105"/>
                  </a:cubicBezTo>
                  <a:lnTo>
                    <a:pt x="2610059" y="3052105"/>
                  </a:lnTo>
                  <a:cubicBezTo>
                    <a:pt x="2614426" y="3253756"/>
                    <a:pt x="2694969" y="3442621"/>
                    <a:pt x="2838033" y="3585661"/>
                  </a:cubicBezTo>
                  <a:lnTo>
                    <a:pt x="2903179" y="3650839"/>
                  </a:lnTo>
                  <a:close/>
                  <a:moveTo>
                    <a:pt x="2956107" y="3655205"/>
                  </a:moveTo>
                  <a:lnTo>
                    <a:pt x="2862303" y="3561369"/>
                  </a:lnTo>
                  <a:cubicBezTo>
                    <a:pt x="2725739" y="3424838"/>
                    <a:pt x="2649400" y="3244444"/>
                    <a:pt x="2645069" y="3052010"/>
                  </a:cubicBezTo>
                  <a:lnTo>
                    <a:pt x="3420535" y="3052010"/>
                  </a:lnTo>
                  <a:lnTo>
                    <a:pt x="3420535" y="3583040"/>
                  </a:lnTo>
                  <a:cubicBezTo>
                    <a:pt x="3420535" y="3610954"/>
                    <a:pt x="3431565" y="3636185"/>
                    <a:pt x="3449194" y="3655204"/>
                  </a:cubicBezTo>
                  <a:close/>
                  <a:moveTo>
                    <a:pt x="3420535" y="2965129"/>
                  </a:moveTo>
                  <a:lnTo>
                    <a:pt x="3420535" y="3017660"/>
                  </a:lnTo>
                  <a:lnTo>
                    <a:pt x="1039020" y="3017660"/>
                  </a:lnTo>
                  <a:lnTo>
                    <a:pt x="1039020" y="2912537"/>
                  </a:lnTo>
                  <a:cubicBezTo>
                    <a:pt x="1039020" y="2850141"/>
                    <a:pt x="988269" y="2799390"/>
                    <a:pt x="925873" y="2799390"/>
                  </a:cubicBezTo>
                  <a:lnTo>
                    <a:pt x="192746" y="2799390"/>
                  </a:lnTo>
                  <a:lnTo>
                    <a:pt x="192746" y="2666966"/>
                  </a:lnTo>
                  <a:lnTo>
                    <a:pt x="3610087" y="2666966"/>
                  </a:lnTo>
                  <a:lnTo>
                    <a:pt x="3695477" y="2854705"/>
                  </a:lnTo>
                  <a:cubicBezTo>
                    <a:pt x="3696124" y="2856096"/>
                    <a:pt x="3697062" y="2857260"/>
                    <a:pt x="3697742" y="2858619"/>
                  </a:cubicBezTo>
                  <a:lnTo>
                    <a:pt x="3527019" y="2858619"/>
                  </a:lnTo>
                  <a:cubicBezTo>
                    <a:pt x="3470414" y="2858619"/>
                    <a:pt x="3420538" y="2905101"/>
                    <a:pt x="3420538" y="2965133"/>
                  </a:cubicBezTo>
                  <a:close/>
                  <a:moveTo>
                    <a:pt x="4355503" y="2965129"/>
                  </a:moveTo>
                  <a:lnTo>
                    <a:pt x="4355503" y="3583040"/>
                  </a:lnTo>
                  <a:cubicBezTo>
                    <a:pt x="4355503" y="3622825"/>
                    <a:pt x="4323157" y="3655204"/>
                    <a:pt x="4283371" y="3655204"/>
                  </a:cubicBezTo>
                  <a:lnTo>
                    <a:pt x="3526984" y="3655204"/>
                  </a:lnTo>
                  <a:cubicBezTo>
                    <a:pt x="3487197" y="3655204"/>
                    <a:pt x="3454852" y="3622825"/>
                    <a:pt x="3454852" y="3583040"/>
                  </a:cubicBezTo>
                  <a:lnTo>
                    <a:pt x="3454852" y="2965129"/>
                  </a:lnTo>
                  <a:cubicBezTo>
                    <a:pt x="3454852" y="2924664"/>
                    <a:pt x="3488751" y="2892965"/>
                    <a:pt x="3526984" y="2892965"/>
                  </a:cubicBezTo>
                  <a:lnTo>
                    <a:pt x="3718374" y="2892965"/>
                  </a:lnTo>
                  <a:cubicBezTo>
                    <a:pt x="3774818" y="2968429"/>
                    <a:pt x="3876195" y="2994825"/>
                    <a:pt x="3963108" y="2955328"/>
                  </a:cubicBezTo>
                  <a:cubicBezTo>
                    <a:pt x="3966537" y="2953096"/>
                    <a:pt x="4007811" y="2936858"/>
                    <a:pt x="4040740" y="2892965"/>
                  </a:cubicBezTo>
                  <a:lnTo>
                    <a:pt x="4283595" y="2892965"/>
                  </a:lnTo>
                  <a:cubicBezTo>
                    <a:pt x="4323219" y="2893256"/>
                    <a:pt x="4355500" y="2925602"/>
                    <a:pt x="4355500" y="29651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11" name="Freeform: Shape 10">
              <a:extLst>
                <a:ext uri="{FF2B5EF4-FFF2-40B4-BE49-F238E27FC236}">
                  <a16:creationId xmlns:a16="http://schemas.microsoft.com/office/drawing/2014/main" id="{6EEBEE31-006F-5E5F-6C9C-DED0DE7B4024}"/>
                </a:ext>
              </a:extLst>
            </p:cNvPr>
            <p:cNvSpPr/>
            <p:nvPr/>
          </p:nvSpPr>
          <p:spPr>
            <a:xfrm>
              <a:off x="12329462" y="4888424"/>
              <a:ext cx="183979" cy="183979"/>
            </a:xfrm>
            <a:custGeom>
              <a:avLst/>
              <a:gdLst>
                <a:gd name="connsiteX0" fmla="*/ 91990 w 183979"/>
                <a:gd name="connsiteY0" fmla="*/ 0 h 183979"/>
                <a:gd name="connsiteX1" fmla="*/ 0 w 183979"/>
                <a:gd name="connsiteY1" fmla="*/ 91990 h 183979"/>
                <a:gd name="connsiteX2" fmla="*/ 91990 w 183979"/>
                <a:gd name="connsiteY2" fmla="*/ 183980 h 183979"/>
                <a:gd name="connsiteX3" fmla="*/ 183979 w 183979"/>
                <a:gd name="connsiteY3" fmla="*/ 91990 h 183979"/>
                <a:gd name="connsiteX4" fmla="*/ 91990 w 183979"/>
                <a:gd name="connsiteY4" fmla="*/ 0 h 183979"/>
                <a:gd name="connsiteX5" fmla="*/ 91990 w 183979"/>
                <a:gd name="connsiteY5" fmla="*/ 149598 h 183979"/>
                <a:gd name="connsiteX6" fmla="*/ 34349 w 183979"/>
                <a:gd name="connsiteY6" fmla="*/ 91957 h 183979"/>
                <a:gd name="connsiteX7" fmla="*/ 91990 w 183979"/>
                <a:gd name="connsiteY7" fmla="*/ 34317 h 183979"/>
                <a:gd name="connsiteX8" fmla="*/ 149630 w 183979"/>
                <a:gd name="connsiteY8" fmla="*/ 91957 h 183979"/>
                <a:gd name="connsiteX9" fmla="*/ 91990 w 183979"/>
                <a:gd name="connsiteY9" fmla="*/ 149598 h 18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979" h="183979">
                  <a:moveTo>
                    <a:pt x="91990" y="0"/>
                  </a:moveTo>
                  <a:cubicBezTo>
                    <a:pt x="41271" y="0"/>
                    <a:pt x="0" y="41274"/>
                    <a:pt x="0" y="91990"/>
                  </a:cubicBezTo>
                  <a:cubicBezTo>
                    <a:pt x="0" y="142705"/>
                    <a:pt x="41274" y="183980"/>
                    <a:pt x="91990" y="183980"/>
                  </a:cubicBezTo>
                  <a:cubicBezTo>
                    <a:pt x="142705" y="183980"/>
                    <a:pt x="183979" y="142705"/>
                    <a:pt x="183979" y="91990"/>
                  </a:cubicBezTo>
                  <a:cubicBezTo>
                    <a:pt x="183979" y="41238"/>
                    <a:pt x="142705" y="0"/>
                    <a:pt x="91990" y="0"/>
                  </a:cubicBezTo>
                  <a:close/>
                  <a:moveTo>
                    <a:pt x="91990" y="149598"/>
                  </a:moveTo>
                  <a:cubicBezTo>
                    <a:pt x="60226" y="149598"/>
                    <a:pt x="34349" y="123721"/>
                    <a:pt x="34349" y="91957"/>
                  </a:cubicBezTo>
                  <a:cubicBezTo>
                    <a:pt x="34349" y="60194"/>
                    <a:pt x="60226" y="34317"/>
                    <a:pt x="91990" y="34317"/>
                  </a:cubicBezTo>
                  <a:cubicBezTo>
                    <a:pt x="123753" y="34317"/>
                    <a:pt x="149630" y="60194"/>
                    <a:pt x="149630" y="91957"/>
                  </a:cubicBezTo>
                  <a:cubicBezTo>
                    <a:pt x="149630" y="123754"/>
                    <a:pt x="123753" y="149598"/>
                    <a:pt x="91990" y="14959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12" name="Freeform: Shape 11">
              <a:extLst>
                <a:ext uri="{FF2B5EF4-FFF2-40B4-BE49-F238E27FC236}">
                  <a16:creationId xmlns:a16="http://schemas.microsoft.com/office/drawing/2014/main" id="{76FA59F5-387A-286A-A4AC-BF4E20549234}"/>
                </a:ext>
              </a:extLst>
            </p:cNvPr>
            <p:cNvSpPr/>
            <p:nvPr/>
          </p:nvSpPr>
          <p:spPr>
            <a:xfrm>
              <a:off x="10647845" y="2446529"/>
              <a:ext cx="769896" cy="765709"/>
            </a:xfrm>
            <a:custGeom>
              <a:avLst/>
              <a:gdLst>
                <a:gd name="connsiteX0" fmla="*/ 768999 w 769896"/>
                <a:gd name="connsiteY0" fmla="*/ 357076 h 765709"/>
                <a:gd name="connsiteX1" fmla="*/ 0 w 769896"/>
                <a:gd name="connsiteY1" fmla="*/ 380526 h 765709"/>
                <a:gd name="connsiteX2" fmla="*/ 384760 w 769896"/>
                <a:gd name="connsiteY2" fmla="*/ 765709 h 765709"/>
                <a:gd name="connsiteX3" fmla="*/ 384825 w 769896"/>
                <a:gd name="connsiteY3" fmla="*/ 765709 h 765709"/>
                <a:gd name="connsiteX4" fmla="*/ 384890 w 769896"/>
                <a:gd name="connsiteY4" fmla="*/ 765709 h 765709"/>
                <a:gd name="connsiteX5" fmla="*/ 769650 w 769896"/>
                <a:gd name="connsiteY5" fmla="*/ 391432 h 765709"/>
                <a:gd name="connsiteX6" fmla="*/ 769003 w 769896"/>
                <a:gd name="connsiteY6" fmla="*/ 357081 h 765709"/>
                <a:gd name="connsiteX7" fmla="*/ 402034 w 769896"/>
                <a:gd name="connsiteY7" fmla="*/ 30570 h 765709"/>
                <a:gd name="connsiteX8" fmla="*/ 734618 w 769896"/>
                <a:gd name="connsiteY8" fmla="*/ 357076 h 765709"/>
                <a:gd name="connsiteX9" fmla="*/ 402034 w 769896"/>
                <a:gd name="connsiteY9" fmla="*/ 357076 h 765709"/>
                <a:gd name="connsiteX10" fmla="*/ 34356 w 769896"/>
                <a:gd name="connsiteY10" fmla="*/ 380526 h 765709"/>
                <a:gd name="connsiteX11" fmla="*/ 367686 w 769896"/>
                <a:gd name="connsiteY11" fmla="*/ 30536 h 765709"/>
                <a:gd name="connsiteX12" fmla="*/ 367686 w 769896"/>
                <a:gd name="connsiteY12" fmla="*/ 367128 h 765709"/>
                <a:gd name="connsiteX13" fmla="*/ 122438 w 769896"/>
                <a:gd name="connsiteY13" fmla="*/ 612376 h 765709"/>
                <a:gd name="connsiteX14" fmla="*/ 34356 w 769896"/>
                <a:gd name="connsiteY14" fmla="*/ 380518 h 765709"/>
                <a:gd name="connsiteX15" fmla="*/ 384793 w 769896"/>
                <a:gd name="connsiteY15" fmla="*/ 731353 h 765709"/>
                <a:gd name="connsiteX16" fmla="*/ 383208 w 769896"/>
                <a:gd name="connsiteY16" fmla="*/ 731288 h 765709"/>
                <a:gd name="connsiteX17" fmla="*/ 146432 w 769896"/>
                <a:gd name="connsiteY17" fmla="*/ 636930 h 765709"/>
                <a:gd name="connsiteX18" fmla="*/ 391969 w 769896"/>
                <a:gd name="connsiteY18" fmla="*/ 391425 h 765709"/>
                <a:gd name="connsiteX19" fmla="*/ 735293 w 769896"/>
                <a:gd name="connsiteY19" fmla="*/ 391425 h 765709"/>
                <a:gd name="connsiteX20" fmla="*/ 384790 w 769896"/>
                <a:gd name="connsiteY20" fmla="*/ 731354 h 76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69896" h="765709">
                  <a:moveTo>
                    <a:pt x="768999" y="357076"/>
                  </a:moveTo>
                  <a:cubicBezTo>
                    <a:pt x="738108" y="-134489"/>
                    <a:pt x="0" y="-110814"/>
                    <a:pt x="0" y="380526"/>
                  </a:cubicBezTo>
                  <a:cubicBezTo>
                    <a:pt x="0" y="591650"/>
                    <a:pt x="171277" y="765709"/>
                    <a:pt x="384760" y="765709"/>
                  </a:cubicBezTo>
                  <a:lnTo>
                    <a:pt x="384825" y="765709"/>
                  </a:lnTo>
                  <a:lnTo>
                    <a:pt x="384890" y="765709"/>
                  </a:lnTo>
                  <a:cubicBezTo>
                    <a:pt x="590382" y="765709"/>
                    <a:pt x="763729" y="601520"/>
                    <a:pt x="769650" y="391432"/>
                  </a:cubicBezTo>
                  <a:cubicBezTo>
                    <a:pt x="770491" y="373480"/>
                    <a:pt x="768906" y="355301"/>
                    <a:pt x="769003" y="357081"/>
                  </a:cubicBezTo>
                  <a:close/>
                  <a:moveTo>
                    <a:pt x="402034" y="30570"/>
                  </a:moveTo>
                  <a:cubicBezTo>
                    <a:pt x="581881" y="39562"/>
                    <a:pt x="722520" y="182238"/>
                    <a:pt x="734618" y="357076"/>
                  </a:cubicBezTo>
                  <a:lnTo>
                    <a:pt x="402034" y="357076"/>
                  </a:lnTo>
                  <a:close/>
                  <a:moveTo>
                    <a:pt x="34356" y="380526"/>
                  </a:moveTo>
                  <a:cubicBezTo>
                    <a:pt x="34356" y="194924"/>
                    <a:pt x="182183" y="39695"/>
                    <a:pt x="367686" y="30536"/>
                  </a:cubicBezTo>
                  <a:lnTo>
                    <a:pt x="367686" y="367128"/>
                  </a:lnTo>
                  <a:lnTo>
                    <a:pt x="122438" y="612376"/>
                  </a:lnTo>
                  <a:cubicBezTo>
                    <a:pt x="65702" y="548363"/>
                    <a:pt x="34356" y="466819"/>
                    <a:pt x="34356" y="380518"/>
                  </a:cubicBezTo>
                  <a:close/>
                  <a:moveTo>
                    <a:pt x="384793" y="731353"/>
                  </a:moveTo>
                  <a:cubicBezTo>
                    <a:pt x="384244" y="731353"/>
                    <a:pt x="383726" y="731288"/>
                    <a:pt x="383208" y="731288"/>
                  </a:cubicBezTo>
                  <a:cubicBezTo>
                    <a:pt x="298141" y="730900"/>
                    <a:pt x="213389" y="699297"/>
                    <a:pt x="146432" y="636930"/>
                  </a:cubicBezTo>
                  <a:lnTo>
                    <a:pt x="391969" y="391425"/>
                  </a:lnTo>
                  <a:lnTo>
                    <a:pt x="735293" y="391425"/>
                  </a:lnTo>
                  <a:cubicBezTo>
                    <a:pt x="729374" y="582725"/>
                    <a:pt x="570881" y="731321"/>
                    <a:pt x="384790" y="73135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13" name="Freeform: Shape 12">
              <a:extLst>
                <a:ext uri="{FF2B5EF4-FFF2-40B4-BE49-F238E27FC236}">
                  <a16:creationId xmlns:a16="http://schemas.microsoft.com/office/drawing/2014/main" id="{7454560F-4300-CD83-B61B-C2379C53C79C}"/>
                </a:ext>
              </a:extLst>
            </p:cNvPr>
            <p:cNvSpPr/>
            <p:nvPr/>
          </p:nvSpPr>
          <p:spPr>
            <a:xfrm>
              <a:off x="10699656" y="3963972"/>
              <a:ext cx="502562" cy="502595"/>
            </a:xfrm>
            <a:custGeom>
              <a:avLst/>
              <a:gdLst>
                <a:gd name="connsiteX0" fmla="*/ 424964 w 502562"/>
                <a:gd name="connsiteY0" fmla="*/ 0 h 502595"/>
                <a:gd name="connsiteX1" fmla="*/ 77599 w 502562"/>
                <a:gd name="connsiteY1" fmla="*/ 0 h 502595"/>
                <a:gd name="connsiteX2" fmla="*/ 0 w 502562"/>
                <a:gd name="connsiteY2" fmla="*/ 77599 h 502595"/>
                <a:gd name="connsiteX3" fmla="*/ 0 w 502562"/>
                <a:gd name="connsiteY3" fmla="*/ 424997 h 502595"/>
                <a:gd name="connsiteX4" fmla="*/ 77599 w 502562"/>
                <a:gd name="connsiteY4" fmla="*/ 502596 h 502595"/>
                <a:gd name="connsiteX5" fmla="*/ 424964 w 502562"/>
                <a:gd name="connsiteY5" fmla="*/ 502563 h 502595"/>
                <a:gd name="connsiteX6" fmla="*/ 502563 w 502562"/>
                <a:gd name="connsiteY6" fmla="*/ 424964 h 502595"/>
                <a:gd name="connsiteX7" fmla="*/ 502563 w 502562"/>
                <a:gd name="connsiteY7" fmla="*/ 77599 h 502595"/>
                <a:gd name="connsiteX8" fmla="*/ 424964 w 502562"/>
                <a:gd name="connsiteY8" fmla="*/ 1 h 502595"/>
                <a:gd name="connsiteX9" fmla="*/ 468211 w 502562"/>
                <a:gd name="connsiteY9" fmla="*/ 424996 h 502595"/>
                <a:gd name="connsiteX10" fmla="*/ 424964 w 502562"/>
                <a:gd name="connsiteY10" fmla="*/ 468243 h 502595"/>
                <a:gd name="connsiteX11" fmla="*/ 77599 w 502562"/>
                <a:gd name="connsiteY11" fmla="*/ 468211 h 502595"/>
                <a:gd name="connsiteX12" fmla="*/ 34352 w 502562"/>
                <a:gd name="connsiteY12" fmla="*/ 424963 h 502595"/>
                <a:gd name="connsiteX13" fmla="*/ 34352 w 502562"/>
                <a:gd name="connsiteY13" fmla="*/ 77599 h 502595"/>
                <a:gd name="connsiteX14" fmla="*/ 77599 w 502562"/>
                <a:gd name="connsiteY14" fmla="*/ 34351 h 502595"/>
                <a:gd name="connsiteX15" fmla="*/ 424964 w 502562"/>
                <a:gd name="connsiteY15" fmla="*/ 34351 h 502595"/>
                <a:gd name="connsiteX16" fmla="*/ 468211 w 502562"/>
                <a:gd name="connsiteY16" fmla="*/ 77599 h 50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562" h="502595">
                  <a:moveTo>
                    <a:pt x="424964" y="0"/>
                  </a:moveTo>
                  <a:lnTo>
                    <a:pt x="77599" y="0"/>
                  </a:lnTo>
                  <a:cubicBezTo>
                    <a:pt x="34837" y="0"/>
                    <a:pt x="0" y="34804"/>
                    <a:pt x="0" y="77599"/>
                  </a:cubicBezTo>
                  <a:lnTo>
                    <a:pt x="0" y="424997"/>
                  </a:lnTo>
                  <a:cubicBezTo>
                    <a:pt x="0" y="467759"/>
                    <a:pt x="34804" y="502596"/>
                    <a:pt x="77599" y="502596"/>
                  </a:cubicBezTo>
                  <a:lnTo>
                    <a:pt x="424964" y="502563"/>
                  </a:lnTo>
                  <a:cubicBezTo>
                    <a:pt x="467726" y="502563"/>
                    <a:pt x="502563" y="467759"/>
                    <a:pt x="502563" y="424964"/>
                  </a:cubicBezTo>
                  <a:lnTo>
                    <a:pt x="502563" y="77599"/>
                  </a:lnTo>
                  <a:cubicBezTo>
                    <a:pt x="502563" y="34837"/>
                    <a:pt x="467758" y="1"/>
                    <a:pt x="424964" y="1"/>
                  </a:cubicBezTo>
                  <a:close/>
                  <a:moveTo>
                    <a:pt x="468211" y="424996"/>
                  </a:moveTo>
                  <a:cubicBezTo>
                    <a:pt x="468211" y="448835"/>
                    <a:pt x="448836" y="468243"/>
                    <a:pt x="424964" y="468243"/>
                  </a:cubicBezTo>
                  <a:lnTo>
                    <a:pt x="77599" y="468211"/>
                  </a:lnTo>
                  <a:cubicBezTo>
                    <a:pt x="53760" y="468211"/>
                    <a:pt x="34352" y="448836"/>
                    <a:pt x="34352" y="424963"/>
                  </a:cubicBezTo>
                  <a:lnTo>
                    <a:pt x="34352" y="77599"/>
                  </a:lnTo>
                  <a:cubicBezTo>
                    <a:pt x="34352" y="53760"/>
                    <a:pt x="53727" y="34351"/>
                    <a:pt x="77599" y="34351"/>
                  </a:cubicBezTo>
                  <a:lnTo>
                    <a:pt x="424964" y="34351"/>
                  </a:lnTo>
                  <a:cubicBezTo>
                    <a:pt x="448803" y="34351"/>
                    <a:pt x="468211" y="53726"/>
                    <a:pt x="468211" y="7759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14" name="Freeform: Shape 13">
              <a:extLst>
                <a:ext uri="{FF2B5EF4-FFF2-40B4-BE49-F238E27FC236}">
                  <a16:creationId xmlns:a16="http://schemas.microsoft.com/office/drawing/2014/main" id="{F3514338-DD83-D8B6-AFE6-CF999F16AABB}"/>
                </a:ext>
              </a:extLst>
            </p:cNvPr>
            <p:cNvSpPr/>
            <p:nvPr/>
          </p:nvSpPr>
          <p:spPr>
            <a:xfrm>
              <a:off x="10809329" y="4102259"/>
              <a:ext cx="283198" cy="216270"/>
            </a:xfrm>
            <a:custGeom>
              <a:avLst/>
              <a:gdLst>
                <a:gd name="connsiteX0" fmla="*/ 91216 w 283198"/>
                <a:gd name="connsiteY0" fmla="*/ 167683 h 216270"/>
                <a:gd name="connsiteX1" fmla="*/ 24292 w 283198"/>
                <a:gd name="connsiteY1" fmla="*/ 100759 h 216270"/>
                <a:gd name="connsiteX2" fmla="*/ 0 w 283198"/>
                <a:gd name="connsiteY2" fmla="*/ 125051 h 216270"/>
                <a:gd name="connsiteX3" fmla="*/ 91220 w 283198"/>
                <a:gd name="connsiteY3" fmla="*/ 216271 h 216270"/>
                <a:gd name="connsiteX4" fmla="*/ 283198 w 283198"/>
                <a:gd name="connsiteY4" fmla="*/ 24292 h 216270"/>
                <a:gd name="connsiteX5" fmla="*/ 258906 w 283198"/>
                <a:gd name="connsiteY5" fmla="*/ 0 h 21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198" h="216270">
                  <a:moveTo>
                    <a:pt x="91216" y="167683"/>
                  </a:moveTo>
                  <a:lnTo>
                    <a:pt x="24292" y="100759"/>
                  </a:lnTo>
                  <a:lnTo>
                    <a:pt x="0" y="125051"/>
                  </a:lnTo>
                  <a:lnTo>
                    <a:pt x="91220" y="216271"/>
                  </a:lnTo>
                  <a:lnTo>
                    <a:pt x="283198" y="24292"/>
                  </a:lnTo>
                  <a:lnTo>
                    <a:pt x="258906"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15" name="Freeform: Shape 14">
              <a:extLst>
                <a:ext uri="{FF2B5EF4-FFF2-40B4-BE49-F238E27FC236}">
                  <a16:creationId xmlns:a16="http://schemas.microsoft.com/office/drawing/2014/main" id="{C83AF309-BEF9-0DEC-6148-184E8C622120}"/>
                </a:ext>
              </a:extLst>
            </p:cNvPr>
            <p:cNvSpPr/>
            <p:nvPr/>
          </p:nvSpPr>
          <p:spPr>
            <a:xfrm>
              <a:off x="10380122" y="5387829"/>
              <a:ext cx="176060" cy="322423"/>
            </a:xfrm>
            <a:custGeom>
              <a:avLst/>
              <a:gdLst>
                <a:gd name="connsiteX0" fmla="*/ 128997 w 176060"/>
                <a:gd name="connsiteY0" fmla="*/ 0 h 322423"/>
                <a:gd name="connsiteX1" fmla="*/ 47064 w 176060"/>
                <a:gd name="connsiteY1" fmla="*/ 0 h 322423"/>
                <a:gd name="connsiteX2" fmla="*/ 0 w 176060"/>
                <a:gd name="connsiteY2" fmla="*/ 47096 h 322423"/>
                <a:gd name="connsiteX3" fmla="*/ 0 w 176060"/>
                <a:gd name="connsiteY3" fmla="*/ 275328 h 322423"/>
                <a:gd name="connsiteX4" fmla="*/ 47064 w 176060"/>
                <a:gd name="connsiteY4" fmla="*/ 322424 h 322423"/>
                <a:gd name="connsiteX5" fmla="*/ 128997 w 176060"/>
                <a:gd name="connsiteY5" fmla="*/ 322424 h 322423"/>
                <a:gd name="connsiteX6" fmla="*/ 176061 w 176060"/>
                <a:gd name="connsiteY6" fmla="*/ 275328 h 322423"/>
                <a:gd name="connsiteX7" fmla="*/ 176061 w 176060"/>
                <a:gd name="connsiteY7" fmla="*/ 47096 h 322423"/>
                <a:gd name="connsiteX8" fmla="*/ 128997 w 176060"/>
                <a:gd name="connsiteY8" fmla="*/ 0 h 322423"/>
                <a:gd name="connsiteX9" fmla="*/ 141709 w 176060"/>
                <a:gd name="connsiteY9" fmla="*/ 275332 h 322423"/>
                <a:gd name="connsiteX10" fmla="*/ 128997 w 176060"/>
                <a:gd name="connsiteY10" fmla="*/ 288076 h 322423"/>
                <a:gd name="connsiteX11" fmla="*/ 47064 w 176060"/>
                <a:gd name="connsiteY11" fmla="*/ 288076 h 322423"/>
                <a:gd name="connsiteX12" fmla="*/ 34351 w 176060"/>
                <a:gd name="connsiteY12" fmla="*/ 275332 h 322423"/>
                <a:gd name="connsiteX13" fmla="*/ 34351 w 176060"/>
                <a:gd name="connsiteY13" fmla="*/ 47100 h 322423"/>
                <a:gd name="connsiteX14" fmla="*/ 47064 w 176060"/>
                <a:gd name="connsiteY14" fmla="*/ 34356 h 322423"/>
                <a:gd name="connsiteX15" fmla="*/ 128997 w 176060"/>
                <a:gd name="connsiteY15" fmla="*/ 34356 h 322423"/>
                <a:gd name="connsiteX16" fmla="*/ 141709 w 176060"/>
                <a:gd name="connsiteY16" fmla="*/ 47100 h 32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6060" h="322423">
                  <a:moveTo>
                    <a:pt x="128997" y="0"/>
                  </a:moveTo>
                  <a:lnTo>
                    <a:pt x="47064" y="0"/>
                  </a:lnTo>
                  <a:cubicBezTo>
                    <a:pt x="21090" y="0"/>
                    <a:pt x="0" y="21122"/>
                    <a:pt x="0" y="47096"/>
                  </a:cubicBezTo>
                  <a:lnTo>
                    <a:pt x="0" y="275328"/>
                  </a:lnTo>
                  <a:cubicBezTo>
                    <a:pt x="0" y="301301"/>
                    <a:pt x="21090" y="322424"/>
                    <a:pt x="47064" y="322424"/>
                  </a:cubicBezTo>
                  <a:lnTo>
                    <a:pt x="128997" y="322424"/>
                  </a:lnTo>
                  <a:cubicBezTo>
                    <a:pt x="154971" y="322424"/>
                    <a:pt x="176061" y="301301"/>
                    <a:pt x="176061" y="275328"/>
                  </a:cubicBezTo>
                  <a:lnTo>
                    <a:pt x="176061" y="47096"/>
                  </a:lnTo>
                  <a:cubicBezTo>
                    <a:pt x="176061" y="21155"/>
                    <a:pt x="154971" y="0"/>
                    <a:pt x="128997" y="0"/>
                  </a:cubicBezTo>
                  <a:close/>
                  <a:moveTo>
                    <a:pt x="141709" y="275332"/>
                  </a:moveTo>
                  <a:cubicBezTo>
                    <a:pt x="141709" y="282383"/>
                    <a:pt x="136016" y="288076"/>
                    <a:pt x="128997" y="288076"/>
                  </a:cubicBezTo>
                  <a:lnTo>
                    <a:pt x="47064" y="288076"/>
                  </a:lnTo>
                  <a:cubicBezTo>
                    <a:pt x="40045" y="288076"/>
                    <a:pt x="34351" y="282383"/>
                    <a:pt x="34351" y="275332"/>
                  </a:cubicBezTo>
                  <a:lnTo>
                    <a:pt x="34351" y="47100"/>
                  </a:lnTo>
                  <a:cubicBezTo>
                    <a:pt x="34351" y="40049"/>
                    <a:pt x="40044" y="34356"/>
                    <a:pt x="47064" y="34356"/>
                  </a:cubicBezTo>
                  <a:lnTo>
                    <a:pt x="128997" y="34356"/>
                  </a:lnTo>
                  <a:cubicBezTo>
                    <a:pt x="136016" y="34356"/>
                    <a:pt x="141709" y="40048"/>
                    <a:pt x="141709" y="471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16" name="Freeform: Shape 15">
              <a:extLst>
                <a:ext uri="{FF2B5EF4-FFF2-40B4-BE49-F238E27FC236}">
                  <a16:creationId xmlns:a16="http://schemas.microsoft.com/office/drawing/2014/main" id="{98E993BB-1E29-586A-D129-2A68529408D7}"/>
                </a:ext>
              </a:extLst>
            </p:cNvPr>
            <p:cNvSpPr/>
            <p:nvPr/>
          </p:nvSpPr>
          <p:spPr>
            <a:xfrm>
              <a:off x="10621503" y="5477592"/>
              <a:ext cx="176060" cy="232727"/>
            </a:xfrm>
            <a:custGeom>
              <a:avLst/>
              <a:gdLst>
                <a:gd name="connsiteX0" fmla="*/ 128997 w 176060"/>
                <a:gd name="connsiteY0" fmla="*/ 0 h 232727"/>
                <a:gd name="connsiteX1" fmla="*/ 47064 w 176060"/>
                <a:gd name="connsiteY1" fmla="*/ 0 h 232727"/>
                <a:gd name="connsiteX2" fmla="*/ 0 w 176060"/>
                <a:gd name="connsiteY2" fmla="*/ 47096 h 232727"/>
                <a:gd name="connsiteX3" fmla="*/ 0 w 176060"/>
                <a:gd name="connsiteY3" fmla="*/ 185632 h 232727"/>
                <a:gd name="connsiteX4" fmla="*/ 47064 w 176060"/>
                <a:gd name="connsiteY4" fmla="*/ 232728 h 232727"/>
                <a:gd name="connsiteX5" fmla="*/ 128997 w 176060"/>
                <a:gd name="connsiteY5" fmla="*/ 232728 h 232727"/>
                <a:gd name="connsiteX6" fmla="*/ 176061 w 176060"/>
                <a:gd name="connsiteY6" fmla="*/ 185632 h 232727"/>
                <a:gd name="connsiteX7" fmla="*/ 176061 w 176060"/>
                <a:gd name="connsiteY7" fmla="*/ 47096 h 232727"/>
                <a:gd name="connsiteX8" fmla="*/ 128997 w 176060"/>
                <a:gd name="connsiteY8" fmla="*/ 0 h 232727"/>
                <a:gd name="connsiteX9" fmla="*/ 141709 w 176060"/>
                <a:gd name="connsiteY9" fmla="*/ 185636 h 232727"/>
                <a:gd name="connsiteX10" fmla="*/ 128997 w 176060"/>
                <a:gd name="connsiteY10" fmla="*/ 198381 h 232727"/>
                <a:gd name="connsiteX11" fmla="*/ 47064 w 176060"/>
                <a:gd name="connsiteY11" fmla="*/ 198381 h 232727"/>
                <a:gd name="connsiteX12" fmla="*/ 34352 w 176060"/>
                <a:gd name="connsiteY12" fmla="*/ 185636 h 232727"/>
                <a:gd name="connsiteX13" fmla="*/ 34352 w 176060"/>
                <a:gd name="connsiteY13" fmla="*/ 47100 h 232727"/>
                <a:gd name="connsiteX14" fmla="*/ 47064 w 176060"/>
                <a:gd name="connsiteY14" fmla="*/ 34356 h 232727"/>
                <a:gd name="connsiteX15" fmla="*/ 128997 w 176060"/>
                <a:gd name="connsiteY15" fmla="*/ 34356 h 232727"/>
                <a:gd name="connsiteX16" fmla="*/ 141709 w 176060"/>
                <a:gd name="connsiteY16" fmla="*/ 47100 h 23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6060" h="232727">
                  <a:moveTo>
                    <a:pt x="128997" y="0"/>
                  </a:moveTo>
                  <a:lnTo>
                    <a:pt x="47064" y="0"/>
                  </a:lnTo>
                  <a:cubicBezTo>
                    <a:pt x="21090" y="0"/>
                    <a:pt x="0" y="21122"/>
                    <a:pt x="0" y="47096"/>
                  </a:cubicBezTo>
                  <a:lnTo>
                    <a:pt x="0" y="185632"/>
                  </a:lnTo>
                  <a:cubicBezTo>
                    <a:pt x="0" y="211605"/>
                    <a:pt x="21090" y="232728"/>
                    <a:pt x="47064" y="232728"/>
                  </a:cubicBezTo>
                  <a:lnTo>
                    <a:pt x="128997" y="232728"/>
                  </a:lnTo>
                  <a:cubicBezTo>
                    <a:pt x="154971" y="232728"/>
                    <a:pt x="176061" y="211605"/>
                    <a:pt x="176061" y="185632"/>
                  </a:cubicBezTo>
                  <a:lnTo>
                    <a:pt x="176061" y="47096"/>
                  </a:lnTo>
                  <a:cubicBezTo>
                    <a:pt x="176061" y="21155"/>
                    <a:pt x="154971" y="0"/>
                    <a:pt x="128997" y="0"/>
                  </a:cubicBezTo>
                  <a:close/>
                  <a:moveTo>
                    <a:pt x="141709" y="185636"/>
                  </a:moveTo>
                  <a:cubicBezTo>
                    <a:pt x="141709" y="192687"/>
                    <a:pt x="136016" y="198381"/>
                    <a:pt x="128997" y="198381"/>
                  </a:cubicBezTo>
                  <a:lnTo>
                    <a:pt x="47064" y="198381"/>
                  </a:lnTo>
                  <a:cubicBezTo>
                    <a:pt x="40045" y="198381"/>
                    <a:pt x="34352" y="192688"/>
                    <a:pt x="34352" y="185636"/>
                  </a:cubicBezTo>
                  <a:lnTo>
                    <a:pt x="34352" y="47100"/>
                  </a:lnTo>
                  <a:cubicBezTo>
                    <a:pt x="34352" y="40049"/>
                    <a:pt x="40044" y="34356"/>
                    <a:pt x="47064" y="34356"/>
                  </a:cubicBezTo>
                  <a:lnTo>
                    <a:pt x="128997" y="34356"/>
                  </a:lnTo>
                  <a:cubicBezTo>
                    <a:pt x="136016" y="34356"/>
                    <a:pt x="141709" y="40049"/>
                    <a:pt x="141709" y="471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17" name="Freeform: Shape 16">
              <a:extLst>
                <a:ext uri="{FF2B5EF4-FFF2-40B4-BE49-F238E27FC236}">
                  <a16:creationId xmlns:a16="http://schemas.microsoft.com/office/drawing/2014/main" id="{4FFEA66D-5B58-9ACE-4A8E-A2D04AC67C59}"/>
                </a:ext>
              </a:extLst>
            </p:cNvPr>
            <p:cNvSpPr/>
            <p:nvPr/>
          </p:nvSpPr>
          <p:spPr>
            <a:xfrm>
              <a:off x="10862967" y="5223376"/>
              <a:ext cx="176060" cy="486910"/>
            </a:xfrm>
            <a:custGeom>
              <a:avLst/>
              <a:gdLst>
                <a:gd name="connsiteX0" fmla="*/ 128997 w 176060"/>
                <a:gd name="connsiteY0" fmla="*/ 0 h 486910"/>
                <a:gd name="connsiteX1" fmla="*/ 47096 w 176060"/>
                <a:gd name="connsiteY1" fmla="*/ 0 h 486910"/>
                <a:gd name="connsiteX2" fmla="*/ 0 w 176060"/>
                <a:gd name="connsiteY2" fmla="*/ 47096 h 486910"/>
                <a:gd name="connsiteX3" fmla="*/ 0 w 176060"/>
                <a:gd name="connsiteY3" fmla="*/ 439814 h 486910"/>
                <a:gd name="connsiteX4" fmla="*/ 47096 w 176060"/>
                <a:gd name="connsiteY4" fmla="*/ 486910 h 486910"/>
                <a:gd name="connsiteX5" fmla="*/ 128997 w 176060"/>
                <a:gd name="connsiteY5" fmla="*/ 486910 h 486910"/>
                <a:gd name="connsiteX6" fmla="*/ 176061 w 176060"/>
                <a:gd name="connsiteY6" fmla="*/ 439814 h 486910"/>
                <a:gd name="connsiteX7" fmla="*/ 176061 w 176060"/>
                <a:gd name="connsiteY7" fmla="*/ 47096 h 486910"/>
                <a:gd name="connsiteX8" fmla="*/ 128997 w 176060"/>
                <a:gd name="connsiteY8" fmla="*/ 0 h 486910"/>
                <a:gd name="connsiteX9" fmla="*/ 141709 w 176060"/>
                <a:gd name="connsiteY9" fmla="*/ 439777 h 486910"/>
                <a:gd name="connsiteX10" fmla="*/ 128997 w 176060"/>
                <a:gd name="connsiteY10" fmla="*/ 452522 h 486910"/>
                <a:gd name="connsiteX11" fmla="*/ 47096 w 176060"/>
                <a:gd name="connsiteY11" fmla="*/ 452522 h 486910"/>
                <a:gd name="connsiteX12" fmla="*/ 34352 w 176060"/>
                <a:gd name="connsiteY12" fmla="*/ 439777 h 486910"/>
                <a:gd name="connsiteX13" fmla="*/ 34352 w 176060"/>
                <a:gd name="connsiteY13" fmla="*/ 47059 h 486910"/>
                <a:gd name="connsiteX14" fmla="*/ 47096 w 176060"/>
                <a:gd name="connsiteY14" fmla="*/ 34314 h 486910"/>
                <a:gd name="connsiteX15" fmla="*/ 128997 w 176060"/>
                <a:gd name="connsiteY15" fmla="*/ 34314 h 486910"/>
                <a:gd name="connsiteX16" fmla="*/ 141709 w 176060"/>
                <a:gd name="connsiteY16" fmla="*/ 47059 h 48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6060" h="486910">
                  <a:moveTo>
                    <a:pt x="128997" y="0"/>
                  </a:moveTo>
                  <a:lnTo>
                    <a:pt x="47096" y="0"/>
                  </a:lnTo>
                  <a:cubicBezTo>
                    <a:pt x="21122" y="0"/>
                    <a:pt x="0" y="21122"/>
                    <a:pt x="0" y="47096"/>
                  </a:cubicBezTo>
                  <a:lnTo>
                    <a:pt x="0" y="439814"/>
                  </a:lnTo>
                  <a:cubicBezTo>
                    <a:pt x="0" y="465788"/>
                    <a:pt x="21122" y="486910"/>
                    <a:pt x="47096" y="486910"/>
                  </a:cubicBezTo>
                  <a:lnTo>
                    <a:pt x="128997" y="486910"/>
                  </a:lnTo>
                  <a:cubicBezTo>
                    <a:pt x="154971" y="486910"/>
                    <a:pt x="176061" y="465788"/>
                    <a:pt x="176061" y="439814"/>
                  </a:cubicBezTo>
                  <a:lnTo>
                    <a:pt x="176061" y="47096"/>
                  </a:lnTo>
                  <a:cubicBezTo>
                    <a:pt x="176061" y="21122"/>
                    <a:pt x="154971" y="0"/>
                    <a:pt x="128997" y="0"/>
                  </a:cubicBezTo>
                  <a:close/>
                  <a:moveTo>
                    <a:pt x="141709" y="439777"/>
                  </a:moveTo>
                  <a:cubicBezTo>
                    <a:pt x="141709" y="446828"/>
                    <a:pt x="136016" y="452522"/>
                    <a:pt x="128997" y="452522"/>
                  </a:cubicBezTo>
                  <a:lnTo>
                    <a:pt x="47096" y="452522"/>
                  </a:lnTo>
                  <a:cubicBezTo>
                    <a:pt x="40045" y="452522"/>
                    <a:pt x="34352" y="446829"/>
                    <a:pt x="34352" y="439777"/>
                  </a:cubicBezTo>
                  <a:lnTo>
                    <a:pt x="34352" y="47059"/>
                  </a:lnTo>
                  <a:cubicBezTo>
                    <a:pt x="34352" y="40007"/>
                    <a:pt x="40044" y="34314"/>
                    <a:pt x="47096" y="34314"/>
                  </a:cubicBezTo>
                  <a:lnTo>
                    <a:pt x="128997" y="34314"/>
                  </a:lnTo>
                  <a:cubicBezTo>
                    <a:pt x="136016" y="34314"/>
                    <a:pt x="141709" y="40007"/>
                    <a:pt x="141709" y="4705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18" name="Freeform: Shape 17">
              <a:extLst>
                <a:ext uri="{FF2B5EF4-FFF2-40B4-BE49-F238E27FC236}">
                  <a16:creationId xmlns:a16="http://schemas.microsoft.com/office/drawing/2014/main" id="{8991494B-F4C7-1E76-8315-DDFAB12E1EAD}"/>
                </a:ext>
              </a:extLst>
            </p:cNvPr>
            <p:cNvSpPr/>
            <p:nvPr/>
          </p:nvSpPr>
          <p:spPr>
            <a:xfrm>
              <a:off x="13738916" y="5133174"/>
              <a:ext cx="706872" cy="549884"/>
            </a:xfrm>
            <a:custGeom>
              <a:avLst/>
              <a:gdLst>
                <a:gd name="connsiteX0" fmla="*/ 245425 w 706872"/>
                <a:gd name="connsiteY0" fmla="*/ 334812 h 549884"/>
                <a:gd name="connsiteX1" fmla="*/ 330882 w 706872"/>
                <a:gd name="connsiteY1" fmla="*/ 437153 h 549884"/>
                <a:gd name="connsiteX2" fmla="*/ 706873 w 706872"/>
                <a:gd name="connsiteY2" fmla="*/ 149268 h 549884"/>
                <a:gd name="connsiteX3" fmla="*/ 686010 w 706872"/>
                <a:gd name="connsiteY3" fmla="*/ 121967 h 549884"/>
                <a:gd name="connsiteX4" fmla="*/ 336119 w 706872"/>
                <a:gd name="connsiteY4" fmla="*/ 389863 h 549884"/>
                <a:gd name="connsiteX5" fmla="*/ 250787 w 706872"/>
                <a:gd name="connsiteY5" fmla="*/ 287580 h 549884"/>
                <a:gd name="connsiteX6" fmla="*/ 34356 w 706872"/>
                <a:gd name="connsiteY6" fmla="*/ 452092 h 549884"/>
                <a:gd name="connsiteX7" fmla="*/ 34356 w 706872"/>
                <a:gd name="connsiteY7" fmla="*/ 360781 h 549884"/>
                <a:gd name="connsiteX8" fmla="*/ 255764 w 706872"/>
                <a:gd name="connsiteY8" fmla="*/ 192419 h 549884"/>
                <a:gd name="connsiteX9" fmla="*/ 331778 w 706872"/>
                <a:gd name="connsiteY9" fmla="*/ 290429 h 549884"/>
                <a:gd name="connsiteX10" fmla="*/ 599731 w 706872"/>
                <a:gd name="connsiteY10" fmla="*/ 82800 h 549884"/>
                <a:gd name="connsiteX11" fmla="*/ 578674 w 706872"/>
                <a:gd name="connsiteY11" fmla="*/ 55629 h 549884"/>
                <a:gd name="connsiteX12" fmla="*/ 337889 w 706872"/>
                <a:gd name="connsiteY12" fmla="*/ 242267 h 549884"/>
                <a:gd name="connsiteX13" fmla="*/ 262070 w 706872"/>
                <a:gd name="connsiteY13" fmla="*/ 144456 h 549884"/>
                <a:gd name="connsiteX14" fmla="*/ 34352 w 706872"/>
                <a:gd name="connsiteY14" fmla="*/ 317604 h 549884"/>
                <a:gd name="connsiteX15" fmla="*/ 34352 w 706872"/>
                <a:gd name="connsiteY15" fmla="*/ 0 h 549884"/>
                <a:gd name="connsiteX16" fmla="*/ 0 w 706872"/>
                <a:gd name="connsiteY16" fmla="*/ 0 h 549884"/>
                <a:gd name="connsiteX17" fmla="*/ 0 w 706872"/>
                <a:gd name="connsiteY17" fmla="*/ 549885 h 549884"/>
                <a:gd name="connsiteX18" fmla="*/ 696444 w 706872"/>
                <a:gd name="connsiteY18" fmla="*/ 549885 h 549884"/>
                <a:gd name="connsiteX19" fmla="*/ 696444 w 706872"/>
                <a:gd name="connsiteY19" fmla="*/ 515533 h 549884"/>
                <a:gd name="connsiteX20" fmla="*/ 34348 w 706872"/>
                <a:gd name="connsiteY20" fmla="*/ 515533 h 549884"/>
                <a:gd name="connsiteX21" fmla="*/ 34348 w 706872"/>
                <a:gd name="connsiteY21" fmla="*/ 495285 h 54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06872" h="549884">
                  <a:moveTo>
                    <a:pt x="245425" y="334812"/>
                  </a:moveTo>
                  <a:lnTo>
                    <a:pt x="330882" y="437153"/>
                  </a:lnTo>
                  <a:lnTo>
                    <a:pt x="706873" y="149268"/>
                  </a:lnTo>
                  <a:lnTo>
                    <a:pt x="686010" y="121967"/>
                  </a:lnTo>
                  <a:lnTo>
                    <a:pt x="336119" y="389863"/>
                  </a:lnTo>
                  <a:lnTo>
                    <a:pt x="250787" y="287580"/>
                  </a:lnTo>
                  <a:lnTo>
                    <a:pt x="34356" y="452092"/>
                  </a:lnTo>
                  <a:lnTo>
                    <a:pt x="34356" y="360781"/>
                  </a:lnTo>
                  <a:lnTo>
                    <a:pt x="255764" y="192419"/>
                  </a:lnTo>
                  <a:lnTo>
                    <a:pt x="331778" y="290429"/>
                  </a:lnTo>
                  <a:lnTo>
                    <a:pt x="599731" y="82800"/>
                  </a:lnTo>
                  <a:lnTo>
                    <a:pt x="578674" y="55629"/>
                  </a:lnTo>
                  <a:lnTo>
                    <a:pt x="337889" y="242267"/>
                  </a:lnTo>
                  <a:lnTo>
                    <a:pt x="262070" y="144456"/>
                  </a:lnTo>
                  <a:lnTo>
                    <a:pt x="34352" y="317604"/>
                  </a:lnTo>
                  <a:lnTo>
                    <a:pt x="34352" y="0"/>
                  </a:lnTo>
                  <a:lnTo>
                    <a:pt x="0" y="0"/>
                  </a:lnTo>
                  <a:lnTo>
                    <a:pt x="0" y="549885"/>
                  </a:lnTo>
                  <a:lnTo>
                    <a:pt x="696444" y="549885"/>
                  </a:lnTo>
                  <a:lnTo>
                    <a:pt x="696444" y="515533"/>
                  </a:lnTo>
                  <a:lnTo>
                    <a:pt x="34348" y="515533"/>
                  </a:lnTo>
                  <a:lnTo>
                    <a:pt x="34348" y="49528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19" name="Freeform: Shape 18">
              <a:extLst>
                <a:ext uri="{FF2B5EF4-FFF2-40B4-BE49-F238E27FC236}">
                  <a16:creationId xmlns:a16="http://schemas.microsoft.com/office/drawing/2014/main" id="{F8460607-D63E-2A8D-C81B-2E89FB51657D}"/>
                </a:ext>
              </a:extLst>
            </p:cNvPr>
            <p:cNvSpPr/>
            <p:nvPr/>
          </p:nvSpPr>
          <p:spPr>
            <a:xfrm>
              <a:off x="10404373" y="5014216"/>
              <a:ext cx="610444" cy="349044"/>
            </a:xfrm>
            <a:custGeom>
              <a:avLst/>
              <a:gdLst>
                <a:gd name="connsiteX0" fmla="*/ 63757 w 610444"/>
                <a:gd name="connsiteY0" fmla="*/ 186471 h 349044"/>
                <a:gd name="connsiteX1" fmla="*/ 99823 w 610444"/>
                <a:gd name="connsiteY1" fmla="*/ 175215 h 349044"/>
                <a:gd name="connsiteX2" fmla="*/ 220994 w 610444"/>
                <a:gd name="connsiteY2" fmla="*/ 264298 h 349044"/>
                <a:gd name="connsiteX3" fmla="*/ 217177 w 610444"/>
                <a:gd name="connsiteY3" fmla="*/ 285225 h 349044"/>
                <a:gd name="connsiteX4" fmla="*/ 280996 w 610444"/>
                <a:gd name="connsiteY4" fmla="*/ 349044 h 349044"/>
                <a:gd name="connsiteX5" fmla="*/ 344783 w 610444"/>
                <a:gd name="connsiteY5" fmla="*/ 285225 h 349044"/>
                <a:gd name="connsiteX6" fmla="*/ 336761 w 610444"/>
                <a:gd name="connsiteY6" fmla="*/ 254852 h 349044"/>
                <a:gd name="connsiteX7" fmla="*/ 509719 w 610444"/>
                <a:gd name="connsiteY7" fmla="*/ 115638 h 349044"/>
                <a:gd name="connsiteX8" fmla="*/ 546658 w 610444"/>
                <a:gd name="connsiteY8" fmla="*/ 127606 h 349044"/>
                <a:gd name="connsiteX9" fmla="*/ 610444 w 610444"/>
                <a:gd name="connsiteY9" fmla="*/ 63819 h 349044"/>
                <a:gd name="connsiteX10" fmla="*/ 546658 w 610444"/>
                <a:gd name="connsiteY10" fmla="*/ 0 h 349044"/>
                <a:gd name="connsiteX11" fmla="*/ 482839 w 610444"/>
                <a:gd name="connsiteY11" fmla="*/ 63819 h 349044"/>
                <a:gd name="connsiteX12" fmla="*/ 488079 w 610444"/>
                <a:gd name="connsiteY12" fmla="*/ 89017 h 349044"/>
                <a:gd name="connsiteX13" fmla="*/ 312695 w 610444"/>
                <a:gd name="connsiteY13" fmla="*/ 230177 h 349044"/>
                <a:gd name="connsiteX14" fmla="*/ 281028 w 610444"/>
                <a:gd name="connsiteY14" fmla="*/ 221444 h 349044"/>
                <a:gd name="connsiteX15" fmla="*/ 240724 w 610444"/>
                <a:gd name="connsiteY15" fmla="*/ 236161 h 349044"/>
                <a:gd name="connsiteX16" fmla="*/ 121880 w 610444"/>
                <a:gd name="connsiteY16" fmla="*/ 148792 h 349044"/>
                <a:gd name="connsiteX17" fmla="*/ 127606 w 610444"/>
                <a:gd name="connsiteY17" fmla="*/ 122656 h 349044"/>
                <a:gd name="connsiteX18" fmla="*/ 63787 w 610444"/>
                <a:gd name="connsiteY18" fmla="*/ 58870 h 349044"/>
                <a:gd name="connsiteX19" fmla="*/ 0 w 610444"/>
                <a:gd name="connsiteY19" fmla="*/ 122656 h 349044"/>
                <a:gd name="connsiteX20" fmla="*/ 63755 w 610444"/>
                <a:gd name="connsiteY20" fmla="*/ 186475 h 349044"/>
                <a:gd name="connsiteX21" fmla="*/ 546618 w 610444"/>
                <a:gd name="connsiteY21" fmla="*/ 34314 h 349044"/>
                <a:gd name="connsiteX22" fmla="*/ 576085 w 610444"/>
                <a:gd name="connsiteY22" fmla="*/ 63814 h 349044"/>
                <a:gd name="connsiteX23" fmla="*/ 546618 w 610444"/>
                <a:gd name="connsiteY23" fmla="*/ 93282 h 349044"/>
                <a:gd name="connsiteX24" fmla="*/ 517118 w 610444"/>
                <a:gd name="connsiteY24" fmla="*/ 63814 h 349044"/>
                <a:gd name="connsiteX25" fmla="*/ 546618 w 610444"/>
                <a:gd name="connsiteY25" fmla="*/ 34314 h 349044"/>
                <a:gd name="connsiteX26" fmla="*/ 280958 w 610444"/>
                <a:gd name="connsiteY26" fmla="*/ 255755 h 349044"/>
                <a:gd name="connsiteX27" fmla="*/ 310426 w 610444"/>
                <a:gd name="connsiteY27" fmla="*/ 285223 h 349044"/>
                <a:gd name="connsiteX28" fmla="*/ 280958 w 610444"/>
                <a:gd name="connsiteY28" fmla="*/ 314723 h 349044"/>
                <a:gd name="connsiteX29" fmla="*/ 251458 w 610444"/>
                <a:gd name="connsiteY29" fmla="*/ 285223 h 349044"/>
                <a:gd name="connsiteX30" fmla="*/ 280958 w 610444"/>
                <a:gd name="connsiteY30" fmla="*/ 255755 h 349044"/>
                <a:gd name="connsiteX31" fmla="*/ 63757 w 610444"/>
                <a:gd name="connsiteY31" fmla="*/ 93181 h 349044"/>
                <a:gd name="connsiteX32" fmla="*/ 93257 w 610444"/>
                <a:gd name="connsiteY32" fmla="*/ 122649 h 349044"/>
                <a:gd name="connsiteX33" fmla="*/ 63757 w 610444"/>
                <a:gd name="connsiteY33" fmla="*/ 152149 h 349044"/>
                <a:gd name="connsiteX34" fmla="*/ 34289 w 610444"/>
                <a:gd name="connsiteY34" fmla="*/ 122649 h 349044"/>
                <a:gd name="connsiteX35" fmla="*/ 63757 w 610444"/>
                <a:gd name="connsiteY35" fmla="*/ 93181 h 34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10444" h="349044">
                  <a:moveTo>
                    <a:pt x="63757" y="186471"/>
                  </a:moveTo>
                  <a:cubicBezTo>
                    <a:pt x="77148" y="186471"/>
                    <a:pt x="89537" y="182298"/>
                    <a:pt x="99823" y="175215"/>
                  </a:cubicBezTo>
                  <a:lnTo>
                    <a:pt x="220994" y="264298"/>
                  </a:lnTo>
                  <a:cubicBezTo>
                    <a:pt x="218697" y="270896"/>
                    <a:pt x="217177" y="277851"/>
                    <a:pt x="217177" y="285225"/>
                  </a:cubicBezTo>
                  <a:cubicBezTo>
                    <a:pt x="217177" y="320418"/>
                    <a:pt x="245835" y="349044"/>
                    <a:pt x="280996" y="349044"/>
                  </a:cubicBezTo>
                  <a:cubicBezTo>
                    <a:pt x="316189" y="349044"/>
                    <a:pt x="344783" y="320386"/>
                    <a:pt x="344783" y="285225"/>
                  </a:cubicBezTo>
                  <a:cubicBezTo>
                    <a:pt x="344783" y="274163"/>
                    <a:pt x="341710" y="263942"/>
                    <a:pt x="336761" y="254852"/>
                  </a:cubicBezTo>
                  <a:lnTo>
                    <a:pt x="509719" y="115638"/>
                  </a:lnTo>
                  <a:cubicBezTo>
                    <a:pt x="520166" y="123110"/>
                    <a:pt x="532846" y="127606"/>
                    <a:pt x="546658" y="127606"/>
                  </a:cubicBezTo>
                  <a:cubicBezTo>
                    <a:pt x="581851" y="127606"/>
                    <a:pt x="610444" y="98979"/>
                    <a:pt x="610444" y="63819"/>
                  </a:cubicBezTo>
                  <a:cubicBezTo>
                    <a:pt x="610444" y="28626"/>
                    <a:pt x="581818" y="0"/>
                    <a:pt x="546658" y="0"/>
                  </a:cubicBezTo>
                  <a:cubicBezTo>
                    <a:pt x="511465" y="0"/>
                    <a:pt x="482839" y="28659"/>
                    <a:pt x="482839" y="63819"/>
                  </a:cubicBezTo>
                  <a:cubicBezTo>
                    <a:pt x="482839" y="72779"/>
                    <a:pt x="484715" y="81286"/>
                    <a:pt x="488079" y="89017"/>
                  </a:cubicBezTo>
                  <a:lnTo>
                    <a:pt x="312695" y="230177"/>
                  </a:lnTo>
                  <a:cubicBezTo>
                    <a:pt x="303314" y="224775"/>
                    <a:pt x="292608" y="221444"/>
                    <a:pt x="281028" y="221444"/>
                  </a:cubicBezTo>
                  <a:cubicBezTo>
                    <a:pt x="265663" y="221444"/>
                    <a:pt x="251754" y="227104"/>
                    <a:pt x="240724" y="236161"/>
                  </a:cubicBezTo>
                  <a:lnTo>
                    <a:pt x="121880" y="148792"/>
                  </a:lnTo>
                  <a:cubicBezTo>
                    <a:pt x="125503" y="140802"/>
                    <a:pt x="127606" y="132004"/>
                    <a:pt x="127606" y="122656"/>
                  </a:cubicBezTo>
                  <a:cubicBezTo>
                    <a:pt x="127606" y="87464"/>
                    <a:pt x="98947" y="58870"/>
                    <a:pt x="63787" y="58870"/>
                  </a:cubicBezTo>
                  <a:cubicBezTo>
                    <a:pt x="28594" y="58870"/>
                    <a:pt x="0" y="87496"/>
                    <a:pt x="0" y="122656"/>
                  </a:cubicBezTo>
                  <a:cubicBezTo>
                    <a:pt x="-65" y="157817"/>
                    <a:pt x="28562" y="186475"/>
                    <a:pt x="63755" y="186475"/>
                  </a:cubicBezTo>
                  <a:close/>
                  <a:moveTo>
                    <a:pt x="546618" y="34314"/>
                  </a:moveTo>
                  <a:cubicBezTo>
                    <a:pt x="562855" y="34314"/>
                    <a:pt x="576085" y="47544"/>
                    <a:pt x="576085" y="63814"/>
                  </a:cubicBezTo>
                  <a:cubicBezTo>
                    <a:pt x="576085" y="80051"/>
                    <a:pt x="562855" y="93282"/>
                    <a:pt x="546618" y="93282"/>
                  </a:cubicBezTo>
                  <a:cubicBezTo>
                    <a:pt x="530348" y="93282"/>
                    <a:pt x="517118" y="80051"/>
                    <a:pt x="517118" y="63814"/>
                  </a:cubicBezTo>
                  <a:cubicBezTo>
                    <a:pt x="517118" y="47511"/>
                    <a:pt x="530348" y="34314"/>
                    <a:pt x="546618" y="34314"/>
                  </a:cubicBezTo>
                  <a:close/>
                  <a:moveTo>
                    <a:pt x="280958" y="255755"/>
                  </a:moveTo>
                  <a:cubicBezTo>
                    <a:pt x="297196" y="255755"/>
                    <a:pt x="310426" y="268985"/>
                    <a:pt x="310426" y="285223"/>
                  </a:cubicBezTo>
                  <a:cubicBezTo>
                    <a:pt x="310426" y="301493"/>
                    <a:pt x="297196" y="314723"/>
                    <a:pt x="280958" y="314723"/>
                  </a:cubicBezTo>
                  <a:cubicBezTo>
                    <a:pt x="264688" y="314723"/>
                    <a:pt x="251458" y="301493"/>
                    <a:pt x="251458" y="285223"/>
                  </a:cubicBezTo>
                  <a:cubicBezTo>
                    <a:pt x="251491" y="268985"/>
                    <a:pt x="264688" y="255755"/>
                    <a:pt x="280958" y="255755"/>
                  </a:cubicBezTo>
                  <a:close/>
                  <a:moveTo>
                    <a:pt x="63757" y="93181"/>
                  </a:moveTo>
                  <a:cubicBezTo>
                    <a:pt x="80027" y="93181"/>
                    <a:pt x="93257" y="106411"/>
                    <a:pt x="93257" y="122649"/>
                  </a:cubicBezTo>
                  <a:cubicBezTo>
                    <a:pt x="93257" y="138919"/>
                    <a:pt x="80027" y="152149"/>
                    <a:pt x="63757" y="152149"/>
                  </a:cubicBezTo>
                  <a:cubicBezTo>
                    <a:pt x="47519" y="152149"/>
                    <a:pt x="34289" y="138919"/>
                    <a:pt x="34289" y="122649"/>
                  </a:cubicBezTo>
                  <a:cubicBezTo>
                    <a:pt x="34289" y="106379"/>
                    <a:pt x="47519" y="93181"/>
                    <a:pt x="63757" y="931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20" name="Freeform: Shape 19">
              <a:extLst>
                <a:ext uri="{FF2B5EF4-FFF2-40B4-BE49-F238E27FC236}">
                  <a16:creationId xmlns:a16="http://schemas.microsoft.com/office/drawing/2014/main" id="{1BC8A63A-2EAB-0B69-E115-150FB8BE42F4}"/>
                </a:ext>
              </a:extLst>
            </p:cNvPr>
            <p:cNvSpPr/>
            <p:nvPr/>
          </p:nvSpPr>
          <p:spPr>
            <a:xfrm>
              <a:off x="12750246" y="2736839"/>
              <a:ext cx="1219131" cy="1218632"/>
            </a:xfrm>
            <a:custGeom>
              <a:avLst/>
              <a:gdLst>
                <a:gd name="connsiteX0" fmla="*/ 1164870 w 1219131"/>
                <a:gd name="connsiteY0" fmla="*/ 357582 h 1218632"/>
                <a:gd name="connsiteX1" fmla="*/ 357606 w 1219131"/>
                <a:gd name="connsiteY1" fmla="*/ 54337 h 1218632"/>
                <a:gd name="connsiteX2" fmla="*/ 54716 w 1219131"/>
                <a:gd name="connsiteY2" fmla="*/ 861601 h 1218632"/>
                <a:gd name="connsiteX3" fmla="*/ 861980 w 1219131"/>
                <a:gd name="connsiteY3" fmla="*/ 1164490 h 1218632"/>
                <a:gd name="connsiteX4" fmla="*/ 1164870 w 1219131"/>
                <a:gd name="connsiteY4" fmla="*/ 357582 h 1218632"/>
                <a:gd name="connsiteX5" fmla="*/ 85901 w 1219131"/>
                <a:gd name="connsiteY5" fmla="*/ 847399 h 1218632"/>
                <a:gd name="connsiteX6" fmla="*/ 60930 w 1219131"/>
                <a:gd name="connsiteY6" fmla="*/ 439445 h 1218632"/>
                <a:gd name="connsiteX7" fmla="*/ 194356 w 1219131"/>
                <a:gd name="connsiteY7" fmla="*/ 439445 h 1218632"/>
                <a:gd name="connsiteX8" fmla="*/ 205968 w 1219131"/>
                <a:gd name="connsiteY8" fmla="*/ 451024 h 1218632"/>
                <a:gd name="connsiteX9" fmla="*/ 205968 w 1219131"/>
                <a:gd name="connsiteY9" fmla="*/ 1018348 h 1218632"/>
                <a:gd name="connsiteX10" fmla="*/ 85899 w 1219131"/>
                <a:gd name="connsiteY10" fmla="*/ 847394 h 1218632"/>
                <a:gd name="connsiteX11" fmla="*/ 847688 w 1219131"/>
                <a:gd name="connsiteY11" fmla="*/ 1133272 h 1218632"/>
                <a:gd name="connsiteX12" fmla="*/ 847720 w 1219131"/>
                <a:gd name="connsiteY12" fmla="*/ 1133272 h 1218632"/>
                <a:gd name="connsiteX13" fmla="*/ 282632 w 1219131"/>
                <a:gd name="connsiteY13" fmla="*/ 1082618 h 1218632"/>
                <a:gd name="connsiteX14" fmla="*/ 889479 w 1219131"/>
                <a:gd name="connsiteY14" fmla="*/ 1082618 h 1218632"/>
                <a:gd name="connsiteX15" fmla="*/ 889479 w 1219131"/>
                <a:gd name="connsiteY15" fmla="*/ 1048266 h 1218632"/>
                <a:gd name="connsiteX16" fmla="*/ 790658 w 1219131"/>
                <a:gd name="connsiteY16" fmla="*/ 1048266 h 1218632"/>
                <a:gd name="connsiteX17" fmla="*/ 793020 w 1219131"/>
                <a:gd name="connsiteY17" fmla="*/ 1036622 h 1218632"/>
                <a:gd name="connsiteX18" fmla="*/ 793020 w 1219131"/>
                <a:gd name="connsiteY18" fmla="*/ 163428 h 1218632"/>
                <a:gd name="connsiteX19" fmla="*/ 747088 w 1219131"/>
                <a:gd name="connsiteY19" fmla="*/ 117496 h 1218632"/>
                <a:gd name="connsiteX20" fmla="*/ 562711 w 1219131"/>
                <a:gd name="connsiteY20" fmla="*/ 117496 h 1218632"/>
                <a:gd name="connsiteX21" fmla="*/ 516746 w 1219131"/>
                <a:gd name="connsiteY21" fmla="*/ 163428 h 1218632"/>
                <a:gd name="connsiteX22" fmla="*/ 516746 w 1219131"/>
                <a:gd name="connsiteY22" fmla="*/ 1036622 h 1218632"/>
                <a:gd name="connsiteX23" fmla="*/ 519108 w 1219131"/>
                <a:gd name="connsiteY23" fmla="*/ 1048266 h 1218632"/>
                <a:gd name="connsiteX24" fmla="*/ 238535 w 1219131"/>
                <a:gd name="connsiteY24" fmla="*/ 1048266 h 1218632"/>
                <a:gd name="connsiteX25" fmla="*/ 240314 w 1219131"/>
                <a:gd name="connsiteY25" fmla="*/ 1036622 h 1218632"/>
                <a:gd name="connsiteX26" fmla="*/ 240314 w 1219131"/>
                <a:gd name="connsiteY26" fmla="*/ 450990 h 1218632"/>
                <a:gd name="connsiteX27" fmla="*/ 194349 w 1219131"/>
                <a:gd name="connsiteY27" fmla="*/ 405058 h 1218632"/>
                <a:gd name="connsiteX28" fmla="*/ 72243 w 1219131"/>
                <a:gd name="connsiteY28" fmla="*/ 405058 h 1218632"/>
                <a:gd name="connsiteX29" fmla="*/ 371704 w 1219131"/>
                <a:gd name="connsiteY29" fmla="*/ 85574 h 1218632"/>
                <a:gd name="connsiteX30" fmla="*/ 1133524 w 1219131"/>
                <a:gd name="connsiteY30" fmla="*/ 371770 h 1218632"/>
                <a:gd name="connsiteX31" fmla="*/ 847676 w 1219131"/>
                <a:gd name="connsiteY31" fmla="*/ 1133266 h 1218632"/>
                <a:gd name="connsiteX32" fmla="*/ 551108 w 1219131"/>
                <a:gd name="connsiteY32" fmla="*/ 1036620 h 1218632"/>
                <a:gd name="connsiteX33" fmla="*/ 551108 w 1219131"/>
                <a:gd name="connsiteY33" fmla="*/ 163426 h 1218632"/>
                <a:gd name="connsiteX34" fmla="*/ 562720 w 1219131"/>
                <a:gd name="connsiteY34" fmla="*/ 151846 h 1218632"/>
                <a:gd name="connsiteX35" fmla="*/ 747130 w 1219131"/>
                <a:gd name="connsiteY35" fmla="*/ 151846 h 1218632"/>
                <a:gd name="connsiteX36" fmla="*/ 758710 w 1219131"/>
                <a:gd name="connsiteY36" fmla="*/ 163426 h 1218632"/>
                <a:gd name="connsiteX37" fmla="*/ 758677 w 1219131"/>
                <a:gd name="connsiteY37" fmla="*/ 1036620 h 1218632"/>
                <a:gd name="connsiteX38" fmla="*/ 747098 w 1219131"/>
                <a:gd name="connsiteY38" fmla="*/ 1048232 h 1218632"/>
                <a:gd name="connsiteX39" fmla="*/ 562721 w 1219131"/>
                <a:gd name="connsiteY39" fmla="*/ 1048232 h 1218632"/>
                <a:gd name="connsiteX40" fmla="*/ 551109 w 1219131"/>
                <a:gd name="connsiteY40" fmla="*/ 1036620 h 121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9131" h="1218632">
                  <a:moveTo>
                    <a:pt x="1164870" y="357582"/>
                  </a:moveTo>
                  <a:cubicBezTo>
                    <a:pt x="1026003" y="51687"/>
                    <a:pt x="663857" y="-84364"/>
                    <a:pt x="357606" y="54337"/>
                  </a:cubicBezTo>
                  <a:cubicBezTo>
                    <a:pt x="54683" y="192102"/>
                    <a:pt x="-85798" y="552111"/>
                    <a:pt x="54716" y="861601"/>
                  </a:cubicBezTo>
                  <a:cubicBezTo>
                    <a:pt x="196879" y="1174617"/>
                    <a:pt x="563165" y="1299987"/>
                    <a:pt x="861980" y="1164490"/>
                  </a:cubicBezTo>
                  <a:cubicBezTo>
                    <a:pt x="1167428" y="1025690"/>
                    <a:pt x="1303413" y="662575"/>
                    <a:pt x="1164870" y="357582"/>
                  </a:cubicBezTo>
                  <a:close/>
                  <a:moveTo>
                    <a:pt x="85901" y="847399"/>
                  </a:moveTo>
                  <a:cubicBezTo>
                    <a:pt x="25543" y="714329"/>
                    <a:pt x="20594" y="569708"/>
                    <a:pt x="60930" y="439445"/>
                  </a:cubicBezTo>
                  <a:lnTo>
                    <a:pt x="194356" y="439445"/>
                  </a:lnTo>
                  <a:cubicBezTo>
                    <a:pt x="200955" y="439445"/>
                    <a:pt x="205968" y="444394"/>
                    <a:pt x="205968" y="451024"/>
                  </a:cubicBezTo>
                  <a:lnTo>
                    <a:pt x="205968" y="1018348"/>
                  </a:lnTo>
                  <a:cubicBezTo>
                    <a:pt x="156026" y="969021"/>
                    <a:pt x="115726" y="913027"/>
                    <a:pt x="85899" y="847394"/>
                  </a:cubicBezTo>
                  <a:close/>
                  <a:moveTo>
                    <a:pt x="847688" y="1133272"/>
                  </a:moveTo>
                  <a:lnTo>
                    <a:pt x="847720" y="1133272"/>
                  </a:lnTo>
                  <a:cubicBezTo>
                    <a:pt x="668461" y="1214429"/>
                    <a:pt x="450763" y="1198256"/>
                    <a:pt x="282632" y="1082618"/>
                  </a:cubicBezTo>
                  <a:lnTo>
                    <a:pt x="889479" y="1082618"/>
                  </a:lnTo>
                  <a:lnTo>
                    <a:pt x="889479" y="1048266"/>
                  </a:lnTo>
                  <a:lnTo>
                    <a:pt x="790658" y="1048266"/>
                  </a:lnTo>
                  <a:cubicBezTo>
                    <a:pt x="791693" y="1044449"/>
                    <a:pt x="793020" y="1040762"/>
                    <a:pt x="793020" y="1036622"/>
                  </a:cubicBezTo>
                  <a:lnTo>
                    <a:pt x="793020" y="163428"/>
                  </a:lnTo>
                  <a:cubicBezTo>
                    <a:pt x="793020" y="138100"/>
                    <a:pt x="772415" y="117496"/>
                    <a:pt x="747088" y="117496"/>
                  </a:cubicBezTo>
                  <a:lnTo>
                    <a:pt x="562711" y="117496"/>
                  </a:lnTo>
                  <a:cubicBezTo>
                    <a:pt x="537383" y="117496"/>
                    <a:pt x="516746" y="138100"/>
                    <a:pt x="516746" y="163428"/>
                  </a:cubicBezTo>
                  <a:lnTo>
                    <a:pt x="516746" y="1036622"/>
                  </a:lnTo>
                  <a:cubicBezTo>
                    <a:pt x="516746" y="1040762"/>
                    <a:pt x="518073" y="1044450"/>
                    <a:pt x="519108" y="1048266"/>
                  </a:cubicBezTo>
                  <a:lnTo>
                    <a:pt x="238535" y="1048266"/>
                  </a:lnTo>
                  <a:cubicBezTo>
                    <a:pt x="239634" y="1044579"/>
                    <a:pt x="240314" y="1040730"/>
                    <a:pt x="240314" y="1036622"/>
                  </a:cubicBezTo>
                  <a:lnTo>
                    <a:pt x="240314" y="450990"/>
                  </a:lnTo>
                  <a:cubicBezTo>
                    <a:pt x="240314" y="425242"/>
                    <a:pt x="220129" y="405058"/>
                    <a:pt x="194349" y="405058"/>
                  </a:cubicBezTo>
                  <a:lnTo>
                    <a:pt x="72243" y="405058"/>
                  </a:lnTo>
                  <a:cubicBezTo>
                    <a:pt x="124062" y="268526"/>
                    <a:pt x="227439" y="151239"/>
                    <a:pt x="371704" y="85574"/>
                  </a:cubicBezTo>
                  <a:cubicBezTo>
                    <a:pt x="664086" y="-46751"/>
                    <a:pt x="1004395" y="87385"/>
                    <a:pt x="1133524" y="371770"/>
                  </a:cubicBezTo>
                  <a:cubicBezTo>
                    <a:pt x="1264300" y="659655"/>
                    <a:pt x="1135950" y="1002233"/>
                    <a:pt x="847676" y="1133266"/>
                  </a:cubicBezTo>
                  <a:close/>
                  <a:moveTo>
                    <a:pt x="551108" y="1036620"/>
                  </a:moveTo>
                  <a:lnTo>
                    <a:pt x="551108" y="163426"/>
                  </a:lnTo>
                  <a:cubicBezTo>
                    <a:pt x="551108" y="157054"/>
                    <a:pt x="556316" y="151846"/>
                    <a:pt x="562720" y="151846"/>
                  </a:cubicBezTo>
                  <a:lnTo>
                    <a:pt x="747130" y="151846"/>
                  </a:lnTo>
                  <a:cubicBezTo>
                    <a:pt x="753502" y="151846"/>
                    <a:pt x="758710" y="157054"/>
                    <a:pt x="758710" y="163426"/>
                  </a:cubicBezTo>
                  <a:lnTo>
                    <a:pt x="758677" y="1036620"/>
                  </a:lnTo>
                  <a:cubicBezTo>
                    <a:pt x="758677" y="1043025"/>
                    <a:pt x="753470" y="1048232"/>
                    <a:pt x="747098" y="1048232"/>
                  </a:cubicBezTo>
                  <a:lnTo>
                    <a:pt x="562721" y="1048232"/>
                  </a:lnTo>
                  <a:cubicBezTo>
                    <a:pt x="556316" y="1048232"/>
                    <a:pt x="551109" y="1043025"/>
                    <a:pt x="551109" y="103662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grpSp>
      <p:pic>
        <p:nvPicPr>
          <p:cNvPr id="21" name="Graphic 20" descr="Statistics outline">
            <a:extLst>
              <a:ext uri="{FF2B5EF4-FFF2-40B4-BE49-F238E27FC236}">
                <a16:creationId xmlns:a16="http://schemas.microsoft.com/office/drawing/2014/main" id="{A02DB943-65AC-D1D7-4AA2-566BA24EDD6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971800"/>
            <a:ext cx="914400" cy="914400"/>
          </a:xfrm>
          <a:prstGeom prst="rect">
            <a:avLst/>
          </a:prstGeom>
        </p:spPr>
      </p:pic>
      <p:pic>
        <p:nvPicPr>
          <p:cNvPr id="22" name="Graphic 21" descr="Folder Search outline">
            <a:extLst>
              <a:ext uri="{FF2B5EF4-FFF2-40B4-BE49-F238E27FC236}">
                <a16:creationId xmlns:a16="http://schemas.microsoft.com/office/drawing/2014/main" id="{BBFE119C-691D-04DC-387F-A690916A1852}"/>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8800" y="3121800"/>
            <a:ext cx="914400" cy="914400"/>
          </a:xfrm>
          <a:prstGeom prst="rect">
            <a:avLst/>
          </a:prstGeom>
        </p:spPr>
      </p:pic>
      <p:pic>
        <p:nvPicPr>
          <p:cNvPr id="23" name="Graphic 22" descr="Research outline">
            <a:extLst>
              <a:ext uri="{FF2B5EF4-FFF2-40B4-BE49-F238E27FC236}">
                <a16:creationId xmlns:a16="http://schemas.microsoft.com/office/drawing/2014/main" id="{F31AFABC-93C6-22C5-8BAE-96485CD1679E}"/>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1736" y="2739778"/>
            <a:ext cx="1707954" cy="1707954"/>
          </a:xfrm>
          <a:prstGeom prst="rect">
            <a:avLst/>
          </a:prstGeom>
        </p:spPr>
      </p:pic>
      <p:pic>
        <p:nvPicPr>
          <p:cNvPr id="25" name="Graphic 24" descr="Venn diagram outline">
            <a:extLst>
              <a:ext uri="{FF2B5EF4-FFF2-40B4-BE49-F238E27FC236}">
                <a16:creationId xmlns:a16="http://schemas.microsoft.com/office/drawing/2014/main" id="{FC5C1566-5F00-0424-9FB2-9596B07C5EAE}"/>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97660" y="5230437"/>
            <a:ext cx="914400" cy="914400"/>
          </a:xfrm>
          <a:prstGeom prst="rect">
            <a:avLst/>
          </a:prstGeom>
        </p:spPr>
      </p:pic>
      <p:pic>
        <p:nvPicPr>
          <p:cNvPr id="26" name="Graphic 25" descr="Bar chart outline">
            <a:extLst>
              <a:ext uri="{FF2B5EF4-FFF2-40B4-BE49-F238E27FC236}">
                <a16:creationId xmlns:a16="http://schemas.microsoft.com/office/drawing/2014/main" id="{74DCA857-4E14-CB6A-32AB-98CB567D368F}"/>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04695" y="5689713"/>
            <a:ext cx="914400" cy="914400"/>
          </a:xfrm>
          <a:prstGeom prst="rect">
            <a:avLst/>
          </a:prstGeom>
        </p:spPr>
      </p:pic>
      <p:pic>
        <p:nvPicPr>
          <p:cNvPr id="27" name="Graphic 26" descr="Pie chart outline">
            <a:extLst>
              <a:ext uri="{FF2B5EF4-FFF2-40B4-BE49-F238E27FC236}">
                <a16:creationId xmlns:a16="http://schemas.microsoft.com/office/drawing/2014/main" id="{31208FB0-A696-48AB-190F-FFE491CE754A}"/>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0592" y="1510761"/>
            <a:ext cx="914400" cy="914400"/>
          </a:xfrm>
          <a:prstGeom prst="rect">
            <a:avLst/>
          </a:prstGeom>
        </p:spPr>
      </p:pic>
      <p:pic>
        <p:nvPicPr>
          <p:cNvPr id="28" name="Graphic 27" descr="Presentation with pie chart outline">
            <a:extLst>
              <a:ext uri="{FF2B5EF4-FFF2-40B4-BE49-F238E27FC236}">
                <a16:creationId xmlns:a16="http://schemas.microsoft.com/office/drawing/2014/main" id="{F7835DD3-0938-A993-8E04-CE10FD6E1EAF}"/>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290625" y="5255378"/>
            <a:ext cx="914400" cy="914400"/>
          </a:xfrm>
          <a:prstGeom prst="rect">
            <a:avLst/>
          </a:prstGeom>
        </p:spPr>
      </p:pic>
    </p:spTree>
    <p:extLst>
      <p:ext uri="{BB962C8B-B14F-4D97-AF65-F5344CB8AC3E}">
        <p14:creationId xmlns:p14="http://schemas.microsoft.com/office/powerpoint/2010/main" val="37827603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Option 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3057514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4A727BF-EF41-4850-A868-11C0325A6C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8" name="Picture 7" descr="A large body of water with a city in the background&#10;&#10;Description automatically generated">
            <a:extLst>
              <a:ext uri="{FF2B5EF4-FFF2-40B4-BE49-F238E27FC236}">
                <a16:creationId xmlns:a16="http://schemas.microsoft.com/office/drawing/2014/main" id="{A415120D-3668-49C1-AE11-A5139E17FB7D}"/>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214" t="3933" r="2214" b="3933"/>
          <a:stretch/>
        </p:blipFill>
        <p:spPr>
          <a:xfrm>
            <a:off x="269998" y="270000"/>
            <a:ext cx="11652001" cy="6318000"/>
          </a:xfrm>
          <a:prstGeom prst="rect">
            <a:avLst/>
          </a:prstGeom>
        </p:spPr>
      </p:pic>
      <p:sp>
        <p:nvSpPr>
          <p:cNvPr id="13" name="Rectangle 12">
            <a:extLst>
              <a:ext uri="{FF2B5EF4-FFF2-40B4-BE49-F238E27FC236}">
                <a16:creationId xmlns:a16="http://schemas.microsoft.com/office/drawing/2014/main" id="{7BE857BB-5DDF-4AEA-8F22-D5F9820E5C07}"/>
              </a:ext>
            </a:extLst>
          </p:cNvPr>
          <p:cNvSpPr/>
          <p:nvPr userDrawn="1"/>
        </p:nvSpPr>
        <p:spPr>
          <a:xfrm>
            <a:off x="536448" y="540000"/>
            <a:ext cx="6363891" cy="631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66686"/>
            <a:ext cx="5337943" cy="1231106"/>
          </a:xfrm>
        </p:spPr>
        <p:txBody>
          <a:bodyPr vert="horz" wrap="square" lIns="0" tIns="0" rIns="0" bIns="0" rtlCol="0" anchor="b">
            <a:spAutoFit/>
          </a:bodyPr>
          <a:lstStyle>
            <a:lvl1pPr rtl="0">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337943" cy="292388"/>
          </a:xfrm>
        </p:spPr>
        <p:txBody>
          <a:bodyPr vert="horz" wrap="square" lIns="0" tIns="0" rIns="0" bIns="0" rtlCol="0" anchor="t">
            <a:spAutoFit/>
          </a:bodyPr>
          <a:lstStyle>
            <a:lvl1pPr rtl="0">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354392" cy="193899"/>
          </a:xfrm>
          <a:prstGeom prst="rect">
            <a:avLst/>
          </a:prstGeom>
        </p:spPr>
        <p:txBody>
          <a:bodyPr vert="horz" wrap="none" lIns="0" tIns="0" rIns="0" bIns="0" rtlCol="0" anchor="t">
            <a:spAutoFit/>
          </a:bodyPr>
          <a:lstStyle>
            <a:lvl1pPr rtl="0">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r>
              <a:rPr lang="en-US" dirty="0"/>
              <a:t>Date</a:t>
            </a:r>
          </a:p>
        </p:txBody>
      </p:sp>
      <p:pic>
        <p:nvPicPr>
          <p:cNvPr id="4" name="Graphic 11">
            <a:extLst>
              <a:ext uri="{FF2B5EF4-FFF2-40B4-BE49-F238E27FC236}">
                <a16:creationId xmlns:a16="http://schemas.microsoft.com/office/drawing/2014/main" id="{B9BA6199-7E92-7EFC-7237-13A5C27023D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905256" y="905256"/>
            <a:ext cx="2496312" cy="576072"/>
          </a:xfrm>
          <a:prstGeom prst="rect">
            <a:avLst/>
          </a:prstGeom>
        </p:spPr>
      </p:pic>
    </p:spTree>
    <p:extLst>
      <p:ext uri="{BB962C8B-B14F-4D97-AF65-F5344CB8AC3E}">
        <p14:creationId xmlns:p14="http://schemas.microsoft.com/office/powerpoint/2010/main" val="26099458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1/3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7742239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3228622"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sp>
        <p:nvSpPr>
          <p:cNvPr id="9" name="Footer Placeholder 4">
            <a:extLst>
              <a:ext uri="{FF2B5EF4-FFF2-40B4-BE49-F238E27FC236}">
                <a16:creationId xmlns:a16="http://schemas.microsoft.com/office/drawing/2014/main" id="{2727F30D-9242-4A88-9322-2EDE74F75B38}"/>
              </a:ext>
            </a:extLst>
          </p:cNvPr>
          <p:cNvSpPr>
            <a:spLocks noGrp="1"/>
          </p:cNvSpPr>
          <p:nvPr>
            <p:ph type="ftr" sz="quarter" idx="3"/>
          </p:nvPr>
        </p:nvSpPr>
        <p:spPr>
          <a:xfrm>
            <a:off x="436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4" name="Title 3">
            <a:extLst>
              <a:ext uri="{FF2B5EF4-FFF2-40B4-BE49-F238E27FC236}">
                <a16:creationId xmlns:a16="http://schemas.microsoft.com/office/drawing/2014/main" id="{CE1BEDEA-6CDE-421B-87A1-0632A5F947FD}"/>
              </a:ext>
            </a:extLst>
          </p:cNvPr>
          <p:cNvSpPr>
            <a:spLocks noGrp="1"/>
          </p:cNvSpPr>
          <p:nvPr>
            <p:ph type="title"/>
          </p:nvPr>
        </p:nvSpPr>
        <p:spPr>
          <a:xfrm>
            <a:off x="3387255" y="560588"/>
            <a:ext cx="8253579" cy="418576"/>
          </a:xfrm>
        </p:spPr>
        <p:txBody>
          <a:bodyPr vert="horz" wrap="square" lIns="0" tIns="0" rIns="0" bIns="0" rtlCol="0" anchor="t">
            <a:spAutoFit/>
          </a:bodyPr>
          <a:lstStyle>
            <a:lvl1pPr rtl="0">
              <a:defRPr lang="en-IN" dirty="0">
                <a:solidFill>
                  <a:schemeClr val="bg1"/>
                </a:solidFill>
              </a:defRPr>
            </a:lvl1pPr>
          </a:lstStyle>
          <a:p>
            <a:pPr lvl="0">
              <a:lnSpc>
                <a:spcPct val="85000"/>
              </a:lnSpc>
            </a:pPr>
            <a:r>
              <a:rPr lang="en-US" dirty="0"/>
              <a:t>Click to edit Master title style</a:t>
            </a:r>
          </a:p>
        </p:txBody>
      </p:sp>
    </p:spTree>
    <p:extLst>
      <p:ext uri="{BB962C8B-B14F-4D97-AF65-F5344CB8AC3E}">
        <p14:creationId xmlns:p14="http://schemas.microsoft.com/office/powerpoint/2010/main" val="24409524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1/3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9767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727F30D-9242-4A88-9322-2EDE74F75B38}"/>
              </a:ext>
            </a:extLst>
          </p:cNvPr>
          <p:cNvSpPr>
            <a:spLocks noGrp="1"/>
          </p:cNvSpPr>
          <p:nvPr>
            <p:ph type="ftr" sz="quarter" idx="3"/>
          </p:nvPr>
        </p:nvSpPr>
        <p:spPr>
          <a:xfrm>
            <a:off x="436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4" name="Title 3">
            <a:extLst>
              <a:ext uri="{FF2B5EF4-FFF2-40B4-BE49-F238E27FC236}">
                <a16:creationId xmlns:a16="http://schemas.microsoft.com/office/drawing/2014/main" id="{CE1BEDEA-6CDE-421B-87A1-0632A5F947FD}"/>
              </a:ext>
            </a:extLst>
          </p:cNvPr>
          <p:cNvSpPr>
            <a:spLocks noGrp="1"/>
          </p:cNvSpPr>
          <p:nvPr>
            <p:ph type="title"/>
          </p:nvPr>
        </p:nvSpPr>
        <p:spPr>
          <a:xfrm>
            <a:off x="531813" y="560588"/>
            <a:ext cx="3135726" cy="837152"/>
          </a:xfrm>
        </p:spPr>
        <p:txBody>
          <a:bodyPr vert="horz" wrap="square" lIns="0" tIns="0" rIns="0" bIns="0" rtlCol="0" anchor="t">
            <a:spAutoFit/>
          </a:bodyPr>
          <a:lstStyle>
            <a:lvl1pPr rtl="0">
              <a:defRPr lang="en-IN" dirty="0">
                <a:solidFill>
                  <a:schemeClr val="bg1"/>
                </a:solidFill>
              </a:defRPr>
            </a:lvl1pPr>
          </a:lstStyle>
          <a:p>
            <a:pPr lvl="0">
              <a:lnSpc>
                <a:spcPct val="85000"/>
              </a:lnSpc>
            </a:pPr>
            <a:r>
              <a:rPr lang="en-US" dirty="0"/>
              <a:t>Click to edit Master title style</a:t>
            </a:r>
          </a:p>
        </p:txBody>
      </p:sp>
      <p:pic>
        <p:nvPicPr>
          <p:cNvPr id="2" name="Picture 1">
            <a:extLst>
              <a:ext uri="{FF2B5EF4-FFF2-40B4-BE49-F238E27FC236}">
                <a16:creationId xmlns:a16="http://schemas.microsoft.com/office/drawing/2014/main" id="{F4D6B053-BD12-BF67-B7E6-B46B6378310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4059776" cy="6858000"/>
          </a:xfrm>
          <a:prstGeom prst="rect">
            <a:avLst/>
          </a:prstGeom>
        </p:spPr>
      </p:pic>
    </p:spTree>
    <p:extLst>
      <p:ext uri="{BB962C8B-B14F-4D97-AF65-F5344CB8AC3E}">
        <p14:creationId xmlns:p14="http://schemas.microsoft.com/office/powerpoint/2010/main" val="38217861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 Blue on Left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3638379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8FBABF1-7718-43F6-B247-8269F95D220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45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1" y="2546064"/>
            <a:ext cx="3032465" cy="1765868"/>
          </a:xfrm>
        </p:spPr>
        <p:txBody>
          <a:bodyPr vert="horz" wrap="square" lIns="0" tIns="0" rIns="0" bIns="0" rtlCol="0" anchor="ctr">
            <a:spAutoFit/>
          </a:bodyPr>
          <a:lstStyle>
            <a:lvl1pPr rtl="0">
              <a:defRPr lang="en-US" sz="4500" dirty="0">
                <a:solidFill>
                  <a:schemeClr val="bg1"/>
                </a:solidFill>
              </a:defRPr>
            </a:lvl1pPr>
          </a:lstStyle>
          <a:p>
            <a:pPr lvl="0">
              <a:lnSpc>
                <a:spcPct val="85000"/>
              </a:lnSpc>
            </a:pPr>
            <a:r>
              <a:rPr lang="en-US" dirty="0"/>
              <a:t>Click to edit Master title style</a:t>
            </a: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sp>
        <p:nvSpPr>
          <p:cNvPr id="8" name="Footer Placeholder 4">
            <a:extLst>
              <a:ext uri="{FF2B5EF4-FFF2-40B4-BE49-F238E27FC236}">
                <a16:creationId xmlns:a16="http://schemas.microsoft.com/office/drawing/2014/main" id="{2FE6F1C9-C479-4E50-B466-BBB81EB0E192}"/>
              </a:ext>
            </a:extLst>
          </p:cNvPr>
          <p:cNvSpPr>
            <a:spLocks noGrp="1"/>
          </p:cNvSpPr>
          <p:nvPr>
            <p:ph type="ftr" sz="quarter" idx="3"/>
          </p:nvPr>
        </p:nvSpPr>
        <p:spPr>
          <a:xfrm>
            <a:off x="436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Tree>
    <p:extLst>
      <p:ext uri="{BB962C8B-B14F-4D97-AF65-F5344CB8AC3E}">
        <p14:creationId xmlns:p14="http://schemas.microsoft.com/office/powerpoint/2010/main" val="28263612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37095165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AAE3F72-88DF-4B4D-99C2-2DFE1EFB169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6098537"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6B7F38A5-E451-48CD-9B09-4D22AB98C63C}"/>
              </a:ext>
            </a:extLst>
          </p:cNvPr>
          <p:cNvSpPr>
            <a:spLocks noGrp="1"/>
          </p:cNvSpPr>
          <p:nvPr>
            <p:ph type="ftr" sz="quarter" idx="3"/>
          </p:nvPr>
        </p:nvSpPr>
        <p:spPr>
          <a:xfrm>
            <a:off x="549232"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4" name="Title 3">
            <a:extLst>
              <a:ext uri="{FF2B5EF4-FFF2-40B4-BE49-F238E27FC236}">
                <a16:creationId xmlns:a16="http://schemas.microsoft.com/office/drawing/2014/main" id="{7E2586D8-6C60-41B6-B276-7BF701FEAA10}"/>
              </a:ext>
            </a:extLst>
          </p:cNvPr>
          <p:cNvSpPr>
            <a:spLocks noGrp="1"/>
          </p:cNvSpPr>
          <p:nvPr>
            <p:ph type="title"/>
          </p:nvPr>
        </p:nvSpPr>
        <p:spPr>
          <a:xfrm>
            <a:off x="531813" y="560588"/>
            <a:ext cx="5163309" cy="837152"/>
          </a:xfrm>
        </p:spPr>
        <p:txBody>
          <a:bodyPr vert="horz" wrap="square" lIns="0" tIns="0" rIns="0" bIns="0" rtlCol="0" anchor="t">
            <a:spAutoFit/>
          </a:bodyPr>
          <a:lstStyle>
            <a:lvl1pPr rtl="0">
              <a:defRPr lang="en-IN" dirty="0">
                <a:solidFill>
                  <a:schemeClr val="bg1"/>
                </a:solidFill>
              </a:defRPr>
            </a:lvl1pPr>
          </a:lstStyle>
          <a:p>
            <a:pPr lvl="0">
              <a:lnSpc>
                <a:spcPct val="85000"/>
              </a:lnSpc>
            </a:pPr>
            <a:r>
              <a:rPr lang="en-US" dirty="0"/>
              <a:t>Click to edit Master title style</a:t>
            </a:r>
          </a:p>
        </p:txBody>
      </p:sp>
    </p:spTree>
    <p:extLst>
      <p:ext uri="{BB962C8B-B14F-4D97-AF65-F5344CB8AC3E}">
        <p14:creationId xmlns:p14="http://schemas.microsoft.com/office/powerpoint/2010/main" val="24904660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adient 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1086870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3" y="6465614"/>
            <a:ext cx="150682" cy="138499"/>
          </a:xfrm>
        </p:spPr>
        <p:txBody>
          <a:bodyPr/>
          <a:lstStyle>
            <a:lvl1pPr rtl="0">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sp>
        <p:nvSpPr>
          <p:cNvPr id="26" name="Footer Placeholder 4">
            <a:extLst>
              <a:ext uri="{FF2B5EF4-FFF2-40B4-BE49-F238E27FC236}">
                <a16:creationId xmlns:a16="http://schemas.microsoft.com/office/drawing/2014/main" id="{50D61507-3612-4ECE-96B7-0F9C15D34247}"/>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grpSp>
        <p:nvGrpSpPr>
          <p:cNvPr id="27" name="Group 26">
            <a:extLst>
              <a:ext uri="{FF2B5EF4-FFF2-40B4-BE49-F238E27FC236}">
                <a16:creationId xmlns:a16="http://schemas.microsoft.com/office/drawing/2014/main" id="{5CE9086E-00AC-4525-B7C4-F51B01FEA197}"/>
              </a:ext>
            </a:extLst>
          </p:cNvPr>
          <p:cNvGrpSpPr/>
          <p:nvPr userDrawn="1"/>
        </p:nvGrpSpPr>
        <p:grpSpPr>
          <a:xfrm>
            <a:off x="11979441" y="4535494"/>
            <a:ext cx="110800" cy="2041948"/>
            <a:chOff x="11979441" y="4535494"/>
            <a:chExt cx="110800" cy="2041948"/>
          </a:xfrm>
        </p:grpSpPr>
        <p:grpSp>
          <p:nvGrpSpPr>
            <p:cNvPr id="28" name="Group 27">
              <a:extLst>
                <a:ext uri="{FF2B5EF4-FFF2-40B4-BE49-F238E27FC236}">
                  <a16:creationId xmlns:a16="http://schemas.microsoft.com/office/drawing/2014/main" id="{5F2864F8-CE03-42D9-A1C6-49C13A909289}"/>
                </a:ext>
              </a:extLst>
            </p:cNvPr>
            <p:cNvGrpSpPr/>
            <p:nvPr userDrawn="1"/>
          </p:nvGrpSpPr>
          <p:grpSpPr>
            <a:xfrm>
              <a:off x="11998460" y="6135518"/>
              <a:ext cx="68500" cy="441924"/>
              <a:chOff x="11998459" y="6162188"/>
              <a:chExt cx="68500" cy="441924"/>
            </a:xfrm>
          </p:grpSpPr>
          <p:sp>
            <p:nvSpPr>
              <p:cNvPr id="30" name="Freeform: Shape 29">
                <a:extLst>
                  <a:ext uri="{FF2B5EF4-FFF2-40B4-BE49-F238E27FC236}">
                    <a16:creationId xmlns:a16="http://schemas.microsoft.com/office/drawing/2014/main" id="{8DDB86A9-D96F-4924-9B1A-50C360C15742}"/>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86074501-3762-407F-A74D-3799FEAFBD37}"/>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73D29F00-385D-4638-BD08-A8B98A323401}"/>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E2A3DD6C-1362-40F5-A7B3-2E963C5D94FF}"/>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6616E241-6E09-4071-B657-CE4E7BB5CD37}"/>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6A9939C2-C1A3-49F7-A69F-F2E83814F06B}"/>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4C6484D2-FDEB-453B-ACAB-605BDF0437F1}"/>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E626162E-D8C5-4F77-A6A1-E2B6C7CABFC3}"/>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16446D18-F2A6-4A1D-9193-2C1738C1053D}"/>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86A74D8F-C94B-4FE0-9FED-86918ACD7711}"/>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FE130351-367D-46DC-AEF2-11BF681D6F21}"/>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1295B187-375A-4BC1-8930-8B6FB7B25415}"/>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2" name="Freeform: Shape 41">
                <a:extLst>
                  <a:ext uri="{FF2B5EF4-FFF2-40B4-BE49-F238E27FC236}">
                    <a16:creationId xmlns:a16="http://schemas.microsoft.com/office/drawing/2014/main" id="{D987C9E7-CE53-4EC9-8C60-48477925BADC}"/>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9" name="Copyright">
              <a:extLst>
                <a:ext uri="{FF2B5EF4-FFF2-40B4-BE49-F238E27FC236}">
                  <a16:creationId xmlns:a16="http://schemas.microsoft.com/office/drawing/2014/main" id="{7F3EFBBF-8F6E-4F95-970D-289D95FB3EDE}"/>
                </a:ext>
              </a:extLst>
            </p:cNvPr>
            <p:cNvSpPr txBox="1"/>
            <p:nvPr userDrawn="1"/>
          </p:nvSpPr>
          <p:spPr>
            <a:xfrm rot="16200000">
              <a:off x="11250972" y="526396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rtl="0"/>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2. All rights reserved.</a:t>
              </a:r>
            </a:p>
          </p:txBody>
        </p:sp>
      </p:grpSp>
    </p:spTree>
    <p:extLst>
      <p:ext uri="{BB962C8B-B14F-4D97-AF65-F5344CB8AC3E}">
        <p14:creationId xmlns:p14="http://schemas.microsoft.com/office/powerpoint/2010/main" val="14102296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adient BG (with Titl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2558121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cs typeface="Calibri" panose="020F0502020204030204" pitchFamily="34" charset="0"/>
              <a:sym typeface="Calibri" panose="020F0502020204030204" pitchFamily="34" charset="0"/>
            </a:endParaRPr>
          </a:p>
        </p:txBody>
      </p:sp>
      <p:cxnSp>
        <p:nvCxnSpPr>
          <p:cNvPr id="6" name="Straight Connector 5">
            <a:extLst>
              <a:ext uri="{FF2B5EF4-FFF2-40B4-BE49-F238E27FC236}">
                <a16:creationId xmlns:a16="http://schemas.microsoft.com/office/drawing/2014/main" id="{AC27F5F1-6E1A-43D9-B04D-DEEBA03354E7}"/>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878A702-A86E-4356-99F5-6CC007B3A84C}"/>
              </a:ext>
            </a:extLst>
          </p:cNvPr>
          <p:cNvGrpSpPr/>
          <p:nvPr userDrawn="1"/>
        </p:nvGrpSpPr>
        <p:grpSpPr>
          <a:xfrm>
            <a:off x="11998459" y="6162188"/>
            <a:ext cx="68500" cy="441924"/>
            <a:chOff x="11998459" y="6162188"/>
            <a:chExt cx="68500" cy="441924"/>
          </a:xfrm>
          <a:solidFill>
            <a:schemeClr val="bg1"/>
          </a:solidFill>
        </p:grpSpPr>
        <p:sp>
          <p:nvSpPr>
            <p:cNvPr id="8" name="Freeform: Shape 7">
              <a:extLst>
                <a:ext uri="{FF2B5EF4-FFF2-40B4-BE49-F238E27FC236}">
                  <a16:creationId xmlns:a16="http://schemas.microsoft.com/office/drawing/2014/main" id="{E75A2218-59DA-4B99-8DEE-5DF1044A636F}"/>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7E8F166A-EB8B-4235-A114-5C9D062319D5}"/>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E2FC6C6B-C81D-4FE7-9F3B-65F6B734168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EB88EBE5-A780-49FB-9EAB-A8F48E23FAC5}"/>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ADB921C-741F-494D-9C24-2E06B3F237E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2CBAA18-CC04-464C-B2DA-F60F1DFE63B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B7D25102-BF68-4480-830D-1A1BE174C73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2EE8638F-0CD8-4C03-9847-FAF25CBB620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8A481A8A-8F5D-40BC-B59F-D4CEF2254BB7}"/>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350965BC-1532-45A0-8F0A-37DAEC7BBE6F}"/>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C1AF2FC-06E9-481D-AAD4-A185594C60F4}"/>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A1342B2-AEC9-4B66-9503-4CFC2ED0B897}"/>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41AC723-9EBC-48CA-B1C7-D2D5419421B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4" name="Copyright">
            <a:extLst>
              <a:ext uri="{FF2B5EF4-FFF2-40B4-BE49-F238E27FC236}">
                <a16:creationId xmlns:a16="http://schemas.microsoft.com/office/drawing/2014/main" id="{2B7A128F-26DE-473C-95DA-CCAF4D373141}"/>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rtl="0"/>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2. All rights reserved.</a:t>
            </a:r>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3" y="6465614"/>
            <a:ext cx="150682" cy="138499"/>
          </a:xfrm>
        </p:spPr>
        <p:txBody>
          <a:bodyPr/>
          <a:lstStyle>
            <a:lvl1pPr rtl="0">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sp>
        <p:nvSpPr>
          <p:cNvPr id="26" name="Footer Placeholder 4">
            <a:extLst>
              <a:ext uri="{FF2B5EF4-FFF2-40B4-BE49-F238E27FC236}">
                <a16:creationId xmlns:a16="http://schemas.microsoft.com/office/drawing/2014/main" id="{50D61507-3612-4ECE-96B7-0F9C15D34247}"/>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3" name="Title 2">
            <a:extLst>
              <a:ext uri="{FF2B5EF4-FFF2-40B4-BE49-F238E27FC236}">
                <a16:creationId xmlns:a16="http://schemas.microsoft.com/office/drawing/2014/main" id="{22EDF673-966E-4DCD-9A9F-89CC749ED8A0}"/>
              </a:ext>
            </a:extLst>
          </p:cNvPr>
          <p:cNvSpPr>
            <a:spLocks noGrp="1"/>
          </p:cNvSpPr>
          <p:nvPr>
            <p:ph type="title"/>
          </p:nvPr>
        </p:nvSpPr>
        <p:spPr>
          <a:xfrm>
            <a:off x="531813" y="560588"/>
            <a:ext cx="11089972" cy="418576"/>
          </a:xfrm>
        </p:spPr>
        <p:txBody>
          <a:bodyPr vert="horz"/>
          <a:lstStyle>
            <a:lvl1pPr rtl="0">
              <a:lnSpc>
                <a:spcPct val="85000"/>
              </a:lnSpc>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705377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 Blue on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991963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7E2B9A3-0AB0-4FA9-BE30-99B8A88EB12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8134763" y="-1"/>
            <a:ext cx="4059776"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3" y="6445294"/>
            <a:ext cx="150683" cy="138499"/>
          </a:xfrm>
        </p:spPr>
        <p:txBody>
          <a:bodyPr/>
          <a:lstStyle>
            <a:lvl1pPr rtl="0">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cxnSp>
        <p:nvCxnSpPr>
          <p:cNvPr id="7" name="Straight Connector 6">
            <a:extLst>
              <a:ext uri="{FF2B5EF4-FFF2-40B4-BE49-F238E27FC236}">
                <a16:creationId xmlns:a16="http://schemas.microsoft.com/office/drawing/2014/main" id="{747BD8F9-1D4E-4291-8770-E69192472F2F}"/>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ooter Placeholder 4">
            <a:extLst>
              <a:ext uri="{FF2B5EF4-FFF2-40B4-BE49-F238E27FC236}">
                <a16:creationId xmlns:a16="http://schemas.microsoft.com/office/drawing/2014/main" id="{767490F9-4012-46F8-ABED-EB2AEB970D53}"/>
              </a:ext>
            </a:extLst>
          </p:cNvPr>
          <p:cNvSpPr>
            <a:spLocks noGrp="1"/>
          </p:cNvSpPr>
          <p:nvPr>
            <p:ph type="ftr" sz="quarter" idx="3"/>
          </p:nvPr>
        </p:nvSpPr>
        <p:spPr>
          <a:xfrm>
            <a:off x="550862"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grpSp>
        <p:nvGrpSpPr>
          <p:cNvPr id="24" name="Group 23">
            <a:extLst>
              <a:ext uri="{FF2B5EF4-FFF2-40B4-BE49-F238E27FC236}">
                <a16:creationId xmlns:a16="http://schemas.microsoft.com/office/drawing/2014/main" id="{9BFAF012-FF52-4660-B1EB-E3DAD4E5D0D9}"/>
              </a:ext>
            </a:extLst>
          </p:cNvPr>
          <p:cNvGrpSpPr/>
          <p:nvPr userDrawn="1"/>
        </p:nvGrpSpPr>
        <p:grpSpPr>
          <a:xfrm>
            <a:off x="11979441" y="4535494"/>
            <a:ext cx="110800" cy="2041948"/>
            <a:chOff x="11979441" y="4535494"/>
            <a:chExt cx="110800" cy="2041948"/>
          </a:xfrm>
        </p:grpSpPr>
        <p:grpSp>
          <p:nvGrpSpPr>
            <p:cNvPr id="26" name="Group 25">
              <a:extLst>
                <a:ext uri="{FF2B5EF4-FFF2-40B4-BE49-F238E27FC236}">
                  <a16:creationId xmlns:a16="http://schemas.microsoft.com/office/drawing/2014/main" id="{563A8AA3-AFD6-4F1D-95AB-D3C5F7E6A748}"/>
                </a:ext>
              </a:extLst>
            </p:cNvPr>
            <p:cNvGrpSpPr/>
            <p:nvPr userDrawn="1"/>
          </p:nvGrpSpPr>
          <p:grpSpPr>
            <a:xfrm>
              <a:off x="11998460" y="6135518"/>
              <a:ext cx="68500" cy="441924"/>
              <a:chOff x="11998459" y="6162188"/>
              <a:chExt cx="68500" cy="441924"/>
            </a:xfrm>
          </p:grpSpPr>
          <p:sp>
            <p:nvSpPr>
              <p:cNvPr id="28" name="Freeform: Shape 27">
                <a:extLst>
                  <a:ext uri="{FF2B5EF4-FFF2-40B4-BE49-F238E27FC236}">
                    <a16:creationId xmlns:a16="http://schemas.microsoft.com/office/drawing/2014/main" id="{781A09B8-B6D7-496D-AC8E-E2CC99E1F047}"/>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Freeform: Shape 28">
                <a:extLst>
                  <a:ext uri="{FF2B5EF4-FFF2-40B4-BE49-F238E27FC236}">
                    <a16:creationId xmlns:a16="http://schemas.microsoft.com/office/drawing/2014/main" id="{77B1E538-1876-4C5E-8612-52D93329CC93}"/>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BEB775BB-2E5F-4B32-9B48-8DE1DD506FB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FDF313EF-4694-4121-BF30-C1139E1F9D1C}"/>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6F3BB4C7-5441-4DAF-B428-07833129A3C4}"/>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4ADF2282-0F9C-41BD-8919-3F118F7AFA19}"/>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107EBF3C-B087-4F18-8637-DB3F73785049}"/>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FE95DEE8-DE4E-456F-B56B-0D9C34409112}"/>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34E317DF-5709-4B5E-A764-DBE2AC16DCAC}"/>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ABAA8A11-8055-4872-829E-9B4ACFB0448C}"/>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F3D0752F-4BE1-4DEA-9A91-C12628B9D905}"/>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227F6B00-C84C-430B-B7C2-DFB7384C7332}"/>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C86C1E6A-A2B0-4B52-82F6-EA7C2BB679FC}"/>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7" name="Copyright">
              <a:extLst>
                <a:ext uri="{FF2B5EF4-FFF2-40B4-BE49-F238E27FC236}">
                  <a16:creationId xmlns:a16="http://schemas.microsoft.com/office/drawing/2014/main" id="{6F9ADEBF-B227-47BA-9FFB-3881EE358DB3}"/>
                </a:ext>
              </a:extLst>
            </p:cNvPr>
            <p:cNvSpPr txBox="1"/>
            <p:nvPr userDrawn="1"/>
          </p:nvSpPr>
          <p:spPr>
            <a:xfrm rot="16200000">
              <a:off x="11250972" y="526396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rtl="0"/>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2. All rights reserved.</a:t>
              </a:r>
            </a:p>
          </p:txBody>
        </p:sp>
      </p:grpSp>
      <p:sp>
        <p:nvSpPr>
          <p:cNvPr id="4" name="Title 3">
            <a:extLst>
              <a:ext uri="{FF2B5EF4-FFF2-40B4-BE49-F238E27FC236}">
                <a16:creationId xmlns:a16="http://schemas.microsoft.com/office/drawing/2014/main" id="{D6CAC9C2-9DC0-4151-8814-3516E0ADB8BC}"/>
              </a:ext>
            </a:extLst>
          </p:cNvPr>
          <p:cNvSpPr>
            <a:spLocks noGrp="1"/>
          </p:cNvSpPr>
          <p:nvPr>
            <p:ph type="title"/>
          </p:nvPr>
        </p:nvSpPr>
        <p:spPr>
          <a:xfrm>
            <a:off x="531813" y="560588"/>
            <a:ext cx="7061683" cy="422295"/>
          </a:xfrm>
        </p:spPr>
        <p:txBody>
          <a:bodyPr vert="horz" wrap="square" lIns="0" tIns="0" rIns="0" bIns="0" rtlCol="0" anchor="t">
            <a:spAutoFit/>
          </a:bodyPr>
          <a:lstStyle>
            <a:lvl1pPr rtl="0">
              <a:defRPr lang="en-IN" dirty="0">
                <a:solidFill>
                  <a:schemeClr val="tx2"/>
                </a:solidFill>
              </a:defRPr>
            </a:lvl1pPr>
          </a:lstStyle>
          <a:p>
            <a:pPr lvl="0">
              <a:lnSpc>
                <a:spcPct val="85000"/>
              </a:lnSpc>
            </a:pPr>
            <a:r>
              <a:rPr lang="en-US" dirty="0"/>
              <a:t>Click to edit Master title style</a:t>
            </a:r>
          </a:p>
        </p:txBody>
      </p:sp>
    </p:spTree>
    <p:extLst>
      <p:ext uri="{BB962C8B-B14F-4D97-AF65-F5344CB8AC3E}">
        <p14:creationId xmlns:p14="http://schemas.microsoft.com/office/powerpoint/2010/main" val="26505082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Blue on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745207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DC2C367-8056-426B-81B2-4B2C7238E5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6096000" y="-1"/>
            <a:ext cx="6098539"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3" y="6445294"/>
            <a:ext cx="150683" cy="138499"/>
          </a:xfrm>
        </p:spPr>
        <p:txBody>
          <a:bodyPr/>
          <a:lstStyle>
            <a:lvl1pPr rtl="0">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cxnSp>
        <p:nvCxnSpPr>
          <p:cNvPr id="9" name="Straight Connector 8">
            <a:extLst>
              <a:ext uri="{FF2B5EF4-FFF2-40B4-BE49-F238E27FC236}">
                <a16:creationId xmlns:a16="http://schemas.microsoft.com/office/drawing/2014/main" id="{C8C5468B-3210-455B-960F-ACC92937B434}"/>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Footer Placeholder 4">
            <a:extLst>
              <a:ext uri="{FF2B5EF4-FFF2-40B4-BE49-F238E27FC236}">
                <a16:creationId xmlns:a16="http://schemas.microsoft.com/office/drawing/2014/main" id="{D9F423ED-15C9-4DBA-A5CC-A74A55A44E25}"/>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grpSp>
        <p:nvGrpSpPr>
          <p:cNvPr id="25" name="Group 24">
            <a:extLst>
              <a:ext uri="{FF2B5EF4-FFF2-40B4-BE49-F238E27FC236}">
                <a16:creationId xmlns:a16="http://schemas.microsoft.com/office/drawing/2014/main" id="{8623CBF1-457C-4491-90EE-6DE3BD9C2B8C}"/>
              </a:ext>
            </a:extLst>
          </p:cNvPr>
          <p:cNvGrpSpPr/>
          <p:nvPr userDrawn="1"/>
        </p:nvGrpSpPr>
        <p:grpSpPr>
          <a:xfrm>
            <a:off x="11979441" y="4535494"/>
            <a:ext cx="110800" cy="2041948"/>
            <a:chOff x="11979441" y="4535494"/>
            <a:chExt cx="110800" cy="2041948"/>
          </a:xfrm>
        </p:grpSpPr>
        <p:grpSp>
          <p:nvGrpSpPr>
            <p:cNvPr id="27" name="Group 26">
              <a:extLst>
                <a:ext uri="{FF2B5EF4-FFF2-40B4-BE49-F238E27FC236}">
                  <a16:creationId xmlns:a16="http://schemas.microsoft.com/office/drawing/2014/main" id="{8C5D61D5-4D53-4B2F-830C-7C2D09806F89}"/>
                </a:ext>
              </a:extLst>
            </p:cNvPr>
            <p:cNvGrpSpPr/>
            <p:nvPr userDrawn="1"/>
          </p:nvGrpSpPr>
          <p:grpSpPr>
            <a:xfrm>
              <a:off x="11998460" y="6135518"/>
              <a:ext cx="68500" cy="441924"/>
              <a:chOff x="11998459" y="6162188"/>
              <a:chExt cx="68500" cy="441924"/>
            </a:xfrm>
          </p:grpSpPr>
          <p:sp>
            <p:nvSpPr>
              <p:cNvPr id="29" name="Freeform: Shape 28">
                <a:extLst>
                  <a:ext uri="{FF2B5EF4-FFF2-40B4-BE49-F238E27FC236}">
                    <a16:creationId xmlns:a16="http://schemas.microsoft.com/office/drawing/2014/main" id="{1E4918B8-A176-47C4-9264-39A91C78CD7E}"/>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3201241E-6654-4B58-A757-746A35947F4F}"/>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AC0D2E0D-CECA-462E-BAF3-CF92D72544E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A50CAD15-5BF3-4472-BDB9-3E3E4742DD6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3C3511C1-3179-44B4-BB52-D2B10DA8A6E2}"/>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07DD1BCC-9230-417B-A5CC-E1D3F6F61041}"/>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E7A77373-FE9B-46C2-BEB4-F8B0A94BD53E}"/>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CB8ABB54-E991-461F-9791-D895B90E6700}"/>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F773B4D2-2297-4AFE-A952-85F190728CC5}"/>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E052044D-7360-4930-ACEF-75B0996C9E40}"/>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78EE721A-1842-4613-97C0-83F42E192EFE}"/>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E04EC6AA-4D0D-4D6B-A317-D59028CD1190}"/>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33B47ABB-E212-4C3A-93F4-8ECF298B2F14}"/>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8" name="Copyright">
              <a:extLst>
                <a:ext uri="{FF2B5EF4-FFF2-40B4-BE49-F238E27FC236}">
                  <a16:creationId xmlns:a16="http://schemas.microsoft.com/office/drawing/2014/main" id="{63A391B4-F2D4-4CEA-BB2D-6FE9C17F564E}"/>
                </a:ext>
              </a:extLst>
            </p:cNvPr>
            <p:cNvSpPr txBox="1"/>
            <p:nvPr userDrawn="1"/>
          </p:nvSpPr>
          <p:spPr>
            <a:xfrm rot="16200000">
              <a:off x="11250972" y="526396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rtl="0"/>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2. All rights reserved.</a:t>
              </a:r>
            </a:p>
          </p:txBody>
        </p:sp>
      </p:grpSp>
      <p:sp>
        <p:nvSpPr>
          <p:cNvPr id="4" name="Title 3">
            <a:extLst>
              <a:ext uri="{FF2B5EF4-FFF2-40B4-BE49-F238E27FC236}">
                <a16:creationId xmlns:a16="http://schemas.microsoft.com/office/drawing/2014/main" id="{93E1D190-1D55-4D58-B05F-8B0C78FE1DC0}"/>
              </a:ext>
            </a:extLst>
          </p:cNvPr>
          <p:cNvSpPr>
            <a:spLocks noGrp="1"/>
          </p:cNvSpPr>
          <p:nvPr>
            <p:ph type="title"/>
          </p:nvPr>
        </p:nvSpPr>
        <p:spPr>
          <a:xfrm>
            <a:off x="531813" y="560588"/>
            <a:ext cx="5123552" cy="837152"/>
          </a:xfrm>
        </p:spPr>
        <p:txBody>
          <a:bodyPr vert="horz" wrap="square" lIns="0" tIns="0" rIns="0" bIns="0" rtlCol="0" anchor="t">
            <a:spAutoFit/>
          </a:bodyPr>
          <a:lstStyle>
            <a:lvl1pPr rtl="0">
              <a:defRPr lang="en-IN" dirty="0"/>
            </a:lvl1pPr>
          </a:lstStyle>
          <a:p>
            <a:pPr lvl="0">
              <a:lnSpc>
                <a:spcPct val="85000"/>
              </a:lnSpc>
            </a:pPr>
            <a:r>
              <a:rPr lang="en-US" dirty="0"/>
              <a:t>Click to edit Master title style</a:t>
            </a:r>
          </a:p>
        </p:txBody>
      </p:sp>
    </p:spTree>
    <p:extLst>
      <p:ext uri="{BB962C8B-B14F-4D97-AF65-F5344CB8AC3E}">
        <p14:creationId xmlns:p14="http://schemas.microsoft.com/office/powerpoint/2010/main" val="35623131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reaker Slide_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375091689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6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8" name="Picture 7">
            <a:extLst>
              <a:ext uri="{FF2B5EF4-FFF2-40B4-BE49-F238E27FC236}">
                <a16:creationId xmlns:a16="http://schemas.microsoft.com/office/drawing/2014/main" id="{F99A2C76-32EA-4992-A965-D9260A5D160B}"/>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108436"/>
            <a:ext cx="8494899" cy="1569660"/>
          </a:xfrm>
          <a:effectLst>
            <a:outerShdw blurRad="190500" dir="2700000" algn="tl" rotWithShape="0">
              <a:prstClr val="black">
                <a:alpha val="30000"/>
              </a:prstClr>
            </a:outerShdw>
          </a:effectLst>
        </p:spPr>
        <p:txBody>
          <a:bodyPr vert="horz" wrap="square" lIns="0" tIns="0" rIns="0" bIns="0" rtlCol="0" anchor="ctr">
            <a:spAutoFit/>
          </a:bodyPr>
          <a:lstStyle>
            <a:lvl1pPr rtl="0">
              <a:lnSpc>
                <a:spcPct val="80000"/>
              </a:lnSpc>
              <a:defRPr lang="en-US" sz="6000" dirty="0">
                <a:solidFill>
                  <a:schemeClr val="bg1"/>
                </a:solidFill>
              </a:defRPr>
            </a:lvl1pPr>
          </a:lstStyle>
          <a:p>
            <a:pPr lvl="0">
              <a:lnSpc>
                <a:spcPct val="85000"/>
              </a:lnSpc>
            </a:pPr>
            <a:r>
              <a:rPr lang="en-US" dirty="0"/>
              <a:t>Click to edit Master title style</a:t>
            </a:r>
          </a:p>
        </p:txBody>
      </p:sp>
      <p:grpSp>
        <p:nvGrpSpPr>
          <p:cNvPr id="12" name="Group 11">
            <a:extLst>
              <a:ext uri="{FF2B5EF4-FFF2-40B4-BE49-F238E27FC236}">
                <a16:creationId xmlns:a16="http://schemas.microsoft.com/office/drawing/2014/main" id="{1A4D7170-2B51-4AFC-B047-0F5B3A69E471}"/>
              </a:ext>
            </a:extLst>
          </p:cNvPr>
          <p:cNvGrpSpPr/>
          <p:nvPr userDrawn="1"/>
        </p:nvGrpSpPr>
        <p:grpSpPr>
          <a:xfrm>
            <a:off x="11998459" y="6162188"/>
            <a:ext cx="68500" cy="441924"/>
            <a:chOff x="11998459" y="6162188"/>
            <a:chExt cx="68500" cy="441924"/>
          </a:xfrm>
          <a:solidFill>
            <a:schemeClr val="bg1"/>
          </a:solidFill>
        </p:grpSpPr>
        <p:sp>
          <p:nvSpPr>
            <p:cNvPr id="13" name="Freeform: Shape 12">
              <a:extLst>
                <a:ext uri="{FF2B5EF4-FFF2-40B4-BE49-F238E27FC236}">
                  <a16:creationId xmlns:a16="http://schemas.microsoft.com/office/drawing/2014/main" id="{DDD1615D-0D55-4B48-87A2-0F30A4E3D8E7}"/>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C8D3D7F-D19B-49DE-9CB3-221A0639516B}"/>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E30BC6AD-EFFB-4263-A0EB-5A8265D4385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A341753F-E8F7-47E2-8A08-516073C6B573}"/>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F3E2B82A-AA52-459B-A885-2C9E46A7CA08}"/>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BDCD4539-FE2A-4741-BBEF-2BADE6F5B99D}"/>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63FB79E5-53C4-46E5-AAF3-BCDBDA5A2D1D}"/>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09CEBDE-5D0C-41B5-85C2-CBC9DA810EFB}"/>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0887E364-69C8-42A1-811A-4726514CBCE3}"/>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18A0E0BB-B67F-4B6F-A66E-3D42CC14F9E7}"/>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Freeform: Shape 23">
              <a:extLst>
                <a:ext uri="{FF2B5EF4-FFF2-40B4-BE49-F238E27FC236}">
                  <a16:creationId xmlns:a16="http://schemas.microsoft.com/office/drawing/2014/main" id="{797C39D0-A99F-467C-9FAD-1FEC939449C9}"/>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Freeform: Shape 24">
              <a:extLst>
                <a:ext uri="{FF2B5EF4-FFF2-40B4-BE49-F238E27FC236}">
                  <a16:creationId xmlns:a16="http://schemas.microsoft.com/office/drawing/2014/main" id="{FB512C9A-2B27-4460-B3C8-AA6460E8DA65}"/>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Freeform: Shape 25">
              <a:extLst>
                <a:ext uri="{FF2B5EF4-FFF2-40B4-BE49-F238E27FC236}">
                  <a16:creationId xmlns:a16="http://schemas.microsoft.com/office/drawing/2014/main" id="{6A1FA1F5-B76B-4B98-99DC-DD1D17B7F23E}"/>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pPr rtl="0"/>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7" name="Copyright">
            <a:extLst>
              <a:ext uri="{FF2B5EF4-FFF2-40B4-BE49-F238E27FC236}">
                <a16:creationId xmlns:a16="http://schemas.microsoft.com/office/drawing/2014/main" id="{EB60B0AE-F9C0-4FBF-9FE6-F8CE2ED57C40}"/>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rtl="0"/>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2. All rights reserved.</a:t>
            </a:r>
          </a:p>
        </p:txBody>
      </p:sp>
      <p:sp>
        <p:nvSpPr>
          <p:cNvPr id="28" name="Slide Number Placeholder 5">
            <a:extLst>
              <a:ext uri="{FF2B5EF4-FFF2-40B4-BE49-F238E27FC236}">
                <a16:creationId xmlns:a16="http://schemas.microsoft.com/office/drawing/2014/main" id="{4B037CC6-E5CE-4CBE-B183-A4AF78E15EC6}"/>
              </a:ext>
            </a:extLst>
          </p:cNvPr>
          <p:cNvSpPr>
            <a:spLocks noGrp="1"/>
          </p:cNvSpPr>
          <p:nvPr>
            <p:ph type="sldNum" sz="quarter" idx="11"/>
          </p:nvPr>
        </p:nvSpPr>
        <p:spPr>
          <a:xfrm>
            <a:off x="11490153" y="6465614"/>
            <a:ext cx="150682" cy="138499"/>
          </a:xfrm>
        </p:spPr>
        <p:txBody>
          <a:bodyPr/>
          <a:lstStyle>
            <a:lvl1pPr rtl="0">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spTree>
    <p:extLst>
      <p:ext uri="{BB962C8B-B14F-4D97-AF65-F5344CB8AC3E}">
        <p14:creationId xmlns:p14="http://schemas.microsoft.com/office/powerpoint/2010/main" val="948612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_2">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163866408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6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6" name="Picture 5">
            <a:extLst>
              <a:ext uri="{FF2B5EF4-FFF2-40B4-BE49-F238E27FC236}">
                <a16:creationId xmlns:a16="http://schemas.microsoft.com/office/drawing/2014/main" id="{92E076F7-2F5B-46F9-A7D4-BCD4A1BF4FBE}"/>
              </a:ext>
            </a:extLst>
          </p:cNvPr>
          <p:cNvPicPr>
            <a:picLocks noChangeAspect="1"/>
          </p:cNvPicPr>
          <p:nvPr userDrawn="1"/>
        </p:nvPicPr>
        <p:blipFill>
          <a:blip r:embed="rId6">
            <a:grayscl/>
            <a:extLst>
              <a:ext uri="{BEBA8EAE-BF5A-486C-A8C5-ECC9F3942E4B}">
                <a14:imgProps xmlns:a14="http://schemas.microsoft.com/office/drawing/2010/main">
                  <a14:imgLayer r:embed="rId7">
                    <a14:imgEffect>
                      <a14:brightnessContrast bright="20000" contrast="-20000"/>
                    </a14:imgEffect>
                  </a14:imgLayer>
                </a14:imgProps>
              </a:ext>
            </a:extLst>
          </a:blip>
          <a:stretch>
            <a:fillRect/>
          </a:stretch>
        </p:blipFill>
        <p:spPr>
          <a:xfrm>
            <a:off x="0" y="0"/>
            <a:ext cx="12192000" cy="6858000"/>
          </a:xfrm>
          <a:prstGeom prst="rect">
            <a:avLst/>
          </a:prstGeom>
        </p:spPr>
      </p:pic>
      <p:sp>
        <p:nvSpPr>
          <p:cNvPr id="29" name="Rectangle 28">
            <a:extLst>
              <a:ext uri="{FF2B5EF4-FFF2-40B4-BE49-F238E27FC236}">
                <a16:creationId xmlns:a16="http://schemas.microsoft.com/office/drawing/2014/main" id="{05571307-B5A1-49FA-8B2A-10157FD7593A}"/>
              </a:ext>
            </a:extLst>
          </p:cNvPr>
          <p:cNvSpPr/>
          <p:nvPr userDrawn="1"/>
        </p:nvSpPr>
        <p:spPr>
          <a:xfrm>
            <a:off x="0" y="0"/>
            <a:ext cx="12192000" cy="6858000"/>
          </a:xfrm>
          <a:prstGeom prst="rect">
            <a:avLst/>
          </a:prstGeom>
          <a:gradFill flip="none" rotWithShape="1">
            <a:gsLst>
              <a:gs pos="16000">
                <a:schemeClr val="tx2">
                  <a:lumMod val="50000"/>
                </a:schemeClr>
              </a:gs>
              <a:gs pos="55000">
                <a:schemeClr val="tx2">
                  <a:lumMod val="75000"/>
                  <a:alpha val="90000"/>
                </a:schemeClr>
              </a:gs>
              <a:gs pos="85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992390" y="4026897"/>
            <a:ext cx="6785798" cy="1569660"/>
          </a:xfrm>
          <a:effectLst>
            <a:outerShdw blurRad="190500" dir="2700000" algn="tl" rotWithShape="0">
              <a:prstClr val="black">
                <a:alpha val="30000"/>
              </a:prstClr>
            </a:outerShdw>
          </a:effectLst>
        </p:spPr>
        <p:txBody>
          <a:bodyPr vert="horz" wrap="square" lIns="0" tIns="0" rIns="0" bIns="0" rtlCol="0" anchor="b">
            <a:spAutoFit/>
          </a:bodyPr>
          <a:lstStyle>
            <a:lvl1pPr rtl="0">
              <a:lnSpc>
                <a:spcPct val="80000"/>
              </a:lnSpc>
              <a:defRPr lang="en-US" sz="6000" dirty="0">
                <a:solidFill>
                  <a:schemeClr val="bg1"/>
                </a:solidFill>
              </a:defRPr>
            </a:lvl1pPr>
          </a:lstStyle>
          <a:p>
            <a:pPr lvl="0">
              <a:lnSpc>
                <a:spcPct val="85000"/>
              </a:lnSpc>
            </a:pPr>
            <a:r>
              <a:rPr lang="en-US" dirty="0"/>
              <a:t>Click to edit Master title style</a:t>
            </a:r>
          </a:p>
        </p:txBody>
      </p:sp>
      <p:sp>
        <p:nvSpPr>
          <p:cNvPr id="28" name="Slide Number Placeholder 5">
            <a:extLst>
              <a:ext uri="{FF2B5EF4-FFF2-40B4-BE49-F238E27FC236}">
                <a16:creationId xmlns:a16="http://schemas.microsoft.com/office/drawing/2014/main" id="{4B037CC6-E5CE-4CBE-B183-A4AF78E15EC6}"/>
              </a:ext>
            </a:extLst>
          </p:cNvPr>
          <p:cNvSpPr>
            <a:spLocks noGrp="1"/>
          </p:cNvSpPr>
          <p:nvPr>
            <p:ph type="sldNum" sz="quarter" idx="11"/>
          </p:nvPr>
        </p:nvSpPr>
        <p:spPr>
          <a:xfrm>
            <a:off x="11490153" y="6465614"/>
            <a:ext cx="150682" cy="138499"/>
          </a:xfrm>
        </p:spPr>
        <p:txBody>
          <a:bodyPr/>
          <a:lstStyle>
            <a:lvl1pPr rtl="0">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US" smtClean="0"/>
              <a:pPr>
                <a:lnSpc>
                  <a:spcPct val="90000"/>
                </a:lnSpc>
              </a:pPr>
              <a:t>‹#›</a:t>
            </a:fld>
            <a:endParaRPr lang="en-US" dirty="0"/>
          </a:p>
        </p:txBody>
      </p:sp>
      <p:cxnSp>
        <p:nvCxnSpPr>
          <p:cNvPr id="30" name="Straight Connector 29">
            <a:extLst>
              <a:ext uri="{FF2B5EF4-FFF2-40B4-BE49-F238E27FC236}">
                <a16:creationId xmlns:a16="http://schemas.microsoft.com/office/drawing/2014/main" id="{5B1B01B0-505C-4864-BC9B-FBCE18D02D9C}"/>
              </a:ext>
            </a:extLst>
          </p:cNvPr>
          <p:cNvCxnSpPr>
            <a:cxnSpLocks/>
          </p:cNvCxnSpPr>
          <p:nvPr userDrawn="1"/>
        </p:nvCxnSpPr>
        <p:spPr>
          <a:xfrm>
            <a:off x="992389" y="5712304"/>
            <a:ext cx="154246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95DDDC21-5EC0-4BC6-A759-2D861F3A42C0}"/>
              </a:ext>
            </a:extLst>
          </p:cNvPr>
          <p:cNvGrpSpPr/>
          <p:nvPr userDrawn="1"/>
        </p:nvGrpSpPr>
        <p:grpSpPr>
          <a:xfrm>
            <a:off x="11979441" y="4535494"/>
            <a:ext cx="110800" cy="2041948"/>
            <a:chOff x="11979441" y="4535494"/>
            <a:chExt cx="110800" cy="2041948"/>
          </a:xfrm>
        </p:grpSpPr>
        <p:grpSp>
          <p:nvGrpSpPr>
            <p:cNvPr id="32" name="Group 31">
              <a:extLst>
                <a:ext uri="{FF2B5EF4-FFF2-40B4-BE49-F238E27FC236}">
                  <a16:creationId xmlns:a16="http://schemas.microsoft.com/office/drawing/2014/main" id="{6CE34071-C191-4EA0-879B-938D0D7FB2DC}"/>
                </a:ext>
              </a:extLst>
            </p:cNvPr>
            <p:cNvGrpSpPr/>
            <p:nvPr userDrawn="1"/>
          </p:nvGrpSpPr>
          <p:grpSpPr>
            <a:xfrm>
              <a:off x="11998460" y="6135518"/>
              <a:ext cx="68500" cy="441924"/>
              <a:chOff x="11998459" y="6162188"/>
              <a:chExt cx="68500" cy="441924"/>
            </a:xfrm>
          </p:grpSpPr>
          <p:sp>
            <p:nvSpPr>
              <p:cNvPr id="35" name="Freeform: Shape 34">
                <a:extLst>
                  <a:ext uri="{FF2B5EF4-FFF2-40B4-BE49-F238E27FC236}">
                    <a16:creationId xmlns:a16="http://schemas.microsoft.com/office/drawing/2014/main" id="{86C589D3-2A68-47B4-A186-DCD2A83FCFC8}"/>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4BB41610-46EC-428B-835A-19794F87B288}"/>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335B418E-1CF7-49D6-9410-F4E0F9CA8FD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75874F1C-8BBD-43D9-9576-2326771CDA5E}"/>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41BF7ED0-D40C-414C-A361-03E0EC0CA1B8}"/>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B0A1FE6F-2C49-4E56-BBB6-F7F2308FE7A5}"/>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8FE97711-BCB1-4A87-B444-FE49A24C954C}"/>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2" name="Freeform: Shape 41">
                <a:extLst>
                  <a:ext uri="{FF2B5EF4-FFF2-40B4-BE49-F238E27FC236}">
                    <a16:creationId xmlns:a16="http://schemas.microsoft.com/office/drawing/2014/main" id="{DC90751F-BC28-4C38-9AEE-4FE522001DE3}"/>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3" name="Freeform: Shape 42">
                <a:extLst>
                  <a:ext uri="{FF2B5EF4-FFF2-40B4-BE49-F238E27FC236}">
                    <a16:creationId xmlns:a16="http://schemas.microsoft.com/office/drawing/2014/main" id="{4759EB0F-4722-48F9-98B5-35600B2F5F54}"/>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4" name="Freeform: Shape 43">
                <a:extLst>
                  <a:ext uri="{FF2B5EF4-FFF2-40B4-BE49-F238E27FC236}">
                    <a16:creationId xmlns:a16="http://schemas.microsoft.com/office/drawing/2014/main" id="{1E9ED425-DEE8-4FE5-B40D-E5D7FC3B173C}"/>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5" name="Freeform: Shape 44">
                <a:extLst>
                  <a:ext uri="{FF2B5EF4-FFF2-40B4-BE49-F238E27FC236}">
                    <a16:creationId xmlns:a16="http://schemas.microsoft.com/office/drawing/2014/main" id="{6FED47B5-7813-41FF-82AD-062C1EBA79EB}"/>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6" name="Freeform: Shape 45">
                <a:extLst>
                  <a:ext uri="{FF2B5EF4-FFF2-40B4-BE49-F238E27FC236}">
                    <a16:creationId xmlns:a16="http://schemas.microsoft.com/office/drawing/2014/main" id="{3412D8B3-B39C-4308-9921-278312CC9BDA}"/>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7" name="Freeform: Shape 46">
                <a:extLst>
                  <a:ext uri="{FF2B5EF4-FFF2-40B4-BE49-F238E27FC236}">
                    <a16:creationId xmlns:a16="http://schemas.microsoft.com/office/drawing/2014/main" id="{279E12B4-9493-4742-A8EB-9E495955EF01}"/>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34" name="Copyright">
              <a:extLst>
                <a:ext uri="{FF2B5EF4-FFF2-40B4-BE49-F238E27FC236}">
                  <a16:creationId xmlns:a16="http://schemas.microsoft.com/office/drawing/2014/main" id="{063EE5AF-0F23-4E4D-946B-2EF723C73A98}"/>
                </a:ext>
              </a:extLst>
            </p:cNvPr>
            <p:cNvSpPr txBox="1"/>
            <p:nvPr userDrawn="1"/>
          </p:nvSpPr>
          <p:spPr>
            <a:xfrm rot="16200000">
              <a:off x="11250972" y="526396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rtl="0"/>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2. All rights reserved.</a:t>
              </a:r>
            </a:p>
          </p:txBody>
        </p:sp>
      </p:grpSp>
    </p:spTree>
    <p:extLst>
      <p:ext uri="{BB962C8B-B14F-4D97-AF65-F5344CB8AC3E}">
        <p14:creationId xmlns:p14="http://schemas.microsoft.com/office/powerpoint/2010/main" val="2677927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Option 3)">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008263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C3BFC25-365A-4293-AFC3-06979C33ED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517" t="8006" r="4517" b="8006"/>
          <a:stretch/>
        </p:blipFill>
        <p:spPr>
          <a:xfrm>
            <a:off x="550861" y="549274"/>
            <a:ext cx="11090276" cy="5759451"/>
          </a:xfrm>
          <a:prstGeom prst="rect">
            <a:avLst/>
          </a:prstGeom>
        </p:spPr>
      </p:pic>
      <p:sp>
        <p:nvSpPr>
          <p:cNvPr id="12" name="Rectangle 11">
            <a:extLst>
              <a:ext uri="{FF2B5EF4-FFF2-40B4-BE49-F238E27FC236}">
                <a16:creationId xmlns:a16="http://schemas.microsoft.com/office/drawing/2014/main" id="{EA92DE9B-D3C3-4D9E-909D-59D0ACABEB18}"/>
              </a:ext>
            </a:extLst>
          </p:cNvPr>
          <p:cNvSpPr/>
          <p:nvPr userDrawn="1"/>
        </p:nvSpPr>
        <p:spPr>
          <a:xfrm>
            <a:off x="1083553" y="1080000"/>
            <a:ext cx="5816186" cy="577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1631950" y="5778000"/>
            <a:ext cx="354392" cy="193899"/>
          </a:xfrm>
          <a:prstGeom prst="rect">
            <a:avLst/>
          </a:prstGeom>
        </p:spPr>
        <p:txBody>
          <a:bodyPr vert="horz" wrap="none" lIns="0" tIns="0" rIns="0" bIns="0" rtlCol="0" anchor="t">
            <a:spAutoFit/>
          </a:bodyPr>
          <a:lstStyle>
            <a:lvl1pPr rtl="0">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r>
              <a:rPr lang="en-US" dirty="0"/>
              <a:t>Date</a:t>
            </a: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1631951" y="3610939"/>
            <a:ext cx="4799330" cy="1231106"/>
          </a:xfrm>
        </p:spPr>
        <p:txBody>
          <a:bodyPr vert="horz" wrap="square" lIns="0" tIns="0" rIns="0" bIns="0" rtlCol="0" anchor="b">
            <a:spAutoFit/>
          </a:bodyPr>
          <a:lstStyle>
            <a:lvl1pPr rtl="0">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1631951" y="4892832"/>
            <a:ext cx="4799330" cy="292388"/>
          </a:xfrm>
        </p:spPr>
        <p:txBody>
          <a:bodyPr vert="horz" wrap="square" lIns="0" tIns="0" rIns="0" bIns="0" rtlCol="0" anchor="t">
            <a:spAutoFit/>
          </a:bodyPr>
          <a:lstStyle>
            <a:lvl1pPr rtl="0">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p>
        </p:txBody>
      </p:sp>
      <p:pic>
        <p:nvPicPr>
          <p:cNvPr id="4" name="Graphic 11">
            <a:extLst>
              <a:ext uri="{FF2B5EF4-FFF2-40B4-BE49-F238E27FC236}">
                <a16:creationId xmlns:a16="http://schemas.microsoft.com/office/drawing/2014/main" id="{A1A88F45-2215-72D5-A4E6-26F831D52D3D}"/>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636776" y="1600200"/>
            <a:ext cx="2496312" cy="576072"/>
          </a:xfrm>
          <a:prstGeom prst="rect">
            <a:avLst/>
          </a:prstGeom>
        </p:spPr>
      </p:pic>
    </p:spTree>
    <p:extLst>
      <p:ext uri="{BB962C8B-B14F-4D97-AF65-F5344CB8AC3E}">
        <p14:creationId xmlns:p14="http://schemas.microsoft.com/office/powerpoint/2010/main" val="33658037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1459764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6" name="TextBox 5">
            <a:extLst>
              <a:ext uri="{FF2B5EF4-FFF2-40B4-BE49-F238E27FC236}">
                <a16:creationId xmlns:a16="http://schemas.microsoft.com/office/drawing/2014/main" id="{8106A152-DC8B-0C47-8CFD-D99759D28F81}"/>
              </a:ext>
            </a:extLst>
          </p:cNvPr>
          <p:cNvSpPr txBox="1"/>
          <p:nvPr userDrawn="1"/>
        </p:nvSpPr>
        <p:spPr>
          <a:xfrm>
            <a:off x="550863" y="5965461"/>
            <a:ext cx="3028906" cy="369332"/>
          </a:xfrm>
          <a:prstGeom prst="rect">
            <a:avLst/>
          </a:prstGeom>
          <a:noFill/>
        </p:spPr>
        <p:txBody>
          <a:bodyPr wrap="none" lIns="0" tIns="0" rIns="0" bIns="0" rtlCol="0">
            <a:spAutoFit/>
          </a:bodyPr>
          <a:lstStyle/>
          <a:p>
            <a:pPr algn="l" rtl="0"/>
            <a:r>
              <a:rPr lang="en-US" sz="1200" b="1" i="0" u="none" dirty="0">
                <a:solidFill>
                  <a:schemeClr val="accent3">
                    <a:lumMod val="60000"/>
                    <a:lumOff val="40000"/>
                  </a:schemeClr>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www.infomineo.com</a:t>
            </a:r>
          </a:p>
          <a:p>
            <a:pPr algn="l" rtl="0"/>
            <a:r>
              <a:rPr lang="en-US" sz="1200" b="0" i="0" dirty="0">
                <a:solidFill>
                  <a:schemeClr val="bg1"/>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Infomineo Copyright © 2022. All rights reserved.</a:t>
            </a:r>
          </a:p>
        </p:txBody>
      </p:sp>
      <p:pic>
        <p:nvPicPr>
          <p:cNvPr id="30" name="Picture 29">
            <a:hlinkClick r:id="rId5"/>
            <a:extLst>
              <a:ext uri="{FF2B5EF4-FFF2-40B4-BE49-F238E27FC236}">
                <a16:creationId xmlns:a16="http://schemas.microsoft.com/office/drawing/2014/main" id="{3ED467EF-C028-4376-B7C8-A8830D77CF76}"/>
              </a:ext>
            </a:extLst>
          </p:cNvPr>
          <p:cNvPicPr>
            <a:picLocks noChangeAspect="1"/>
          </p:cNvPicPr>
          <p:nvPr userDrawn="1"/>
        </p:nvPicPr>
        <p:blipFill>
          <a:blip r:embed="rId6"/>
          <a:stretch>
            <a:fillRect/>
          </a:stretch>
        </p:blipFill>
        <p:spPr>
          <a:xfrm>
            <a:off x="11323329" y="5965461"/>
            <a:ext cx="370332" cy="370332"/>
          </a:xfrm>
          <a:prstGeom prst="rect">
            <a:avLst/>
          </a:prstGeom>
        </p:spPr>
      </p:pic>
      <p:pic>
        <p:nvPicPr>
          <p:cNvPr id="32" name="Picture 31">
            <a:hlinkClick r:id="rId7"/>
            <a:extLst>
              <a:ext uri="{FF2B5EF4-FFF2-40B4-BE49-F238E27FC236}">
                <a16:creationId xmlns:a16="http://schemas.microsoft.com/office/drawing/2014/main" id="{3BF2889F-2FC0-49EE-9DAD-8868FC3BE522}"/>
              </a:ext>
            </a:extLst>
          </p:cNvPr>
          <p:cNvPicPr>
            <a:picLocks noChangeAspect="1"/>
          </p:cNvPicPr>
          <p:nvPr userDrawn="1"/>
        </p:nvPicPr>
        <p:blipFill>
          <a:blip r:embed="rId8"/>
          <a:stretch>
            <a:fillRect/>
          </a:stretch>
        </p:blipFill>
        <p:spPr>
          <a:xfrm>
            <a:off x="10825964" y="5965461"/>
            <a:ext cx="368808" cy="370332"/>
          </a:xfrm>
          <a:prstGeom prst="rect">
            <a:avLst/>
          </a:prstGeom>
        </p:spPr>
      </p:pic>
      <p:pic>
        <p:nvPicPr>
          <p:cNvPr id="34" name="Picture 33">
            <a:hlinkClick r:id="rId9"/>
            <a:extLst>
              <a:ext uri="{FF2B5EF4-FFF2-40B4-BE49-F238E27FC236}">
                <a16:creationId xmlns:a16="http://schemas.microsoft.com/office/drawing/2014/main" id="{96507CF0-D683-43B8-9352-634205E2EC2C}"/>
              </a:ext>
            </a:extLst>
          </p:cNvPr>
          <p:cNvPicPr>
            <a:picLocks noChangeAspect="1"/>
          </p:cNvPicPr>
          <p:nvPr userDrawn="1"/>
        </p:nvPicPr>
        <p:blipFill>
          <a:blip r:embed="rId10"/>
          <a:stretch>
            <a:fillRect/>
          </a:stretch>
        </p:blipFill>
        <p:spPr>
          <a:xfrm>
            <a:off x="10328599" y="5965461"/>
            <a:ext cx="368808" cy="370332"/>
          </a:xfrm>
          <a:prstGeom prst="rect">
            <a:avLst/>
          </a:prstGeom>
        </p:spPr>
      </p:pic>
      <p:pic>
        <p:nvPicPr>
          <p:cNvPr id="2" name="Graphic 9">
            <a:extLst>
              <a:ext uri="{FF2B5EF4-FFF2-40B4-BE49-F238E27FC236}">
                <a16:creationId xmlns:a16="http://schemas.microsoft.com/office/drawing/2014/main" id="{75437FF5-1D5D-02AA-DFA4-83E824047A08}"/>
              </a:ext>
            </a:extLst>
          </p:cNvPr>
          <p:cNvPicPr>
            <a:picLocks noChangeAspect="1"/>
          </p:cNvPicPr>
          <p:nvPr userDrawn="1"/>
        </p:nvPicPr>
        <p:blipFill>
          <a:blip r:embed="rId11">
            <a:extLst>
              <a:ext uri="{28A0092B-C50C-407E-A947-70E740481C1C}">
                <a14:useLocalDpi xmlns:a14="http://schemas.microsoft.com/office/drawing/2010/main" val="0"/>
              </a:ext>
            </a:extLst>
          </a:blip>
          <a:srcRect/>
          <a:stretch/>
        </p:blipFill>
        <p:spPr>
          <a:xfrm>
            <a:off x="4261104" y="3008376"/>
            <a:ext cx="3675888" cy="850392"/>
          </a:xfrm>
          <a:prstGeom prst="rect">
            <a:avLst/>
          </a:prstGeom>
        </p:spPr>
      </p:pic>
    </p:spTree>
    <p:extLst>
      <p:ext uri="{BB962C8B-B14F-4D97-AF65-F5344CB8AC3E}">
        <p14:creationId xmlns:p14="http://schemas.microsoft.com/office/powerpoint/2010/main" val="38594125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uides">
    <p:spTree>
      <p:nvGrpSpPr>
        <p:cNvPr id="1" name=""/>
        <p:cNvGrpSpPr/>
        <p:nvPr/>
      </p:nvGrpSpPr>
      <p:grpSpPr>
        <a:xfrm>
          <a:off x="0" y="0"/>
          <a:ext cx="0" cy="0"/>
          <a:chOff x="0" y="0"/>
          <a:chExt cx="0" cy="0"/>
        </a:xfrm>
      </p:grpSpPr>
      <p:graphicFrame>
        <p:nvGraphicFramePr>
          <p:cNvPr id="49" name="Object 48" hidden="1">
            <a:extLst>
              <a:ext uri="{FF2B5EF4-FFF2-40B4-BE49-F238E27FC236}">
                <a16:creationId xmlns:a16="http://schemas.microsoft.com/office/drawing/2014/main" id="{C7E8C095-69F2-4BC8-964E-A1BFE9309E4B}"/>
              </a:ext>
            </a:extLst>
          </p:cNvPr>
          <p:cNvGraphicFramePr>
            <a:graphicFrameLocks noChangeAspect="1"/>
          </p:cNvGraphicFramePr>
          <p:nvPr userDrawn="1">
            <p:custDataLst>
              <p:tags r:id="rId1"/>
            </p:custDataLst>
            <p:extLst>
              <p:ext uri="{D42A27DB-BD31-4B8C-83A1-F6EECF244321}">
                <p14:modId xmlns:p14="http://schemas.microsoft.com/office/powerpoint/2010/main" val="65902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B5F11C0-1445-4182-AF87-C63E0DB6CE2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7" name="Freeform: Shape 95">
            <a:extLst>
              <a:ext uri="{FF2B5EF4-FFF2-40B4-BE49-F238E27FC236}">
                <a16:creationId xmlns:a16="http://schemas.microsoft.com/office/drawing/2014/main" id="{E5A08834-247C-4C9E-93E7-8514C051C060}"/>
              </a:ext>
            </a:extLst>
          </p:cNvPr>
          <p:cNvSpPr/>
          <p:nvPr userDrawn="1"/>
        </p:nvSpPr>
        <p:spPr>
          <a:xfrm>
            <a:off x="0" y="0"/>
            <a:ext cx="12193200" cy="6858000"/>
          </a:xfrm>
          <a:custGeom>
            <a:avLst/>
            <a:gdLst>
              <a:gd name="connsiteX0" fmla="*/ 566584 w 12193200"/>
              <a:gd name="connsiteY0" fmla="*/ 549276 h 6858000"/>
              <a:gd name="connsiteX1" fmla="*/ 566584 w 12193200"/>
              <a:gd name="connsiteY1" fmla="*/ 6308726 h 6858000"/>
              <a:gd name="connsiteX2" fmla="*/ 11641138 w 12193200"/>
              <a:gd name="connsiteY2" fmla="*/ 6308726 h 6858000"/>
              <a:gd name="connsiteX3" fmla="*/ 11641138 w 12193200"/>
              <a:gd name="connsiteY3" fmla="*/ 549276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5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pPr rtl="0"/>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50" name="Group 49">
            <a:extLst>
              <a:ext uri="{FF2B5EF4-FFF2-40B4-BE49-F238E27FC236}">
                <a16:creationId xmlns:a16="http://schemas.microsoft.com/office/drawing/2014/main" id="{D59B0D14-7DD8-45E2-B968-99300FF0D28D}"/>
              </a:ext>
            </a:extLst>
          </p:cNvPr>
          <p:cNvGrpSpPr/>
          <p:nvPr userDrawn="1"/>
        </p:nvGrpSpPr>
        <p:grpSpPr>
          <a:xfrm>
            <a:off x="-600" y="549275"/>
            <a:ext cx="12193200" cy="5759450"/>
            <a:chOff x="-600" y="549275"/>
            <a:chExt cx="12193200" cy="5759450"/>
          </a:xfrm>
        </p:grpSpPr>
        <p:cxnSp>
          <p:nvCxnSpPr>
            <p:cNvPr id="24" name="Straight Connector 23">
              <a:extLst>
                <a:ext uri="{FF2B5EF4-FFF2-40B4-BE49-F238E27FC236}">
                  <a16:creationId xmlns:a16="http://schemas.microsoft.com/office/drawing/2014/main" id="{EFD9771C-C32F-443B-97DA-AB808B787FCB}"/>
                </a:ext>
              </a:extLst>
            </p:cNvPr>
            <p:cNvCxnSpPr/>
            <p:nvPr/>
          </p:nvCxnSpPr>
          <p:spPr>
            <a:xfrm>
              <a:off x="-600" y="54927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FDCFA-8871-4375-9DD7-4FC5886280A9}"/>
                </a:ext>
              </a:extLst>
            </p:cNvPr>
            <p:cNvCxnSpPr/>
            <p:nvPr/>
          </p:nvCxnSpPr>
          <p:spPr>
            <a:xfrm>
              <a:off x="-600" y="107286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BCC4B7F-FEF1-4EA1-831D-C9AA6F5F064E}"/>
                </a:ext>
              </a:extLst>
            </p:cNvPr>
            <p:cNvCxnSpPr/>
            <p:nvPr/>
          </p:nvCxnSpPr>
          <p:spPr>
            <a:xfrm>
              <a:off x="-600" y="133465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1DCA16-8F73-4630-BDD0-2A70C4A58AB4}"/>
                </a:ext>
              </a:extLst>
            </p:cNvPr>
            <p:cNvCxnSpPr/>
            <p:nvPr/>
          </p:nvCxnSpPr>
          <p:spPr>
            <a:xfrm>
              <a:off x="-600" y="159644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C31EB1-B3A4-46CF-BFA4-063B67EE1C0D}"/>
                </a:ext>
              </a:extLst>
            </p:cNvPr>
            <p:cNvCxnSpPr/>
            <p:nvPr/>
          </p:nvCxnSpPr>
          <p:spPr>
            <a:xfrm>
              <a:off x="-600" y="185824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93E6A85-DDE0-4463-B476-9FA784357023}"/>
                </a:ext>
              </a:extLst>
            </p:cNvPr>
            <p:cNvCxnSpPr/>
            <p:nvPr/>
          </p:nvCxnSpPr>
          <p:spPr>
            <a:xfrm>
              <a:off x="-600" y="212003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A4D7F3C-5BD5-4AC2-88A1-966E801F5AED}"/>
                </a:ext>
              </a:extLst>
            </p:cNvPr>
            <p:cNvCxnSpPr/>
            <p:nvPr/>
          </p:nvCxnSpPr>
          <p:spPr>
            <a:xfrm>
              <a:off x="-600" y="238182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2775BB7-F520-4F81-AF6D-F59D1B76F55E}"/>
                </a:ext>
              </a:extLst>
            </p:cNvPr>
            <p:cNvCxnSpPr/>
            <p:nvPr/>
          </p:nvCxnSpPr>
          <p:spPr>
            <a:xfrm>
              <a:off x="-600" y="264361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CB72474-2AC2-420E-BDB5-E5A722B50684}"/>
                </a:ext>
              </a:extLst>
            </p:cNvPr>
            <p:cNvCxnSpPr/>
            <p:nvPr/>
          </p:nvCxnSpPr>
          <p:spPr>
            <a:xfrm>
              <a:off x="-600" y="290541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7F88338-30AC-49A0-A5C4-EC7BD34E1FA6}"/>
                </a:ext>
              </a:extLst>
            </p:cNvPr>
            <p:cNvCxnSpPr/>
            <p:nvPr/>
          </p:nvCxnSpPr>
          <p:spPr>
            <a:xfrm>
              <a:off x="-600" y="316720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A4A82DD-B8CC-462B-93E9-CBC87352521F}"/>
                </a:ext>
              </a:extLst>
            </p:cNvPr>
            <p:cNvCxnSpPr/>
            <p:nvPr/>
          </p:nvCxnSpPr>
          <p:spPr>
            <a:xfrm>
              <a:off x="-600" y="342899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86DFAD-90A1-4761-A1F6-2CECC9F3CEB8}"/>
                </a:ext>
              </a:extLst>
            </p:cNvPr>
            <p:cNvCxnSpPr/>
            <p:nvPr/>
          </p:nvCxnSpPr>
          <p:spPr>
            <a:xfrm>
              <a:off x="-600" y="369079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73AC16-3E18-48F7-97ED-8B5A48560A3B}"/>
                </a:ext>
              </a:extLst>
            </p:cNvPr>
            <p:cNvCxnSpPr/>
            <p:nvPr/>
          </p:nvCxnSpPr>
          <p:spPr>
            <a:xfrm>
              <a:off x="-600" y="395258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2B4CC9-D426-40F8-825B-C7E1196189B4}"/>
                </a:ext>
              </a:extLst>
            </p:cNvPr>
            <p:cNvCxnSpPr/>
            <p:nvPr/>
          </p:nvCxnSpPr>
          <p:spPr>
            <a:xfrm>
              <a:off x="-600" y="421437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DD5A36E-8435-4B1C-8462-1C956794FC17}"/>
                </a:ext>
              </a:extLst>
            </p:cNvPr>
            <p:cNvCxnSpPr/>
            <p:nvPr/>
          </p:nvCxnSpPr>
          <p:spPr>
            <a:xfrm>
              <a:off x="-600" y="447617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D85A532-653B-4FD3-A2B9-908071F117D2}"/>
                </a:ext>
              </a:extLst>
            </p:cNvPr>
            <p:cNvCxnSpPr/>
            <p:nvPr/>
          </p:nvCxnSpPr>
          <p:spPr>
            <a:xfrm>
              <a:off x="-600" y="473796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E1136A-6637-439F-89A7-D7F878D15199}"/>
                </a:ext>
              </a:extLst>
            </p:cNvPr>
            <p:cNvCxnSpPr/>
            <p:nvPr/>
          </p:nvCxnSpPr>
          <p:spPr>
            <a:xfrm>
              <a:off x="-600" y="499975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A0A4627-9F33-480E-B584-D2625F29AB95}"/>
                </a:ext>
              </a:extLst>
            </p:cNvPr>
            <p:cNvCxnSpPr/>
            <p:nvPr/>
          </p:nvCxnSpPr>
          <p:spPr>
            <a:xfrm>
              <a:off x="-600" y="526154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9037A92-0EC2-4FBA-A847-8D0F6C45AD99}"/>
                </a:ext>
              </a:extLst>
            </p:cNvPr>
            <p:cNvCxnSpPr/>
            <p:nvPr/>
          </p:nvCxnSpPr>
          <p:spPr>
            <a:xfrm>
              <a:off x="-600" y="552334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B45D501-68B8-4FBE-8794-3CDE530B5439}"/>
                </a:ext>
              </a:extLst>
            </p:cNvPr>
            <p:cNvCxnSpPr/>
            <p:nvPr userDrawn="1"/>
          </p:nvCxnSpPr>
          <p:spPr>
            <a:xfrm>
              <a:off x="-600" y="578513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C63DF98-DC31-4B0A-9A94-9B9C493BD0DD}"/>
                </a:ext>
              </a:extLst>
            </p:cNvPr>
            <p:cNvCxnSpPr/>
            <p:nvPr userDrawn="1"/>
          </p:nvCxnSpPr>
          <p:spPr>
            <a:xfrm>
              <a:off x="-600" y="81106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97F595-E8CD-4823-A296-F9B434149D35}"/>
                </a:ext>
              </a:extLst>
            </p:cNvPr>
            <p:cNvCxnSpPr/>
            <p:nvPr userDrawn="1"/>
          </p:nvCxnSpPr>
          <p:spPr>
            <a:xfrm>
              <a:off x="-600" y="630872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767E29-78AA-446B-8F14-50FFE81A75D5}"/>
                </a:ext>
              </a:extLst>
            </p:cNvPr>
            <p:cNvCxnSpPr/>
            <p:nvPr userDrawn="1"/>
          </p:nvCxnSpPr>
          <p:spPr>
            <a:xfrm>
              <a:off x="-600" y="604692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grpSp>
      <p:sp>
        <p:nvSpPr>
          <p:cNvPr id="9" name="Footnote measure">
            <a:extLst>
              <a:ext uri="{FF2B5EF4-FFF2-40B4-BE49-F238E27FC236}">
                <a16:creationId xmlns:a16="http://schemas.microsoft.com/office/drawing/2014/main" id="{FCB67C59-94A5-43D0-98F3-D2DF706BE603}"/>
              </a:ext>
            </a:extLst>
          </p:cNvPr>
          <p:cNvSpPr>
            <a:spLocks noChangeArrowheads="1"/>
          </p:cNvSpPr>
          <p:nvPr userDrawn="1"/>
        </p:nvSpPr>
        <p:spPr bwMode="auto">
          <a:xfrm>
            <a:off x="550263" y="6308721"/>
            <a:ext cx="11090873" cy="261799"/>
          </a:xfrm>
          <a:prstGeom prst="rect">
            <a:avLst/>
          </a:prstGeom>
          <a:solidFill>
            <a:srgbClr val="FF0000">
              <a:alpha val="10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0" name="Whitespace measure">
            <a:extLst>
              <a:ext uri="{FF2B5EF4-FFF2-40B4-BE49-F238E27FC236}">
                <a16:creationId xmlns:a16="http://schemas.microsoft.com/office/drawing/2014/main" id="{B9FA0CC8-4D85-4377-9762-D979C28385FB}"/>
              </a:ext>
            </a:extLst>
          </p:cNvPr>
          <p:cNvSpPr>
            <a:spLocks noChangeArrowheads="1"/>
          </p:cNvSpPr>
          <p:nvPr userDrawn="1"/>
        </p:nvSpPr>
        <p:spPr bwMode="auto">
          <a:xfrm>
            <a:off x="550864" y="1348221"/>
            <a:ext cx="11105556" cy="509202"/>
          </a:xfrm>
          <a:prstGeom prst="rect">
            <a:avLst/>
          </a:prstGeom>
          <a:solidFill>
            <a:srgbClr val="FF0000">
              <a:alpha val="5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1" name="Live area">
            <a:extLst>
              <a:ext uri="{FF2B5EF4-FFF2-40B4-BE49-F238E27FC236}">
                <a16:creationId xmlns:a16="http://schemas.microsoft.com/office/drawing/2014/main" id="{AA787823-C275-4031-9AC7-3513520EE759}"/>
              </a:ext>
            </a:extLst>
          </p:cNvPr>
          <p:cNvSpPr/>
          <p:nvPr userDrawn="1"/>
        </p:nvSpPr>
        <p:spPr>
          <a:xfrm>
            <a:off x="550863" y="2120033"/>
            <a:ext cx="11090275" cy="418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chemeClr val="tx2">
                <a:alpha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12" name="Group 11">
            <a:extLst>
              <a:ext uri="{FF2B5EF4-FFF2-40B4-BE49-F238E27FC236}">
                <a16:creationId xmlns:a16="http://schemas.microsoft.com/office/drawing/2014/main" id="{EF1AA03C-D537-4B50-8AA2-DE2B0859A9E0}"/>
              </a:ext>
            </a:extLst>
          </p:cNvPr>
          <p:cNvGrpSpPr/>
          <p:nvPr userDrawn="1"/>
        </p:nvGrpSpPr>
        <p:grpSpPr>
          <a:xfrm>
            <a:off x="1215339" y="1857423"/>
            <a:ext cx="9763000" cy="4458091"/>
            <a:chOff x="1215339" y="549274"/>
            <a:chExt cx="9763000" cy="5759450"/>
          </a:xfrm>
          <a:solidFill>
            <a:schemeClr val="tx2">
              <a:lumMod val="40000"/>
              <a:lumOff val="60000"/>
              <a:alpha val="10000"/>
            </a:schemeClr>
          </a:solidFill>
        </p:grpSpPr>
        <p:sp>
          <p:nvSpPr>
            <p:cNvPr id="13" name="Rectangle 34">
              <a:extLst>
                <a:ext uri="{FF2B5EF4-FFF2-40B4-BE49-F238E27FC236}">
                  <a16:creationId xmlns:a16="http://schemas.microsoft.com/office/drawing/2014/main" id="{CEBF00D2-4B24-426D-BD4A-087B43FE3715}"/>
                </a:ext>
              </a:extLst>
            </p:cNvPr>
            <p:cNvSpPr>
              <a:spLocks noChangeArrowheads="1"/>
            </p:cNvSpPr>
            <p:nvPr/>
          </p:nvSpPr>
          <p:spPr bwMode="auto">
            <a:xfrm>
              <a:off x="690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35">
              <a:extLst>
                <a:ext uri="{FF2B5EF4-FFF2-40B4-BE49-F238E27FC236}">
                  <a16:creationId xmlns:a16="http://schemas.microsoft.com/office/drawing/2014/main" id="{6BD82B4A-4BB0-4614-B13C-4CFCC7A227D9}"/>
                </a:ext>
              </a:extLst>
            </p:cNvPr>
            <p:cNvSpPr>
              <a:spLocks noChangeArrowheads="1"/>
            </p:cNvSpPr>
            <p:nvPr/>
          </p:nvSpPr>
          <p:spPr bwMode="auto">
            <a:xfrm>
              <a:off x="879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5" name="Rectangle 36">
              <a:extLst>
                <a:ext uri="{FF2B5EF4-FFF2-40B4-BE49-F238E27FC236}">
                  <a16:creationId xmlns:a16="http://schemas.microsoft.com/office/drawing/2014/main" id="{BF9ACD5F-BA8A-4218-BB75-6E90A13EF900}"/>
                </a:ext>
              </a:extLst>
            </p:cNvPr>
            <p:cNvSpPr>
              <a:spLocks noChangeArrowheads="1"/>
            </p:cNvSpPr>
            <p:nvPr/>
          </p:nvSpPr>
          <p:spPr bwMode="auto">
            <a:xfrm>
              <a:off x="784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6" name="Rectangle 37">
              <a:extLst>
                <a:ext uri="{FF2B5EF4-FFF2-40B4-BE49-F238E27FC236}">
                  <a16:creationId xmlns:a16="http://schemas.microsoft.com/office/drawing/2014/main" id="{379A22D2-DA96-41ED-9D9E-1155426DFFBD}"/>
                </a:ext>
              </a:extLst>
            </p:cNvPr>
            <p:cNvSpPr>
              <a:spLocks noChangeArrowheads="1"/>
            </p:cNvSpPr>
            <p:nvPr/>
          </p:nvSpPr>
          <p:spPr bwMode="auto">
            <a:xfrm>
              <a:off x="974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7" name="Rectangle 38">
              <a:extLst>
                <a:ext uri="{FF2B5EF4-FFF2-40B4-BE49-F238E27FC236}">
                  <a16:creationId xmlns:a16="http://schemas.microsoft.com/office/drawing/2014/main" id="{7EF7963D-A1E1-415D-8969-F027A75D12FE}"/>
                </a:ext>
              </a:extLst>
            </p:cNvPr>
            <p:cNvSpPr>
              <a:spLocks noChangeArrowheads="1"/>
            </p:cNvSpPr>
            <p:nvPr/>
          </p:nvSpPr>
          <p:spPr bwMode="auto">
            <a:xfrm>
              <a:off x="1069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8" name="Rectangle 39">
              <a:extLst>
                <a:ext uri="{FF2B5EF4-FFF2-40B4-BE49-F238E27FC236}">
                  <a16:creationId xmlns:a16="http://schemas.microsoft.com/office/drawing/2014/main" id="{BBE34D05-AF10-4FE9-A201-F9E2A8027014}"/>
                </a:ext>
              </a:extLst>
            </p:cNvPr>
            <p:cNvSpPr>
              <a:spLocks noChangeArrowheads="1"/>
            </p:cNvSpPr>
            <p:nvPr/>
          </p:nvSpPr>
          <p:spPr bwMode="auto">
            <a:xfrm>
              <a:off x="5952839" y="549274"/>
              <a:ext cx="288000" cy="5759450"/>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9" name="Rectangle 40">
              <a:extLst>
                <a:ext uri="{FF2B5EF4-FFF2-40B4-BE49-F238E27FC236}">
                  <a16:creationId xmlns:a16="http://schemas.microsoft.com/office/drawing/2014/main" id="{349BF860-A8A0-4AB9-B299-1AF8241953E9}"/>
                </a:ext>
              </a:extLst>
            </p:cNvPr>
            <p:cNvSpPr>
              <a:spLocks noChangeArrowheads="1"/>
            </p:cNvSpPr>
            <p:nvPr/>
          </p:nvSpPr>
          <p:spPr bwMode="auto">
            <a:xfrm>
              <a:off x="121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41">
              <a:extLst>
                <a:ext uri="{FF2B5EF4-FFF2-40B4-BE49-F238E27FC236}">
                  <a16:creationId xmlns:a16="http://schemas.microsoft.com/office/drawing/2014/main" id="{3E2A80A6-61F6-4E58-B43B-059CCD29CD23}"/>
                </a:ext>
              </a:extLst>
            </p:cNvPr>
            <p:cNvSpPr>
              <a:spLocks noChangeArrowheads="1"/>
            </p:cNvSpPr>
            <p:nvPr/>
          </p:nvSpPr>
          <p:spPr bwMode="auto">
            <a:xfrm>
              <a:off x="216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1" name="Rectangle 42">
              <a:extLst>
                <a:ext uri="{FF2B5EF4-FFF2-40B4-BE49-F238E27FC236}">
                  <a16:creationId xmlns:a16="http://schemas.microsoft.com/office/drawing/2014/main" id="{0F927BDE-7613-4A1B-9405-C18A0AA0230E}"/>
                </a:ext>
              </a:extLst>
            </p:cNvPr>
            <p:cNvSpPr>
              <a:spLocks noChangeArrowheads="1"/>
            </p:cNvSpPr>
            <p:nvPr/>
          </p:nvSpPr>
          <p:spPr bwMode="auto">
            <a:xfrm>
              <a:off x="311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2" name="Rectangle 43">
              <a:extLst>
                <a:ext uri="{FF2B5EF4-FFF2-40B4-BE49-F238E27FC236}">
                  <a16:creationId xmlns:a16="http://schemas.microsoft.com/office/drawing/2014/main" id="{9D0BF9DE-3D09-432F-B97F-D68AFE1C7D42}"/>
                </a:ext>
              </a:extLst>
            </p:cNvPr>
            <p:cNvSpPr>
              <a:spLocks noChangeArrowheads="1"/>
            </p:cNvSpPr>
            <p:nvPr/>
          </p:nvSpPr>
          <p:spPr bwMode="auto">
            <a:xfrm>
              <a:off x="405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3" name="Rectangle 44">
              <a:extLst>
                <a:ext uri="{FF2B5EF4-FFF2-40B4-BE49-F238E27FC236}">
                  <a16:creationId xmlns:a16="http://schemas.microsoft.com/office/drawing/2014/main" id="{7807AD9B-3A59-4121-9F68-FB858FD6D2BC}"/>
                </a:ext>
              </a:extLst>
            </p:cNvPr>
            <p:cNvSpPr>
              <a:spLocks noChangeArrowheads="1"/>
            </p:cNvSpPr>
            <p:nvPr/>
          </p:nvSpPr>
          <p:spPr bwMode="auto">
            <a:xfrm>
              <a:off x="500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Calibri" panose="020F0502020204030204" pitchFamily="34" charset="0"/>
                <a:cs typeface="Calibri" panose="020F0502020204030204" pitchFamily="34" charset="0"/>
                <a:sym typeface="Calibri" panose="020F0502020204030204" pitchFamily="34" charset="0"/>
              </a:endParaRPr>
            </a:p>
          </p:txBody>
        </p:sp>
      </p:grpSp>
      <p:sp>
        <p:nvSpPr>
          <p:cNvPr id="47" name="Footnote example">
            <a:extLst>
              <a:ext uri="{FF2B5EF4-FFF2-40B4-BE49-F238E27FC236}">
                <a16:creationId xmlns:a16="http://schemas.microsoft.com/office/drawing/2014/main" id="{DBF27226-1CAE-4EC3-B7C2-CD7BFF212B2F}"/>
              </a:ext>
            </a:extLst>
          </p:cNvPr>
          <p:cNvSpPr txBox="1"/>
          <p:nvPr userDrawn="1"/>
        </p:nvSpPr>
        <p:spPr>
          <a:xfrm>
            <a:off x="550862" y="6309543"/>
            <a:ext cx="9030915" cy="277705"/>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Footnotes/Not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Source: Include a source here</a:t>
            </a:r>
          </a:p>
        </p:txBody>
      </p:sp>
      <p:sp>
        <p:nvSpPr>
          <p:cNvPr id="5" name="Slide Number Placeholder 4">
            <a:extLst>
              <a:ext uri="{FF2B5EF4-FFF2-40B4-BE49-F238E27FC236}">
                <a16:creationId xmlns:a16="http://schemas.microsoft.com/office/drawing/2014/main" id="{75491C5D-1CCA-4AD2-960D-E2D2520D37E4}"/>
              </a:ext>
            </a:extLst>
          </p:cNvPr>
          <p:cNvSpPr>
            <a:spLocks noGrp="1"/>
          </p:cNvSpPr>
          <p:nvPr userDrawn="1">
            <p:ph type="sldNum" sz="quarter" idx="12"/>
          </p:nvPr>
        </p:nvSpPr>
        <p:spPr>
          <a:xfrm>
            <a:off x="11490153" y="6450225"/>
            <a:ext cx="150682" cy="153888"/>
          </a:xfrm>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fld id="{2547BBBC-05CB-49BC-A9CC-2D869F0C1D2C}" type="slidenum">
              <a:rPr lang="en-US" smtClean="0"/>
              <a:pPr/>
              <a:t>‹#›</a:t>
            </a:fld>
            <a:endParaRPr lang="en-US" dirty="0"/>
          </a:p>
        </p:txBody>
      </p:sp>
      <p:grpSp>
        <p:nvGrpSpPr>
          <p:cNvPr id="2" name="Group 1">
            <a:extLst>
              <a:ext uri="{FF2B5EF4-FFF2-40B4-BE49-F238E27FC236}">
                <a16:creationId xmlns:a16="http://schemas.microsoft.com/office/drawing/2014/main" id="{0A5092CC-99B7-42FA-B922-D9A469AA61A3}"/>
              </a:ext>
            </a:extLst>
          </p:cNvPr>
          <p:cNvGrpSpPr/>
          <p:nvPr userDrawn="1"/>
        </p:nvGrpSpPr>
        <p:grpSpPr>
          <a:xfrm>
            <a:off x="550864" y="6156603"/>
            <a:ext cx="11089971" cy="55199"/>
            <a:chOff x="550864" y="6156603"/>
            <a:chExt cx="11089971" cy="55199"/>
          </a:xfrm>
        </p:grpSpPr>
        <p:sp>
          <p:nvSpPr>
            <p:cNvPr id="51" name="Rectangle 50">
              <a:extLst>
                <a:ext uri="{FF2B5EF4-FFF2-40B4-BE49-F238E27FC236}">
                  <a16:creationId xmlns:a16="http://schemas.microsoft.com/office/drawing/2014/main" id="{C7D78F6B-68EA-4677-8270-E6CE44B4A9DC}"/>
                </a:ext>
              </a:extLst>
            </p:cNvPr>
            <p:cNvSpPr/>
            <p:nvPr userDrawn="1"/>
          </p:nvSpPr>
          <p:spPr>
            <a:xfrm>
              <a:off x="550864"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2" name="Rectangle 51">
              <a:extLst>
                <a:ext uri="{FF2B5EF4-FFF2-40B4-BE49-F238E27FC236}">
                  <a16:creationId xmlns:a16="http://schemas.microsoft.com/office/drawing/2014/main" id="{B6E6D155-C668-4620-947B-CD6756DB3E3F}"/>
                </a:ext>
              </a:extLst>
            </p:cNvPr>
            <p:cNvSpPr/>
            <p:nvPr userDrawn="1"/>
          </p:nvSpPr>
          <p:spPr>
            <a:xfrm>
              <a:off x="5104050"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3" name="Rectangle 52">
              <a:extLst>
                <a:ext uri="{FF2B5EF4-FFF2-40B4-BE49-F238E27FC236}">
                  <a16:creationId xmlns:a16="http://schemas.microsoft.com/office/drawing/2014/main" id="{53A33606-AE46-4272-A076-D6F1DEF2BE14}"/>
                </a:ext>
              </a:extLst>
            </p:cNvPr>
            <p:cNvSpPr/>
            <p:nvPr userDrawn="1"/>
          </p:nvSpPr>
          <p:spPr>
            <a:xfrm>
              <a:off x="7380643"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4" name="Rectangle 53">
              <a:extLst>
                <a:ext uri="{FF2B5EF4-FFF2-40B4-BE49-F238E27FC236}">
                  <a16:creationId xmlns:a16="http://schemas.microsoft.com/office/drawing/2014/main" id="{97AF00D4-2C2C-4B64-AC48-30E76E740B68}"/>
                </a:ext>
              </a:extLst>
            </p:cNvPr>
            <p:cNvSpPr/>
            <p:nvPr userDrawn="1"/>
          </p:nvSpPr>
          <p:spPr>
            <a:xfrm>
              <a:off x="9657235"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5" name="Rectangle 54">
              <a:extLst>
                <a:ext uri="{FF2B5EF4-FFF2-40B4-BE49-F238E27FC236}">
                  <a16:creationId xmlns:a16="http://schemas.microsoft.com/office/drawing/2014/main" id="{F53F07A3-100A-4285-8103-25EB4F518B92}"/>
                </a:ext>
              </a:extLst>
            </p:cNvPr>
            <p:cNvSpPr/>
            <p:nvPr userDrawn="1"/>
          </p:nvSpPr>
          <p:spPr>
            <a:xfrm>
              <a:off x="2827457"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grpSp>
        <p:nvGrpSpPr>
          <p:cNvPr id="56" name="Group 55">
            <a:extLst>
              <a:ext uri="{FF2B5EF4-FFF2-40B4-BE49-F238E27FC236}">
                <a16:creationId xmlns:a16="http://schemas.microsoft.com/office/drawing/2014/main" id="{9C3F2152-358B-4AF4-9E4C-FFC021458588}"/>
              </a:ext>
            </a:extLst>
          </p:cNvPr>
          <p:cNvGrpSpPr/>
          <p:nvPr userDrawn="1"/>
        </p:nvGrpSpPr>
        <p:grpSpPr>
          <a:xfrm>
            <a:off x="11979441" y="4535494"/>
            <a:ext cx="110800" cy="2041949"/>
            <a:chOff x="11979441" y="4535494"/>
            <a:chExt cx="110800" cy="2041949"/>
          </a:xfrm>
        </p:grpSpPr>
        <p:grpSp>
          <p:nvGrpSpPr>
            <p:cNvPr id="57" name="Group 56">
              <a:extLst>
                <a:ext uri="{FF2B5EF4-FFF2-40B4-BE49-F238E27FC236}">
                  <a16:creationId xmlns:a16="http://schemas.microsoft.com/office/drawing/2014/main" id="{0EE3E2D1-AA6B-4858-AEA5-CA4E153942A1}"/>
                </a:ext>
              </a:extLst>
            </p:cNvPr>
            <p:cNvGrpSpPr/>
            <p:nvPr userDrawn="1"/>
          </p:nvGrpSpPr>
          <p:grpSpPr>
            <a:xfrm>
              <a:off x="11998460" y="6135518"/>
              <a:ext cx="68500" cy="441924"/>
              <a:chOff x="11998459" y="6162188"/>
              <a:chExt cx="68500" cy="441924"/>
            </a:xfrm>
          </p:grpSpPr>
          <p:sp>
            <p:nvSpPr>
              <p:cNvPr id="60" name="Freeform: Shape 59">
                <a:extLst>
                  <a:ext uri="{FF2B5EF4-FFF2-40B4-BE49-F238E27FC236}">
                    <a16:creationId xmlns:a16="http://schemas.microsoft.com/office/drawing/2014/main" id="{8F01DC23-2710-4E23-8ECF-D42A01049798}"/>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1" name="Freeform: Shape 60">
                <a:extLst>
                  <a:ext uri="{FF2B5EF4-FFF2-40B4-BE49-F238E27FC236}">
                    <a16:creationId xmlns:a16="http://schemas.microsoft.com/office/drawing/2014/main" id="{625F897C-F6DC-43F6-83A9-103566BB7B1A}"/>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2" name="Freeform: Shape 61">
                <a:extLst>
                  <a:ext uri="{FF2B5EF4-FFF2-40B4-BE49-F238E27FC236}">
                    <a16:creationId xmlns:a16="http://schemas.microsoft.com/office/drawing/2014/main" id="{297483D6-4F68-4046-9938-3975F46B128B}"/>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3" name="Freeform: Shape 62">
                <a:extLst>
                  <a:ext uri="{FF2B5EF4-FFF2-40B4-BE49-F238E27FC236}">
                    <a16:creationId xmlns:a16="http://schemas.microsoft.com/office/drawing/2014/main" id="{60260B8F-626E-4F6C-82D6-73BBB93D898A}"/>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4" name="Freeform: Shape 63">
                <a:extLst>
                  <a:ext uri="{FF2B5EF4-FFF2-40B4-BE49-F238E27FC236}">
                    <a16:creationId xmlns:a16="http://schemas.microsoft.com/office/drawing/2014/main" id="{C8041FBB-4E11-4186-939C-922BB885CE7F}"/>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5" name="Freeform: Shape 64">
                <a:extLst>
                  <a:ext uri="{FF2B5EF4-FFF2-40B4-BE49-F238E27FC236}">
                    <a16:creationId xmlns:a16="http://schemas.microsoft.com/office/drawing/2014/main" id="{9B9D46F4-06A5-41BD-A370-19C37CA28B5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6" name="Freeform: Shape 65">
                <a:extLst>
                  <a:ext uri="{FF2B5EF4-FFF2-40B4-BE49-F238E27FC236}">
                    <a16:creationId xmlns:a16="http://schemas.microsoft.com/office/drawing/2014/main" id="{B4380E05-CB91-42D7-A593-68D7E79B69EF}"/>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7" name="Freeform: Shape 66">
                <a:extLst>
                  <a:ext uri="{FF2B5EF4-FFF2-40B4-BE49-F238E27FC236}">
                    <a16:creationId xmlns:a16="http://schemas.microsoft.com/office/drawing/2014/main" id="{0D399139-04A8-4906-A0E9-F32ED37B1DB5}"/>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8" name="Freeform: Shape 67">
                <a:extLst>
                  <a:ext uri="{FF2B5EF4-FFF2-40B4-BE49-F238E27FC236}">
                    <a16:creationId xmlns:a16="http://schemas.microsoft.com/office/drawing/2014/main" id="{5E2C3744-960D-4FE8-A425-0A1BCCBFDCE3}"/>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9" name="Freeform: Shape 68">
                <a:extLst>
                  <a:ext uri="{FF2B5EF4-FFF2-40B4-BE49-F238E27FC236}">
                    <a16:creationId xmlns:a16="http://schemas.microsoft.com/office/drawing/2014/main" id="{4656CA51-5E36-4B65-AAB5-604B2FFF1CA6}"/>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0" name="Freeform: Shape 69">
                <a:extLst>
                  <a:ext uri="{FF2B5EF4-FFF2-40B4-BE49-F238E27FC236}">
                    <a16:creationId xmlns:a16="http://schemas.microsoft.com/office/drawing/2014/main" id="{0BEF9EA6-DC0A-4745-950A-75EB35C11A83}"/>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1" name="Freeform: Shape 70">
                <a:extLst>
                  <a:ext uri="{FF2B5EF4-FFF2-40B4-BE49-F238E27FC236}">
                    <a16:creationId xmlns:a16="http://schemas.microsoft.com/office/drawing/2014/main" id="{C185182D-9507-4706-B5C3-7D60904B8C4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2" name="Freeform: Shape 71">
                <a:extLst>
                  <a:ext uri="{FF2B5EF4-FFF2-40B4-BE49-F238E27FC236}">
                    <a16:creationId xmlns:a16="http://schemas.microsoft.com/office/drawing/2014/main" id="{DC967172-2751-4E17-ACEB-B9AC16A1C8EE}"/>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58" name="Graphic 57">
              <a:extLst>
                <a:ext uri="{FF2B5EF4-FFF2-40B4-BE49-F238E27FC236}">
                  <a16:creationId xmlns:a16="http://schemas.microsoft.com/office/drawing/2014/main" id="{B1C13260-A832-4897-8C2A-B004FA9AB53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11811888" y="6322371"/>
              <a:ext cx="441438" cy="68706"/>
            </a:xfrm>
            <a:prstGeom prst="rect">
              <a:avLst/>
            </a:prstGeom>
          </p:spPr>
        </p:pic>
        <p:sp>
          <p:nvSpPr>
            <p:cNvPr id="59" name="Copyright">
              <a:extLst>
                <a:ext uri="{FF2B5EF4-FFF2-40B4-BE49-F238E27FC236}">
                  <a16:creationId xmlns:a16="http://schemas.microsoft.com/office/drawing/2014/main" id="{4E29D673-EFE2-4CE9-96D3-54B928054039}"/>
                </a:ext>
              </a:extLst>
            </p:cNvPr>
            <p:cNvSpPr txBox="1"/>
            <p:nvPr userDrawn="1"/>
          </p:nvSpPr>
          <p:spPr>
            <a:xfrm rot="16200000">
              <a:off x="11250972" y="526396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rtl="0"/>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2. All rights reserved.</a:t>
              </a:r>
            </a:p>
          </p:txBody>
        </p:sp>
      </p:grpSp>
      <p:sp>
        <p:nvSpPr>
          <p:cNvPr id="4" name="Title 3">
            <a:extLst>
              <a:ext uri="{FF2B5EF4-FFF2-40B4-BE49-F238E27FC236}">
                <a16:creationId xmlns:a16="http://schemas.microsoft.com/office/drawing/2014/main" id="{9679ACBB-550D-47A2-9ADD-A6C09F32A2FB}"/>
              </a:ext>
            </a:extLst>
          </p:cNvPr>
          <p:cNvSpPr>
            <a:spLocks noGrp="1"/>
          </p:cNvSpPr>
          <p:nvPr>
            <p:ph type="title"/>
          </p:nvPr>
        </p:nvSpPr>
        <p:spPr>
          <a:xfrm>
            <a:off x="531813" y="560588"/>
            <a:ext cx="11089972" cy="443198"/>
          </a:xfrm>
        </p:spPr>
        <p:txBody>
          <a:bodyPr vert="horz"/>
          <a:lstStyle>
            <a:lvl1pPr rtl="0">
              <a:defRPr/>
            </a:lvl1pPr>
          </a:lstStyle>
          <a:p>
            <a:r>
              <a:rPr lang="en-US" dirty="0"/>
              <a:t>Click to edit Master title style</a:t>
            </a:r>
          </a:p>
        </p:txBody>
      </p:sp>
      <p:cxnSp>
        <p:nvCxnSpPr>
          <p:cNvPr id="73" name="Straight Connector 72">
            <a:extLst>
              <a:ext uri="{FF2B5EF4-FFF2-40B4-BE49-F238E27FC236}">
                <a16:creationId xmlns:a16="http://schemas.microsoft.com/office/drawing/2014/main" id="{DA9FA602-B0B9-4981-B1E1-9FFC8BD86320}"/>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02899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072341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903"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5"/>
            <a:ext cx="426399"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a:t>
            </a:r>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Tree>
    <p:extLst>
      <p:ext uri="{BB962C8B-B14F-4D97-AF65-F5344CB8AC3E}">
        <p14:creationId xmlns:p14="http://schemas.microsoft.com/office/powerpoint/2010/main" val="41533300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Subtitle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EE13-6A4D-48C2-A4B1-30DA07094AC2}"/>
              </a:ext>
            </a:extLst>
          </p:cNvPr>
          <p:cNvGraphicFramePr>
            <a:graphicFrameLocks noChangeAspect="1"/>
          </p:cNvGraphicFramePr>
          <p:nvPr userDrawn="1">
            <p:custDataLst>
              <p:tags r:id="rId1"/>
            </p:custDataLst>
            <p:extLst>
              <p:ext uri="{D42A27DB-BD31-4B8C-83A1-F6EECF244321}">
                <p14:modId xmlns:p14="http://schemas.microsoft.com/office/powerpoint/2010/main" val="1706114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7215EE13-6A4D-48C2-A4B1-30DA07094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6BF5482-D26D-4D4B-B820-6F293B1BD576}"/>
              </a:ext>
            </a:extLst>
          </p:cNvPr>
          <p:cNvSpPr/>
          <p:nvPr userDrawn="1">
            <p:custDataLst>
              <p:tags r:id="rId2"/>
            </p:custDataLst>
          </p:nvPr>
        </p:nvSpPr>
        <p:spPr>
          <a:xfrm>
            <a:off x="0" y="0"/>
            <a:ext cx="181024" cy="1440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2903"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4" name="Footer Placeholder 3">
            <a:extLst>
              <a:ext uri="{FF2B5EF4-FFF2-40B4-BE49-F238E27FC236}">
                <a16:creationId xmlns:a16="http://schemas.microsoft.com/office/drawing/2014/main" id="{8A374107-D284-43FC-B1C8-16D4730570E9}"/>
              </a:ext>
            </a:extLst>
          </p:cNvPr>
          <p:cNvSpPr>
            <a:spLocks noGrp="1"/>
          </p:cNvSpPr>
          <p:nvPr>
            <p:ph type="ftr" sz="quarter" idx="11"/>
          </p:nvPr>
        </p:nvSpPr>
        <p:spPr>
          <a:xfrm>
            <a:off x="550862" y="6465615"/>
            <a:ext cx="426399" cy="138499"/>
          </a:xfrm>
          <a:noFill/>
        </p:spPr>
        <p:txBody>
          <a:bodyPr wrap="none" lIns="0" tIns="0" rIns="0" bIns="0" rtlCol="0" anchor="b">
            <a:spAutoFit/>
          </a:bodyPr>
          <a:lstStyle>
            <a:lvl1pPr rtl="0">
              <a:defRPr lang="en-US" smtClean="0">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a:t>
            </a:r>
          </a:p>
        </p:txBody>
      </p:sp>
      <p:sp>
        <p:nvSpPr>
          <p:cNvPr id="5" name="Slide Number Placeholder 4">
            <a:extLst>
              <a:ext uri="{FF2B5EF4-FFF2-40B4-BE49-F238E27FC236}">
                <a16:creationId xmlns:a16="http://schemas.microsoft.com/office/drawing/2014/main" id="{1A089CAE-6B9C-4764-B552-4C492F022EB6}"/>
              </a:ext>
            </a:extLst>
          </p:cNvPr>
          <p:cNvSpPr>
            <a:spLocks noGrp="1"/>
          </p:cNvSpPr>
          <p:nvPr>
            <p:ph type="sldNum" sz="quarter" idx="12"/>
          </p:nvPr>
        </p:nvSpPr>
        <p:spPr>
          <a:xfrm>
            <a:off x="11490154" y="6450228"/>
            <a:ext cx="150682" cy="153888"/>
          </a:xfrm>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fld id="{2547BBBC-05CB-49BC-A9CC-2D869F0C1D2C}" type="slidenum">
              <a:rPr lang="en-US" smtClean="0"/>
              <a:pPr/>
              <a:t>‹#›</a:t>
            </a:fld>
            <a:endParaRPr lang="en-US" dirty="0"/>
          </a:p>
        </p:txBody>
      </p:sp>
      <p:sp>
        <p:nvSpPr>
          <p:cNvPr id="7" name="Title 6">
            <a:extLst>
              <a:ext uri="{FF2B5EF4-FFF2-40B4-BE49-F238E27FC236}">
                <a16:creationId xmlns:a16="http://schemas.microsoft.com/office/drawing/2014/main" id="{863ADCA1-24FF-455B-8752-27019761817C}"/>
              </a:ext>
            </a:extLst>
          </p:cNvPr>
          <p:cNvSpPr>
            <a:spLocks noGrp="1"/>
          </p:cNvSpPr>
          <p:nvPr>
            <p:ph type="title"/>
          </p:nvPr>
        </p:nvSpPr>
        <p:spPr>
          <a:xfrm>
            <a:off x="551714" y="439246"/>
            <a:ext cx="11089972" cy="418576"/>
          </a:xfrm>
        </p:spPr>
        <p:txBody>
          <a:bodyPr vert="horz" wrap="square" lIns="0" tIns="0" rIns="0" bIns="0" rtlCol="0" anchor="t">
            <a:spAutoFit/>
          </a:bodyPr>
          <a:lstStyle>
            <a:lvl1pPr rtl="0">
              <a:defRPr lang="en-IN" dirty="0">
                <a:latin typeface="Franklin Gothic Demi" panose="020B0703020102020204" pitchFamily="34" charset="0"/>
                <a:cs typeface="Calibri" panose="020F0502020204030204" pitchFamily="34" charset="0"/>
                <a:sym typeface="Calibri" panose="020F0502020204030204" pitchFamily="34" charset="0"/>
              </a:defRPr>
            </a:lvl1pPr>
          </a:lstStyle>
          <a:p>
            <a:pPr lvl="0">
              <a:lnSpc>
                <a:spcPct val="85000"/>
              </a:lnSpc>
            </a:pPr>
            <a:r>
              <a:rPr lang="en-US" dirty="0"/>
              <a:t>Click to edit Master title style</a:t>
            </a:r>
          </a:p>
        </p:txBody>
      </p:sp>
      <p:sp>
        <p:nvSpPr>
          <p:cNvPr id="10" name="Text Placeholder 9">
            <a:extLst>
              <a:ext uri="{FF2B5EF4-FFF2-40B4-BE49-F238E27FC236}">
                <a16:creationId xmlns:a16="http://schemas.microsoft.com/office/drawing/2014/main" id="{B7DA5DEC-E51B-46CB-9299-877852868261}"/>
              </a:ext>
            </a:extLst>
          </p:cNvPr>
          <p:cNvSpPr>
            <a:spLocks noGrp="1"/>
          </p:cNvSpPr>
          <p:nvPr>
            <p:ph type="body" sz="quarter" idx="13"/>
          </p:nvPr>
        </p:nvSpPr>
        <p:spPr>
          <a:xfrm>
            <a:off x="558852" y="881142"/>
            <a:ext cx="11089972" cy="265249"/>
          </a:xfrm>
        </p:spPr>
        <p:txBody>
          <a:bodyPr>
            <a:spAutoFit/>
          </a:bodyPr>
          <a:lstStyle>
            <a:lvl1pPr rtl="0">
              <a:defRPr sz="1814">
                <a:solidFill>
                  <a:schemeClr val="tx2">
                    <a:lumMod val="60000"/>
                    <a:lumOff val="40000"/>
                  </a:schemeClr>
                </a:solidFill>
                <a:latin typeface="Franklin Gothic Book" panose="020B0503020102020204" pitchFamily="34" charset="0"/>
                <a:cs typeface="Calibri" panose="020F0502020204030204" pitchFamily="34" charset="0"/>
                <a:sym typeface="Calibri" panose="020F0502020204030204" pitchFamily="34" charset="0"/>
              </a:defRPr>
            </a:lvl1pPr>
          </a:lstStyle>
          <a:p>
            <a:pPr lvl="0"/>
            <a:r>
              <a:rPr lang="en-US" dirty="0"/>
              <a:t>Click to edit Master text styles</a:t>
            </a:r>
          </a:p>
        </p:txBody>
      </p:sp>
    </p:spTree>
    <p:extLst>
      <p:ext uri="{BB962C8B-B14F-4D97-AF65-F5344CB8AC3E}">
        <p14:creationId xmlns:p14="http://schemas.microsoft.com/office/powerpoint/2010/main" val="3257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Option 4)">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1905688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14727E-8174-4A53-8CD1-66A25E0EEAA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 t="15627" r="-1" b="6561"/>
          <a:stretch/>
        </p:blipFill>
        <p:spPr>
          <a:xfrm>
            <a:off x="0" y="1522048"/>
            <a:ext cx="12192000" cy="5335952"/>
          </a:xfrm>
          <a:prstGeom prst="rect">
            <a:avLst/>
          </a:prstGeom>
        </p:spPr>
      </p:pic>
      <p:sp>
        <p:nvSpPr>
          <p:cNvPr id="14" name="Rectangle 13">
            <a:extLst>
              <a:ext uri="{FF2B5EF4-FFF2-40B4-BE49-F238E27FC236}">
                <a16:creationId xmlns:a16="http://schemas.microsoft.com/office/drawing/2014/main" id="{A3F336B7-5196-4F00-B83A-3DCD314992C8}"/>
              </a:ext>
            </a:extLst>
          </p:cNvPr>
          <p:cNvSpPr/>
          <p:nvPr userDrawn="1"/>
        </p:nvSpPr>
        <p:spPr>
          <a:xfrm>
            <a:off x="536448" y="0"/>
            <a:ext cx="6363291" cy="6308726"/>
          </a:xfrm>
          <a:prstGeom prst="rect">
            <a:avLst/>
          </a:prstGeom>
          <a:gradFill flip="none" rotWithShape="1">
            <a:gsLst>
              <a:gs pos="0">
                <a:schemeClr val="tx2">
                  <a:lumMod val="50000"/>
                </a:schemeClr>
              </a:gs>
              <a:gs pos="39000">
                <a:schemeClr val="tx2">
                  <a:lumMod val="75000"/>
                  <a:alpha val="95000"/>
                </a:schemeClr>
              </a:gs>
              <a:gs pos="7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66686"/>
            <a:ext cx="5478239" cy="1231106"/>
          </a:xfrm>
        </p:spPr>
        <p:txBody>
          <a:bodyPr vert="horz" wrap="square" lIns="0" tIns="0" rIns="0" bIns="0" rtlCol="0" anchor="b">
            <a:spAutoFit/>
          </a:bodyPr>
          <a:lstStyle>
            <a:lvl1pPr rtl="0">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478239" cy="292388"/>
          </a:xfrm>
        </p:spPr>
        <p:txBody>
          <a:bodyPr vert="horz" wrap="square" lIns="0" tIns="0" rIns="0" bIns="0" rtlCol="0" anchor="t">
            <a:spAutoFit/>
          </a:bodyPr>
          <a:lstStyle>
            <a:lvl1pPr rtl="0">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842430"/>
            <a:ext cx="354392" cy="193899"/>
          </a:xfrm>
          <a:prstGeom prst="rect">
            <a:avLst/>
          </a:prstGeom>
        </p:spPr>
        <p:txBody>
          <a:bodyPr vert="horz" wrap="none" lIns="0" tIns="0" rIns="0" bIns="0" rtlCol="0" anchor="t">
            <a:spAutoFit/>
          </a:bodyPr>
          <a:lstStyle>
            <a:lvl1pPr rtl="0">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r>
              <a:rPr lang="en-US" dirty="0"/>
              <a:t>Date</a:t>
            </a:r>
          </a:p>
        </p:txBody>
      </p:sp>
      <p:pic>
        <p:nvPicPr>
          <p:cNvPr id="6" name="Graphic 11">
            <a:extLst>
              <a:ext uri="{FF2B5EF4-FFF2-40B4-BE49-F238E27FC236}">
                <a16:creationId xmlns:a16="http://schemas.microsoft.com/office/drawing/2014/main" id="{8EE9E4B7-80C2-DAAD-4126-3170AE99598A}"/>
              </a:ext>
            </a:extLst>
          </p:cNvPr>
          <p:cNvPicPr>
            <a:picLocks/>
          </p:cNvPicPr>
          <p:nvPr userDrawn="1"/>
        </p:nvPicPr>
        <p:blipFill>
          <a:blip r:embed="rId7">
            <a:extLst>
              <a:ext uri="{28A0092B-C50C-407E-A947-70E740481C1C}">
                <a14:useLocalDpi xmlns:a14="http://schemas.microsoft.com/office/drawing/2010/main" val="0"/>
              </a:ext>
            </a:extLst>
          </a:blip>
          <a:srcRect/>
          <a:stretch/>
        </p:blipFill>
        <p:spPr>
          <a:xfrm>
            <a:off x="1060704" y="448056"/>
            <a:ext cx="2706624" cy="621792"/>
          </a:xfrm>
          <a:prstGeom prst="rect">
            <a:avLst/>
          </a:prstGeom>
        </p:spPr>
      </p:pic>
    </p:spTree>
    <p:extLst>
      <p:ext uri="{BB962C8B-B14F-4D97-AF65-F5344CB8AC3E}">
        <p14:creationId xmlns:p14="http://schemas.microsoft.com/office/powerpoint/2010/main" val="27456663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EE13-6A4D-48C2-A4B1-30DA07094AC2}"/>
              </a:ext>
            </a:extLst>
          </p:cNvPr>
          <p:cNvGraphicFramePr>
            <a:graphicFrameLocks noChangeAspect="1"/>
          </p:cNvGraphicFramePr>
          <p:nvPr userDrawn="1">
            <p:custDataLst>
              <p:tags r:id="rId1"/>
            </p:custDataLst>
            <p:extLst>
              <p:ext uri="{D42A27DB-BD31-4B8C-83A1-F6EECF244321}">
                <p14:modId xmlns:p14="http://schemas.microsoft.com/office/powerpoint/2010/main" val="9666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63ADCA1-24FF-455B-8752-27019761817C}"/>
              </a:ext>
            </a:extLst>
          </p:cNvPr>
          <p:cNvSpPr>
            <a:spLocks noGrp="1"/>
          </p:cNvSpPr>
          <p:nvPr>
            <p:ph type="title"/>
          </p:nvPr>
        </p:nvSpPr>
        <p:spPr>
          <a:xfrm>
            <a:off x="531813" y="560588"/>
            <a:ext cx="11089972" cy="422295"/>
          </a:xfrm>
        </p:spPr>
        <p:txBody>
          <a:bodyPr vert="horz" wrap="square" lIns="0" tIns="0" rIns="0" bIns="0" rtlCol="0" anchor="t">
            <a:spAutoFit/>
          </a:bodyPr>
          <a:lstStyle>
            <a:lvl1pPr rtl="0">
              <a:defRPr lang="en-IN" dirty="0">
                <a:latin typeface="Franklin Gothic Demi" panose="020B0703020102020204" pitchFamily="34" charset="0"/>
                <a:cs typeface="Calibri" panose="020F0502020204030204" pitchFamily="34" charset="0"/>
                <a:sym typeface="Calibri" panose="020F0502020204030204" pitchFamily="34" charset="0"/>
              </a:defRPr>
            </a:lvl1pPr>
          </a:lstStyle>
          <a:p>
            <a:pPr lvl="0">
              <a:lnSpc>
                <a:spcPct val="85000"/>
              </a:lnSpc>
            </a:pPr>
            <a:r>
              <a:rPr lang="en-US" dirty="0"/>
              <a:t>Click to edit Master title style</a:t>
            </a:r>
          </a:p>
        </p:txBody>
      </p:sp>
      <p:sp>
        <p:nvSpPr>
          <p:cNvPr id="10" name="Text Placeholder 9">
            <a:extLst>
              <a:ext uri="{FF2B5EF4-FFF2-40B4-BE49-F238E27FC236}">
                <a16:creationId xmlns:a16="http://schemas.microsoft.com/office/drawing/2014/main" id="{B7DA5DEC-E51B-46CB-9299-877852868261}"/>
              </a:ext>
            </a:extLst>
          </p:cNvPr>
          <p:cNvSpPr>
            <a:spLocks noGrp="1"/>
          </p:cNvSpPr>
          <p:nvPr>
            <p:ph type="body" sz="quarter" idx="13"/>
          </p:nvPr>
        </p:nvSpPr>
        <p:spPr>
          <a:xfrm>
            <a:off x="531813" y="1028324"/>
            <a:ext cx="11089972" cy="292388"/>
          </a:xfrm>
        </p:spPr>
        <p:txBody>
          <a:bodyPr>
            <a:spAutoFit/>
          </a:bodyPr>
          <a:lstStyle>
            <a:lvl1pPr rtl="0">
              <a:defRPr sz="2000">
                <a:solidFill>
                  <a:schemeClr val="tx2">
                    <a:lumMod val="60000"/>
                    <a:lumOff val="40000"/>
                  </a:schemeClr>
                </a:solidFill>
                <a:latin typeface="Franklin Gothic Book" panose="020B0503020102020204" pitchFamily="34" charset="0"/>
                <a:cs typeface="Calibri" panose="020F0502020204030204" pitchFamily="34" charset="0"/>
                <a:sym typeface="Calibri" panose="020F0502020204030204" pitchFamily="34" charset="0"/>
              </a:defRPr>
            </a:lvl1pPr>
          </a:lstStyle>
          <a:p>
            <a:pPr lvl="0"/>
            <a:r>
              <a:rPr lang="en-US" dirty="0"/>
              <a:t>Click to edit Master text styles</a:t>
            </a:r>
          </a:p>
        </p:txBody>
      </p:sp>
      <p:sp>
        <p:nvSpPr>
          <p:cNvPr id="8" name="Footer Placeholder 4">
            <a:extLst>
              <a:ext uri="{FF2B5EF4-FFF2-40B4-BE49-F238E27FC236}">
                <a16:creationId xmlns:a16="http://schemas.microsoft.com/office/drawing/2014/main" id="{F1CD3974-176A-43B6-8E60-33BCD19BBC8B}"/>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Tree>
    <p:extLst>
      <p:ext uri="{BB962C8B-B14F-4D97-AF65-F5344CB8AC3E}">
        <p14:creationId xmlns:p14="http://schemas.microsoft.com/office/powerpoint/2010/main" val="3921948093"/>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777862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rtl="0">
              <a:defRPr lang="en-IN"/>
            </a:lvl1pPr>
          </a:lstStyle>
          <a:p>
            <a:pPr lvl="0">
              <a:lnSpc>
                <a:spcPct val="85000"/>
              </a:lnSpc>
            </a:pPr>
            <a:r>
              <a:rPr lang="en-US" dirty="0"/>
              <a:t>Click to edit Master title style</a:t>
            </a:r>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Tree>
    <p:extLst>
      <p:ext uri="{BB962C8B-B14F-4D97-AF65-F5344CB8AC3E}">
        <p14:creationId xmlns:p14="http://schemas.microsoft.com/office/powerpoint/2010/main" val="3977978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with backgroun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2561066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A3ACF9-E695-4094-9A16-A4F48EC9FF1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rtl="0">
              <a:defRPr lang="en-IN" dirty="0"/>
            </a:lvl1pPr>
          </a:lstStyle>
          <a:p>
            <a:pPr lvl="0">
              <a:lnSpc>
                <a:spcPct val="85000"/>
              </a:lnSpc>
            </a:pPr>
            <a:r>
              <a:rPr lang="en-US" dirty="0"/>
              <a:t>Click to edit Master title style</a:t>
            </a:r>
          </a:p>
        </p:txBody>
      </p:sp>
      <p:sp>
        <p:nvSpPr>
          <p:cNvPr id="7" name="Footer Placeholder 4">
            <a:extLst>
              <a:ext uri="{FF2B5EF4-FFF2-40B4-BE49-F238E27FC236}">
                <a16:creationId xmlns:a16="http://schemas.microsoft.com/office/drawing/2014/main" id="{077D7FE3-E237-42E3-89BE-6BCC588B6C82}"/>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Tree>
    <p:extLst>
      <p:ext uri="{BB962C8B-B14F-4D97-AF65-F5344CB8AC3E}">
        <p14:creationId xmlns:p14="http://schemas.microsoft.com/office/powerpoint/2010/main" val="7254255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Without 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217370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rtl="0">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US" smtClean="0"/>
              <a:pPr>
                <a:lnSpc>
                  <a:spcPct val="90000"/>
                </a:lnSpc>
              </a:pPr>
              <a:t>‹#›</a:t>
            </a:fld>
            <a:endParaRPr lang="en-US" dirty="0"/>
          </a:p>
        </p:txBody>
      </p:sp>
      <p:sp>
        <p:nvSpPr>
          <p:cNvPr id="24" name="Footer Placeholder 4">
            <a:extLst>
              <a:ext uri="{FF2B5EF4-FFF2-40B4-BE49-F238E27FC236}">
                <a16:creationId xmlns:a16="http://schemas.microsoft.com/office/drawing/2014/main" id="{3EF22FF7-C1AC-4F2A-9E98-236284660846}"/>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grpSp>
        <p:nvGrpSpPr>
          <p:cNvPr id="2" name="Group 1">
            <a:extLst>
              <a:ext uri="{FF2B5EF4-FFF2-40B4-BE49-F238E27FC236}">
                <a16:creationId xmlns:a16="http://schemas.microsoft.com/office/drawing/2014/main" id="{C4D4977A-6637-4106-96DA-BDAAC2518559}"/>
              </a:ext>
            </a:extLst>
          </p:cNvPr>
          <p:cNvGrpSpPr/>
          <p:nvPr userDrawn="1"/>
        </p:nvGrpSpPr>
        <p:grpSpPr>
          <a:xfrm>
            <a:off x="11979441" y="4535494"/>
            <a:ext cx="110800" cy="2041949"/>
            <a:chOff x="11979441" y="4535494"/>
            <a:chExt cx="110800" cy="2041949"/>
          </a:xfrm>
        </p:grpSpPr>
        <p:grpSp>
          <p:nvGrpSpPr>
            <p:cNvPr id="25" name="Group 24">
              <a:extLst>
                <a:ext uri="{FF2B5EF4-FFF2-40B4-BE49-F238E27FC236}">
                  <a16:creationId xmlns:a16="http://schemas.microsoft.com/office/drawing/2014/main" id="{674D7535-DD55-4BCD-A913-9F98A80E2AAD}"/>
                </a:ext>
              </a:extLst>
            </p:cNvPr>
            <p:cNvGrpSpPr/>
            <p:nvPr userDrawn="1"/>
          </p:nvGrpSpPr>
          <p:grpSpPr>
            <a:xfrm>
              <a:off x="11998460" y="6135518"/>
              <a:ext cx="68500" cy="441924"/>
              <a:chOff x="11998459" y="6162188"/>
              <a:chExt cx="68500" cy="441924"/>
            </a:xfrm>
          </p:grpSpPr>
          <p:sp>
            <p:nvSpPr>
              <p:cNvPr id="26" name="Freeform: Shape 25">
                <a:extLst>
                  <a:ext uri="{FF2B5EF4-FFF2-40B4-BE49-F238E27FC236}">
                    <a16:creationId xmlns:a16="http://schemas.microsoft.com/office/drawing/2014/main" id="{25BE1D1D-5C46-42D6-AA46-FD5902FDE024}"/>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7" name="Freeform: Shape 26">
                <a:extLst>
                  <a:ext uri="{FF2B5EF4-FFF2-40B4-BE49-F238E27FC236}">
                    <a16:creationId xmlns:a16="http://schemas.microsoft.com/office/drawing/2014/main" id="{A7F7D663-CB75-456D-911A-BD2A8F59B130}"/>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8" name="Freeform: Shape 27">
                <a:extLst>
                  <a:ext uri="{FF2B5EF4-FFF2-40B4-BE49-F238E27FC236}">
                    <a16:creationId xmlns:a16="http://schemas.microsoft.com/office/drawing/2014/main" id="{A97E6936-7A47-4E85-B003-37AE13A73F22}"/>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Freeform: Shape 28">
                <a:extLst>
                  <a:ext uri="{FF2B5EF4-FFF2-40B4-BE49-F238E27FC236}">
                    <a16:creationId xmlns:a16="http://schemas.microsoft.com/office/drawing/2014/main" id="{B6F6AB7C-E8B0-4611-A905-F86C05FEC940}"/>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504CE7F7-478B-4DFB-A021-80071B529493}"/>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9522A9F9-C26A-4B72-93CD-9528636133FE}"/>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7D674410-4755-485D-BEA6-A9EE31599080}"/>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C52F1A2D-9FF5-49A3-B11A-A842CB94EEE7}"/>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B7660309-3ECC-487F-9D6C-08DE732EEA92}"/>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29373EC6-22EE-4AE8-A986-A3662C2AF607}"/>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EF08C567-10B3-494B-8347-38E808F75B2A}"/>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107EA0CD-BF40-4B85-88B1-06D5221EA25F}"/>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1580E308-C62A-4BCD-993B-AFE1C3E57E94}"/>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39" name="Graphic 38">
              <a:extLst>
                <a:ext uri="{FF2B5EF4-FFF2-40B4-BE49-F238E27FC236}">
                  <a16:creationId xmlns:a16="http://schemas.microsoft.com/office/drawing/2014/main" id="{836F53DC-0C00-4681-ADA4-58AABB9FD02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11811888" y="6322371"/>
              <a:ext cx="441438" cy="68706"/>
            </a:xfrm>
            <a:prstGeom prst="rect">
              <a:avLst/>
            </a:prstGeom>
          </p:spPr>
        </p:pic>
        <p:sp>
          <p:nvSpPr>
            <p:cNvPr id="40" name="Copyright">
              <a:extLst>
                <a:ext uri="{FF2B5EF4-FFF2-40B4-BE49-F238E27FC236}">
                  <a16:creationId xmlns:a16="http://schemas.microsoft.com/office/drawing/2014/main" id="{36107045-99BA-4480-99BA-1F7D50690723}"/>
                </a:ext>
              </a:extLst>
            </p:cNvPr>
            <p:cNvSpPr txBox="1"/>
            <p:nvPr userDrawn="1"/>
          </p:nvSpPr>
          <p:spPr>
            <a:xfrm rot="16200000">
              <a:off x="11250972" y="526396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rtl="0"/>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0. All rights reserved.</a:t>
              </a:r>
            </a:p>
          </p:txBody>
        </p:sp>
      </p:grpSp>
    </p:spTree>
    <p:extLst>
      <p:ext uri="{BB962C8B-B14F-4D97-AF65-F5344CB8AC3E}">
        <p14:creationId xmlns:p14="http://schemas.microsoft.com/office/powerpoint/2010/main" val="3415160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111304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rtl="0">
              <a:defRPr lang="en-IN"/>
            </a:lvl1pPr>
          </a:lstStyle>
          <a:p>
            <a:pPr lvl="0">
              <a:lnSpc>
                <a:spcPct val="85000"/>
              </a:lnSpc>
            </a:pPr>
            <a:r>
              <a:rPr lang="en-US" dirty="0"/>
              <a:t>Click to edit Master title style</a:t>
            </a:r>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3"/>
            <a:ext cx="5400675" cy="1180836"/>
          </a:xfrm>
        </p:spPr>
        <p:txBody>
          <a:bodyPr vert="horz" lIns="0" tIns="0" rIns="0" bIns="0" rtlCol="0">
            <a:spAutoFit/>
          </a:bodyPr>
          <a:lstStyle>
            <a:lvl1pPr rtl="0">
              <a:defRPr lang="en-US" sz="1400" dirty="0"/>
            </a:lvl1pPr>
            <a:lvl2pPr rtl="0">
              <a:defRPr lang="en-US" sz="1400" dirty="0"/>
            </a:lvl2pPr>
            <a:lvl3pPr marL="179387" indent="0" rtl="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rtl="0">
              <a:defRPr lang="en-US" sz="1400" dirty="0"/>
            </a:lvl4pPr>
            <a:lvl5pPr rtl="0">
              <a:defRPr lang="en-IN" sz="1400" dirty="0"/>
            </a:lvl5pPr>
          </a:lstStyle>
          <a:p>
            <a:pPr lvl="0"/>
            <a:r>
              <a:rPr lang="en-US" dirty="0"/>
              <a:t>Paragraph Style</a:t>
            </a:r>
          </a:p>
          <a:p>
            <a:pPr lvl="1"/>
            <a:r>
              <a:rPr lang="en-US" dirty="0"/>
              <a:t>Bullet level 1</a:t>
            </a:r>
          </a:p>
          <a:p>
            <a:pPr marL="358775" lvl="2" indent="-179388" algn="l" defTabSz="914400"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5"/>
            <a:ext cx="5400675" cy="263149"/>
          </a:xfrm>
        </p:spPr>
        <p:txBody>
          <a:bodyPr>
            <a:spAutoFit/>
          </a:bodyPr>
          <a:lstStyle>
            <a:lvl1pPr rtl="0">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3"/>
            <a:ext cx="5400675" cy="1151597"/>
          </a:xfrm>
        </p:spPr>
        <p:txBody>
          <a:bodyPr vert="horz" lIns="0" tIns="0" rIns="0" bIns="0" rtlCol="0">
            <a:spAutoFit/>
          </a:bodyPr>
          <a:lstStyle>
            <a:lvl1pPr rtl="0">
              <a:defRPr lang="en-US" sz="1400" dirty="0"/>
            </a:lvl1pPr>
            <a:lvl2pPr rtl="0">
              <a:defRPr lang="en-US" sz="1400" dirty="0"/>
            </a:lvl2pPr>
            <a:lvl3pPr rtl="0">
              <a:defRPr lang="en-US" sz="1400" dirty="0"/>
            </a:lvl3pPr>
            <a:lvl4pPr rtl="0">
              <a:defRPr lang="en-US" sz="1400" dirty="0"/>
            </a:lvl4pPr>
            <a:lvl5pPr rtl="0">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5"/>
            <a:ext cx="5400675" cy="263149"/>
          </a:xfrm>
        </p:spPr>
        <p:txBody>
          <a:bodyPr>
            <a:spAutoFit/>
          </a:bodyPr>
          <a:lstStyle>
            <a:lvl1pPr rtl="0">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1" name="Footer Placeholder 4">
            <a:extLst>
              <a:ext uri="{FF2B5EF4-FFF2-40B4-BE49-F238E27FC236}">
                <a16:creationId xmlns:a16="http://schemas.microsoft.com/office/drawing/2014/main" id="{456E97DD-069F-4133-A109-0593CB969E3F}"/>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Tree>
    <p:extLst>
      <p:ext uri="{BB962C8B-B14F-4D97-AF65-F5344CB8AC3E}">
        <p14:creationId xmlns:p14="http://schemas.microsoft.com/office/powerpoint/2010/main" val="45952524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40"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01376A-4F6C-4427-9AC0-67FB4C2B0704}"/>
              </a:ext>
            </a:extLst>
          </p:cNvPr>
          <p:cNvGraphicFramePr>
            <a:graphicFrameLocks noChangeAspect="1"/>
          </p:cNvGraphicFramePr>
          <p:nvPr userDrawn="1">
            <p:custDataLst>
              <p:tags r:id="rId35"/>
            </p:custDataLst>
            <p:extLst>
              <p:ext uri="{D42A27DB-BD31-4B8C-83A1-F6EECF244321}">
                <p14:modId xmlns:p14="http://schemas.microsoft.com/office/powerpoint/2010/main" val="881378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25" imgH="426" progId="TCLayout.ActiveDocument.1">
                  <p:embed/>
                </p:oleObj>
              </mc:Choice>
              <mc:Fallback>
                <p:oleObj name="think-cell Slide" r:id="rId37" imgW="425" imgH="42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9302799-8A9B-47DC-8DBF-34AF7857573E}"/>
              </a:ext>
            </a:extLst>
          </p:cNvPr>
          <p:cNvSpPr/>
          <p:nvPr userDrawn="1">
            <p:custDataLst>
              <p:tags r:id="rId3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Placeholder 1">
            <a:extLst>
              <a:ext uri="{FF2B5EF4-FFF2-40B4-BE49-F238E27FC236}">
                <a16:creationId xmlns:a16="http://schemas.microsoft.com/office/drawing/2014/main" id="{0660F969-E23C-496D-A989-9312D6EAF381}"/>
              </a:ext>
            </a:extLst>
          </p:cNvPr>
          <p:cNvSpPr>
            <a:spLocks noGrp="1"/>
          </p:cNvSpPr>
          <p:nvPr>
            <p:ph type="title"/>
          </p:nvPr>
        </p:nvSpPr>
        <p:spPr>
          <a:xfrm>
            <a:off x="531813" y="560588"/>
            <a:ext cx="11089972" cy="422295"/>
          </a:xfrm>
          <a:prstGeom prst="rect">
            <a:avLst/>
          </a:prstGeom>
        </p:spPr>
        <p:txBody>
          <a:bodyPr vert="horz" wrap="square" lIns="0" tIns="0" rIns="0" bIns="0" rtlCol="0" anchor="t">
            <a:spAutoFit/>
          </a:bodyPr>
          <a:lstStyle/>
          <a:p>
            <a:pPr lvl="0">
              <a:lnSpc>
                <a:spcPct val="85000"/>
              </a:lnSpc>
            </a:pPr>
            <a:r>
              <a:rPr lang="en-US" dirty="0"/>
              <a:t>Click to edit Master title style</a:t>
            </a:r>
          </a:p>
        </p:txBody>
      </p:sp>
      <p:sp>
        <p:nvSpPr>
          <p:cNvPr id="3" name="Text Placeholder 2">
            <a:extLst>
              <a:ext uri="{FF2B5EF4-FFF2-40B4-BE49-F238E27FC236}">
                <a16:creationId xmlns:a16="http://schemas.microsoft.com/office/drawing/2014/main" id="{8FA9E90D-E2CC-4615-8D50-28FACCCB351D}"/>
              </a:ext>
            </a:extLst>
          </p:cNvPr>
          <p:cNvSpPr>
            <a:spLocks noGrp="1"/>
          </p:cNvSpPr>
          <p:nvPr>
            <p:ph type="body" idx="1"/>
          </p:nvPr>
        </p:nvSpPr>
        <p:spPr>
          <a:xfrm>
            <a:off x="550862" y="1859913"/>
            <a:ext cx="11089973" cy="1323439"/>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BFD71C6E-2232-442E-8448-AF1BD6203E06}"/>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rtl="0">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US" dirty="0"/>
              <a:t>SOURCE: </a:t>
            </a:r>
          </a:p>
        </p:txBody>
      </p:sp>
      <p:sp>
        <p:nvSpPr>
          <p:cNvPr id="6" name="Slide Number Placeholder 5">
            <a:extLst>
              <a:ext uri="{FF2B5EF4-FFF2-40B4-BE49-F238E27FC236}">
                <a16:creationId xmlns:a16="http://schemas.microsoft.com/office/drawing/2014/main" id="{9C0662E3-7504-4CA7-A6CD-7C5C765B73F5}"/>
              </a:ext>
            </a:extLst>
          </p:cNvPr>
          <p:cNvSpPr>
            <a:spLocks noGrp="1"/>
          </p:cNvSpPr>
          <p:nvPr>
            <p:ph type="sldNum" sz="quarter" idx="4"/>
          </p:nvPr>
        </p:nvSpPr>
        <p:spPr>
          <a:xfrm>
            <a:off x="11490153" y="6465614"/>
            <a:ext cx="150682" cy="138499"/>
          </a:xfrm>
          <a:prstGeom prst="rect">
            <a:avLst/>
          </a:prstGeom>
          <a:noFill/>
        </p:spPr>
        <p:txBody>
          <a:bodyPr wrap="none" lIns="0" tIns="0" rIns="0" bIns="0" rtlCol="0" anchor="b">
            <a:spAutoFit/>
          </a:bodyPr>
          <a:lstStyle>
            <a:lvl1pPr algn="r" rtl="0">
              <a:defRPr kumimoji="0" lang="en-IN" sz="10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US" smtClean="0"/>
              <a:pPr>
                <a:lnSpc>
                  <a:spcPct val="90000"/>
                </a:lnSpc>
              </a:pPr>
              <a:t>‹#›</a:t>
            </a:fld>
            <a:endParaRPr lang="en-US" dirty="0"/>
          </a:p>
        </p:txBody>
      </p:sp>
      <p:grpSp>
        <p:nvGrpSpPr>
          <p:cNvPr id="4" name="Group 3">
            <a:extLst>
              <a:ext uri="{FF2B5EF4-FFF2-40B4-BE49-F238E27FC236}">
                <a16:creationId xmlns:a16="http://schemas.microsoft.com/office/drawing/2014/main" id="{29B9B51C-163C-4DBE-9F6D-38D4CB5FF7EC}"/>
              </a:ext>
            </a:extLst>
          </p:cNvPr>
          <p:cNvGrpSpPr/>
          <p:nvPr userDrawn="1"/>
        </p:nvGrpSpPr>
        <p:grpSpPr>
          <a:xfrm>
            <a:off x="11979441" y="4535494"/>
            <a:ext cx="110800" cy="2041949"/>
            <a:chOff x="11979441" y="4535494"/>
            <a:chExt cx="110800" cy="2041949"/>
          </a:xfrm>
        </p:grpSpPr>
        <p:grpSp>
          <p:nvGrpSpPr>
            <p:cNvPr id="27" name="Group 26">
              <a:extLst>
                <a:ext uri="{FF2B5EF4-FFF2-40B4-BE49-F238E27FC236}">
                  <a16:creationId xmlns:a16="http://schemas.microsoft.com/office/drawing/2014/main" id="{87B31061-A44E-4C9C-B07F-D8CDA855BC79}"/>
                </a:ext>
              </a:extLst>
            </p:cNvPr>
            <p:cNvGrpSpPr/>
            <p:nvPr userDrawn="1"/>
          </p:nvGrpSpPr>
          <p:grpSpPr>
            <a:xfrm>
              <a:off x="11998460" y="6135518"/>
              <a:ext cx="68500" cy="441924"/>
              <a:chOff x="11998459" y="6162188"/>
              <a:chExt cx="68500" cy="441924"/>
            </a:xfrm>
          </p:grpSpPr>
          <p:sp>
            <p:nvSpPr>
              <p:cNvPr id="11" name="Freeform: Shape 10">
                <a:extLst>
                  <a:ext uri="{FF2B5EF4-FFF2-40B4-BE49-F238E27FC236}">
                    <a16:creationId xmlns:a16="http://schemas.microsoft.com/office/drawing/2014/main" id="{18093E00-38A0-4CF7-8C69-DC28CFFA7EF3}"/>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83A998E-3729-4FC5-A5CC-4DC84AB76CC9}"/>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F98D7A59-77C4-4FFE-B4BC-D6D2E508A277}"/>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7E72B593-8E78-4A4E-8039-9E8AB005B73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533BC9DA-DBAA-429C-9B2D-F5DE885FFA1A}"/>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FFC7ED54-A193-4F93-98BD-A9F95F53F901}"/>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C1CD3797-433D-4591-AF9B-5A6A6CF23E51}"/>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34C1BB38-5735-40B9-BFAD-56E5CBF32645}"/>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661FAB9-9525-4A2E-ADDE-3D6DE582FDD9}"/>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9E2E67E8-04E8-4D20-B8D4-6E67405547E0}"/>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Freeform: Shape 23">
                <a:extLst>
                  <a:ext uri="{FF2B5EF4-FFF2-40B4-BE49-F238E27FC236}">
                    <a16:creationId xmlns:a16="http://schemas.microsoft.com/office/drawing/2014/main" id="{80013948-917C-44E7-8DBE-C5E0FD0A2100}"/>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Freeform: Shape 24">
                <a:extLst>
                  <a:ext uri="{FF2B5EF4-FFF2-40B4-BE49-F238E27FC236}">
                    <a16:creationId xmlns:a16="http://schemas.microsoft.com/office/drawing/2014/main" id="{87DCBD3E-5674-40CB-910B-ABFD71044CD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Freeform: Shape 25">
                <a:extLst>
                  <a:ext uri="{FF2B5EF4-FFF2-40B4-BE49-F238E27FC236}">
                    <a16:creationId xmlns:a16="http://schemas.microsoft.com/office/drawing/2014/main" id="{76AD7FAC-FE8F-4E5C-AC0E-214C9EA7FF92}"/>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pPr rtl="0"/>
                <a:endParaRPr lang="en-US"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12" name="Graphic 11">
              <a:extLst>
                <a:ext uri="{FF2B5EF4-FFF2-40B4-BE49-F238E27FC236}">
                  <a16:creationId xmlns:a16="http://schemas.microsoft.com/office/drawing/2014/main" id="{9EDD5925-EA7C-4C82-A33E-C3CE8EA3BC2F}"/>
                </a:ext>
              </a:extLst>
            </p:cNvPr>
            <p:cNvPicPr>
              <a:picLocks noChangeAspect="1"/>
            </p:cNvPicPr>
            <p:nvPr userDrawn="1"/>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rot="16200000">
              <a:off x="11811888" y="6322371"/>
              <a:ext cx="441438" cy="68706"/>
            </a:xfrm>
            <a:prstGeom prst="rect">
              <a:avLst/>
            </a:prstGeom>
          </p:spPr>
        </p:pic>
        <p:sp>
          <p:nvSpPr>
            <p:cNvPr id="84" name="Copyright">
              <a:extLst>
                <a:ext uri="{FF2B5EF4-FFF2-40B4-BE49-F238E27FC236}">
                  <a16:creationId xmlns:a16="http://schemas.microsoft.com/office/drawing/2014/main" id="{99040E17-1592-44EC-BAF2-3AB7B9CEFCC4}"/>
                </a:ext>
              </a:extLst>
            </p:cNvPr>
            <p:cNvSpPr txBox="1"/>
            <p:nvPr userDrawn="1"/>
          </p:nvSpPr>
          <p:spPr>
            <a:xfrm rot="16200000">
              <a:off x="11250972" y="526396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rtl="0"/>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2. All rights reserved.</a:t>
              </a:r>
            </a:p>
          </p:txBody>
        </p:sp>
      </p:grpSp>
      <p:cxnSp>
        <p:nvCxnSpPr>
          <p:cNvPr id="28" name="Straight Connector 27">
            <a:extLst>
              <a:ext uri="{FF2B5EF4-FFF2-40B4-BE49-F238E27FC236}">
                <a16:creationId xmlns:a16="http://schemas.microsoft.com/office/drawing/2014/main" id="{4A1291B6-2446-4C04-92FE-DFB37F15A485}"/>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Slide Number Placeholder 5">
            <a:extLst>
              <a:ext uri="{FF2B5EF4-FFF2-40B4-BE49-F238E27FC236}">
                <a16:creationId xmlns:a16="http://schemas.microsoft.com/office/drawing/2014/main" id="{444A0EAF-F5FD-4505-B25A-92C17DDE6630}"/>
              </a:ext>
            </a:extLst>
          </p:cNvPr>
          <p:cNvSpPr txBox="1">
            <a:spLocks/>
          </p:cNvSpPr>
          <p:nvPr userDrawn="1"/>
        </p:nvSpPr>
        <p:spPr>
          <a:xfrm>
            <a:off x="11490153" y="6465614"/>
            <a:ext cx="150682" cy="138499"/>
          </a:xfrm>
          <a:prstGeom prst="rect">
            <a:avLst/>
          </a:prstGeom>
          <a:noFill/>
        </p:spPr>
        <p:txBody>
          <a:bodyPr wrap="none" lIns="0" tIns="0" rIns="0" bIns="0" rtlCol="0" anchor="b">
            <a:spAutoFit/>
          </a:bodyPr>
          <a:lstStyle>
            <a:defPPr>
              <a:defRPr lang="en-US"/>
            </a:defPPr>
            <a:lvl1pPr marL="0" algn="r" defTabSz="914400" rtl="0" eaLnBrk="1" latinLnBrk="0" hangingPunct="1">
              <a:defRPr kumimoji="0" lang="en-IN" sz="1000" b="0" i="0" u="none" strike="noStrike" kern="1200" cap="none" spc="0" normalizeH="0" baseline="0" smtClean="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90000"/>
              </a:lnSpc>
            </a:pPr>
            <a:fld id="{2547BBBC-05CB-49BC-A9CC-2D869F0C1D2C}" type="slidenum">
              <a:rPr lang="en-US" smtClean="0"/>
              <a:pPr rtl="0">
                <a:lnSpc>
                  <a:spcPct val="90000"/>
                </a:lnSpc>
              </a:pPr>
              <a:t>‹#›</a:t>
            </a:fld>
            <a:endParaRPr lang="en-US" dirty="0"/>
          </a:p>
        </p:txBody>
      </p:sp>
    </p:spTree>
    <p:extLst>
      <p:ext uri="{BB962C8B-B14F-4D97-AF65-F5344CB8AC3E}">
        <p14:creationId xmlns:p14="http://schemas.microsoft.com/office/powerpoint/2010/main" val="2137427359"/>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4" r:id="rId3"/>
    <p:sldLayoutId id="2147483668" r:id="rId4"/>
    <p:sldLayoutId id="2147483650" r:id="rId5"/>
    <p:sldLayoutId id="2147483653" r:id="rId6"/>
    <p:sldLayoutId id="2147483664" r:id="rId7"/>
    <p:sldLayoutId id="2147483671" r:id="rId8"/>
    <p:sldLayoutId id="2147483663" r:id="rId9"/>
    <p:sldLayoutId id="2147483667" r:id="rId10"/>
    <p:sldLayoutId id="2147483665" r:id="rId11"/>
    <p:sldLayoutId id="2147483666" r:id="rId12"/>
    <p:sldLayoutId id="2147483655" r:id="rId13"/>
    <p:sldLayoutId id="2147483678" r:id="rId14"/>
    <p:sldLayoutId id="2147483656" r:id="rId15"/>
    <p:sldLayoutId id="2147483683" r:id="rId16"/>
    <p:sldLayoutId id="2147483681" r:id="rId17"/>
    <p:sldLayoutId id="2147483682" r:id="rId18"/>
    <p:sldLayoutId id="2147483680" r:id="rId19"/>
    <p:sldLayoutId id="2147483679" r:id="rId20"/>
    <p:sldLayoutId id="2147483677" r:id="rId21"/>
    <p:sldLayoutId id="2147483658" r:id="rId22"/>
    <p:sldLayoutId id="2147483657" r:id="rId23"/>
    <p:sldLayoutId id="2147483672" r:id="rId24"/>
    <p:sldLayoutId id="2147483659" r:id="rId25"/>
    <p:sldLayoutId id="2147483660" r:id="rId26"/>
    <p:sldLayoutId id="2147483661" r:id="rId27"/>
    <p:sldLayoutId id="2147483669" r:id="rId28"/>
    <p:sldLayoutId id="2147483670" r:id="rId29"/>
    <p:sldLayoutId id="2147483662" r:id="rId30"/>
    <p:sldLayoutId id="2147483651" r:id="rId31"/>
    <p:sldLayoutId id="2147483674" r:id="rId32"/>
    <p:sldLayoutId id="2147483676" r:id="rId33"/>
  </p:sldLayoutIdLst>
  <p:hf hdr="0" ftr="0" dt="0"/>
  <p:txStyles>
    <p:titleStyle>
      <a:lvl1pPr algn="l" defTabSz="914400" rtl="0" eaLnBrk="1" latinLnBrk="0" hangingPunct="1">
        <a:lnSpc>
          <a:spcPct val="90000"/>
        </a:lnSpc>
        <a:spcBef>
          <a:spcPct val="0"/>
        </a:spcBef>
        <a:buNone/>
        <a:defRPr lang="en-IN" sz="3200" b="0" kern="1200" dirty="0">
          <a:solidFill>
            <a:schemeClr val="tx2"/>
          </a:solidFill>
          <a:latin typeface="Franklin Gothic Demi" panose="020B0703020102020204" pitchFamily="34" charset="0"/>
          <a:ea typeface="+mj-ea"/>
          <a:cs typeface="Calibri" panose="020F0502020204030204" pitchFamily="34" charset="0"/>
          <a:sym typeface="Calibri" panose="020F0502020204030204" pitchFamily="34" charset="0"/>
        </a:defRPr>
      </a:lvl1pPr>
    </p:titleStyle>
    <p:bodyStyle>
      <a:lvl1pPr marL="0" indent="0" algn="l" defTabSz="914400" rtl="0" eaLnBrk="1" latinLnBrk="0" hangingPunct="1">
        <a:lnSpc>
          <a:spcPct val="95000"/>
        </a:lnSpc>
        <a:spcBef>
          <a:spcPts val="10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76213" indent="-176213" algn="l" defTabSz="914400" rtl="0" eaLnBrk="1" latinLnBrk="0" hangingPunct="1">
        <a:lnSpc>
          <a:spcPct val="95000"/>
        </a:lnSpc>
        <a:spcBef>
          <a:spcPts val="500"/>
        </a:spcBef>
        <a:buClr>
          <a:schemeClr val="tx2"/>
        </a:buClr>
        <a:buSzPct val="90000"/>
        <a:buFont typeface="Wingdings" panose="05000000000000000000" pitchFamily="2" charset="2"/>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358775" indent="-179388" algn="l" defTabSz="914400" rtl="0" eaLnBrk="1" latinLnBrk="0" hangingPunct="1">
        <a:lnSpc>
          <a:spcPct val="95000"/>
        </a:lnSpc>
        <a:spcBef>
          <a:spcPts val="300"/>
        </a:spcBef>
        <a:buClr>
          <a:schemeClr val="tx2"/>
        </a:buClr>
        <a:buFont typeface="Calibri Light" panose="020F0302020204030204" pitchFamily="34" charset="0"/>
        <a:buChar char="−"/>
        <a:tabLst/>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536575" indent="-177800" algn="l" defTabSz="914400" rtl="0" eaLnBrk="1" latinLnBrk="0" hangingPunct="1">
        <a:lnSpc>
          <a:spcPct val="95000"/>
        </a:lnSpc>
        <a:spcBef>
          <a:spcPts val="100"/>
        </a:spcBef>
        <a:buClr>
          <a:schemeClr val="tx2"/>
        </a:buClr>
        <a:buSzPct val="9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715963" indent="-179388" algn="l" defTabSz="914400" rtl="0" eaLnBrk="1" latinLnBrk="0" hangingPunct="1">
        <a:lnSpc>
          <a:spcPct val="95000"/>
        </a:lnSpc>
        <a:spcBef>
          <a:spcPts val="100"/>
        </a:spcBef>
        <a:buClr>
          <a:schemeClr val="tx2"/>
        </a:buClr>
        <a:buFont typeface="Calibri Light" panose="020F0302020204030204" pitchFamily="34"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347" userDrawn="1">
          <p15:clr>
            <a:srgbClr val="F26B43"/>
          </p15:clr>
        </p15:guide>
        <p15:guide id="3" pos="7333" userDrawn="1">
          <p15:clr>
            <a:srgbClr val="F26B43"/>
          </p15:clr>
        </p15:guide>
        <p15:guide id="4" orient="horz" pos="1170" userDrawn="1">
          <p15:clr>
            <a:srgbClr val="F26B43"/>
          </p15:clr>
        </p15:guide>
        <p15:guide id="5" orient="horz" pos="3974" userDrawn="1">
          <p15:clr>
            <a:srgbClr val="F26B43"/>
          </p15:clr>
        </p15:guide>
        <p15:guide id="6" pos="3749" userDrawn="1">
          <p15:clr>
            <a:srgbClr val="F26B43"/>
          </p15:clr>
        </p15:guide>
        <p15:guide id="7"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svg"/><Relationship Id="rId3" Type="http://schemas.openxmlformats.org/officeDocument/2006/relationships/notesSlide" Target="../notesSlides/notesSlide6.xml"/><Relationship Id="rId7" Type="http://schemas.openxmlformats.org/officeDocument/2006/relationships/image" Target="../media/image76.svg"/><Relationship Id="rId12" Type="http://schemas.openxmlformats.org/officeDocument/2006/relationships/image" Target="../media/image73.png"/><Relationship Id="rId2" Type="http://schemas.openxmlformats.org/officeDocument/2006/relationships/slideLayout" Target="../slideLayouts/slideLayout6.xml"/><Relationship Id="rId1" Type="http://schemas.openxmlformats.org/officeDocument/2006/relationships/tags" Target="../tags/tag78.xml"/><Relationship Id="rId6" Type="http://schemas.openxmlformats.org/officeDocument/2006/relationships/image" Target="../media/image75.png"/><Relationship Id="rId11" Type="http://schemas.openxmlformats.org/officeDocument/2006/relationships/image" Target="../media/image72.svg"/><Relationship Id="rId5" Type="http://schemas.openxmlformats.org/officeDocument/2006/relationships/image" Target="../media/image1.emf"/><Relationship Id="rId10" Type="http://schemas.openxmlformats.org/officeDocument/2006/relationships/image" Target="../media/image71.png"/><Relationship Id="rId4" Type="http://schemas.openxmlformats.org/officeDocument/2006/relationships/oleObject" Target="../embeddings/oleObject44.bin"/><Relationship Id="rId9" Type="http://schemas.openxmlformats.org/officeDocument/2006/relationships/image" Target="../media/image70.svg"/></Relationships>
</file>

<file path=ppt/slides/_rels/slide11.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svg"/><Relationship Id="rId3" Type="http://schemas.openxmlformats.org/officeDocument/2006/relationships/notesSlide" Target="../notesSlides/notesSlide7.xml"/><Relationship Id="rId7" Type="http://schemas.openxmlformats.org/officeDocument/2006/relationships/image" Target="../media/image78.svg"/><Relationship Id="rId12" Type="http://schemas.openxmlformats.org/officeDocument/2006/relationships/image" Target="../media/image73.png"/><Relationship Id="rId2" Type="http://schemas.openxmlformats.org/officeDocument/2006/relationships/slideLayout" Target="../slideLayouts/slideLayout6.xml"/><Relationship Id="rId1" Type="http://schemas.openxmlformats.org/officeDocument/2006/relationships/tags" Target="../tags/tag79.xml"/><Relationship Id="rId6" Type="http://schemas.openxmlformats.org/officeDocument/2006/relationships/image" Target="../media/image77.png"/><Relationship Id="rId11" Type="http://schemas.openxmlformats.org/officeDocument/2006/relationships/image" Target="../media/image72.svg"/><Relationship Id="rId5" Type="http://schemas.openxmlformats.org/officeDocument/2006/relationships/image" Target="../media/image1.emf"/><Relationship Id="rId10" Type="http://schemas.openxmlformats.org/officeDocument/2006/relationships/image" Target="../media/image71.png"/><Relationship Id="rId4" Type="http://schemas.openxmlformats.org/officeDocument/2006/relationships/oleObject" Target="../embeddings/oleObject45.bin"/><Relationship Id="rId9" Type="http://schemas.openxmlformats.org/officeDocument/2006/relationships/image" Target="../media/image70.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microsoft.com/office/2007/relationships/hdphoto" Target="../media/hdphoto2.wdp"/><Relationship Id="rId2" Type="http://schemas.openxmlformats.org/officeDocument/2006/relationships/slideLayout" Target="../slideLayouts/slideLayout32.xml"/><Relationship Id="rId1" Type="http://schemas.openxmlformats.org/officeDocument/2006/relationships/tags" Target="../tags/tag70.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15.xml"/><Relationship Id="rId1" Type="http://schemas.openxmlformats.org/officeDocument/2006/relationships/tags" Target="../tags/tag71.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oleObject" Target="../embeddings/oleObject38.bin"/><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slideLayout" Target="../slideLayouts/slideLayout6.xml"/><Relationship Id="rId1" Type="http://schemas.openxmlformats.org/officeDocument/2006/relationships/tags" Target="../tags/tag72.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1.emf"/><Relationship Id="rId9" Type="http://schemas.openxmlformats.org/officeDocument/2006/relationships/image" Target="../media/image37.png"/><Relationship Id="rId14" Type="http://schemas.openxmlformats.org/officeDocument/2006/relationships/image" Target="../media/image42.svg"/></Relationships>
</file>

<file path=ppt/slides/_rels/slide5.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oleObject" Target="../embeddings/oleObject39.bin"/><Relationship Id="rId7" Type="http://schemas.openxmlformats.org/officeDocument/2006/relationships/image" Target="../media/image45.png"/><Relationship Id="rId2" Type="http://schemas.openxmlformats.org/officeDocument/2006/relationships/slideLayout" Target="../slideLayouts/slideLayout6.xml"/><Relationship Id="rId1" Type="http://schemas.openxmlformats.org/officeDocument/2006/relationships/tags" Target="../tags/tag7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oleObject" Target="../embeddings/oleObject40.bin"/><Relationship Id="rId7" Type="http://schemas.openxmlformats.org/officeDocument/2006/relationships/image" Target="../media/image49.png"/><Relationship Id="rId2" Type="http://schemas.openxmlformats.org/officeDocument/2006/relationships/slideLayout" Target="../slideLayouts/slideLayout6.xml"/><Relationship Id="rId1" Type="http://schemas.openxmlformats.org/officeDocument/2006/relationships/tags" Target="../tags/tag74.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1.emf"/><Relationship Id="rId9" Type="http://schemas.openxmlformats.org/officeDocument/2006/relationships/image" Target="../media/image51.png"/></Relationships>
</file>

<file path=ppt/slides/_rels/slide7.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3" Type="http://schemas.openxmlformats.org/officeDocument/2006/relationships/notesSlide" Target="../notesSlides/notesSlide3.xml"/><Relationship Id="rId7" Type="http://schemas.openxmlformats.org/officeDocument/2006/relationships/image" Target="../media/image54.svg"/><Relationship Id="rId12" Type="http://schemas.openxmlformats.org/officeDocument/2006/relationships/image" Target="../media/image59.png"/><Relationship Id="rId2" Type="http://schemas.openxmlformats.org/officeDocument/2006/relationships/slideLayout" Target="../slideLayouts/slideLayout5.xml"/><Relationship Id="rId1" Type="http://schemas.openxmlformats.org/officeDocument/2006/relationships/tags" Target="../tags/tag75.xml"/><Relationship Id="rId6" Type="http://schemas.openxmlformats.org/officeDocument/2006/relationships/image" Target="../media/image53.png"/><Relationship Id="rId11" Type="http://schemas.openxmlformats.org/officeDocument/2006/relationships/image" Target="../media/image58.svg"/><Relationship Id="rId5" Type="http://schemas.openxmlformats.org/officeDocument/2006/relationships/image" Target="../media/image1.emf"/><Relationship Id="rId10" Type="http://schemas.openxmlformats.org/officeDocument/2006/relationships/image" Target="../media/image57.png"/><Relationship Id="rId4" Type="http://schemas.openxmlformats.org/officeDocument/2006/relationships/oleObject" Target="../embeddings/oleObject41.bin"/><Relationship Id="rId9" Type="http://schemas.openxmlformats.org/officeDocument/2006/relationships/image" Target="../media/image56.svg"/></Relationships>
</file>

<file path=ppt/slides/_rels/slide8.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svg"/><Relationship Id="rId3" Type="http://schemas.openxmlformats.org/officeDocument/2006/relationships/notesSlide" Target="../notesSlides/notesSlide4.xml"/><Relationship Id="rId7" Type="http://schemas.openxmlformats.org/officeDocument/2006/relationships/image" Target="../media/image62.svg"/><Relationship Id="rId12" Type="http://schemas.openxmlformats.org/officeDocument/2006/relationships/image" Target="../media/image67.png"/><Relationship Id="rId2" Type="http://schemas.openxmlformats.org/officeDocument/2006/relationships/slideLayout" Target="../slideLayouts/slideLayout5.xml"/><Relationship Id="rId1" Type="http://schemas.openxmlformats.org/officeDocument/2006/relationships/tags" Target="../tags/tag76.xml"/><Relationship Id="rId6" Type="http://schemas.openxmlformats.org/officeDocument/2006/relationships/image" Target="../media/image61.png"/><Relationship Id="rId11" Type="http://schemas.openxmlformats.org/officeDocument/2006/relationships/image" Target="../media/image66.svg"/><Relationship Id="rId5" Type="http://schemas.openxmlformats.org/officeDocument/2006/relationships/image" Target="../media/image1.emf"/><Relationship Id="rId10" Type="http://schemas.openxmlformats.org/officeDocument/2006/relationships/image" Target="../media/image65.png"/><Relationship Id="rId4" Type="http://schemas.openxmlformats.org/officeDocument/2006/relationships/oleObject" Target="../embeddings/oleObject42.bin"/><Relationship Id="rId9" Type="http://schemas.openxmlformats.org/officeDocument/2006/relationships/image" Target="../media/image64.svg"/></Relationships>
</file>

<file path=ppt/slides/_rels/slide9.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5.xml"/><Relationship Id="rId7" Type="http://schemas.openxmlformats.org/officeDocument/2006/relationships/image" Target="../media/image70.svg"/><Relationship Id="rId2" Type="http://schemas.openxmlformats.org/officeDocument/2006/relationships/slideLayout" Target="../slideLayouts/slideLayout6.xml"/><Relationship Id="rId1" Type="http://schemas.openxmlformats.org/officeDocument/2006/relationships/tags" Target="../tags/tag77.xml"/><Relationship Id="rId6" Type="http://schemas.openxmlformats.org/officeDocument/2006/relationships/image" Target="../media/image69.png"/><Relationship Id="rId11" Type="http://schemas.openxmlformats.org/officeDocument/2006/relationships/image" Target="../media/image74.svg"/><Relationship Id="rId5" Type="http://schemas.openxmlformats.org/officeDocument/2006/relationships/image" Target="../media/image1.emf"/><Relationship Id="rId10" Type="http://schemas.openxmlformats.org/officeDocument/2006/relationships/image" Target="../media/image73.png"/><Relationship Id="rId4" Type="http://schemas.openxmlformats.org/officeDocument/2006/relationships/oleObject" Target="../embeddings/oleObject43.bin"/><Relationship Id="rId9" Type="http://schemas.openxmlformats.org/officeDocument/2006/relationships/image" Target="../media/image7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68251B-46B5-44B8-AC6F-44BC9FA28155}"/>
              </a:ext>
            </a:extLst>
          </p:cNvPr>
          <p:cNvGraphicFramePr>
            <a:graphicFrameLocks noChangeAspect="1"/>
          </p:cNvGraphicFramePr>
          <p:nvPr>
            <p:custDataLst>
              <p:tags r:id="rId1"/>
            </p:custDataLst>
            <p:extLst>
              <p:ext uri="{D42A27DB-BD31-4B8C-83A1-F6EECF244321}">
                <p14:modId xmlns:p14="http://schemas.microsoft.com/office/powerpoint/2010/main" val="68715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E04E960-24C0-46AF-B5B1-A052BF128D6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3831B298-5F01-4845-A33D-D7EF0A5479DC}"/>
              </a:ext>
            </a:extLst>
          </p:cNvPr>
          <p:cNvSpPr>
            <a:spLocks noGrp="1"/>
          </p:cNvSpPr>
          <p:nvPr>
            <p:ph type="ctrTitle"/>
          </p:nvPr>
        </p:nvSpPr>
        <p:spPr>
          <a:xfrm>
            <a:off x="902896" y="3605295"/>
            <a:ext cx="5478239" cy="692497"/>
          </a:xfrm>
        </p:spPr>
        <p:txBody>
          <a:bodyPr vert="horz"/>
          <a:lstStyle/>
          <a:p>
            <a:r>
              <a:rPr lang="en-US" dirty="0"/>
              <a:t>Data analytics</a:t>
            </a:r>
          </a:p>
        </p:txBody>
      </p:sp>
      <p:sp>
        <p:nvSpPr>
          <p:cNvPr id="3" name="Subtitle 2">
            <a:extLst>
              <a:ext uri="{FF2B5EF4-FFF2-40B4-BE49-F238E27FC236}">
                <a16:creationId xmlns:a16="http://schemas.microsoft.com/office/drawing/2014/main" id="{9C63859E-C9C6-43FC-8345-ADC43B28754A}"/>
              </a:ext>
            </a:extLst>
          </p:cNvPr>
          <p:cNvSpPr>
            <a:spLocks noGrp="1"/>
          </p:cNvSpPr>
          <p:nvPr>
            <p:ph type="subTitle" idx="1"/>
          </p:nvPr>
        </p:nvSpPr>
        <p:spPr>
          <a:xfrm>
            <a:off x="902896" y="4348579"/>
            <a:ext cx="5478239" cy="292388"/>
          </a:xfrm>
        </p:spPr>
        <p:txBody>
          <a:bodyPr/>
          <a:lstStyle/>
          <a:p>
            <a:r>
              <a:rPr lang="en-US" dirty="0"/>
              <a:t>Market overview, applications, and benefits</a:t>
            </a:r>
          </a:p>
        </p:txBody>
      </p:sp>
    </p:spTree>
    <p:extLst>
      <p:ext uri="{BB962C8B-B14F-4D97-AF65-F5344CB8AC3E}">
        <p14:creationId xmlns:p14="http://schemas.microsoft.com/office/powerpoint/2010/main" val="36506635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92DA41-7C97-4D0D-9A01-69106433DDB7}"/>
              </a:ext>
            </a:extLst>
          </p:cNvPr>
          <p:cNvGraphicFramePr>
            <a:graphicFrameLocks noChangeAspect="1"/>
          </p:cNvGraphicFramePr>
          <p:nvPr>
            <p:custDataLst>
              <p:tags r:id="rId1"/>
            </p:custDataLst>
            <p:extLst>
              <p:ext uri="{D42A27DB-BD31-4B8C-83A1-F6EECF244321}">
                <p14:modId xmlns:p14="http://schemas.microsoft.com/office/powerpoint/2010/main" val="1300648809"/>
              </p:ext>
            </p:extLst>
          </p:nvPr>
        </p:nvGraphicFramePr>
        <p:xfrm>
          <a:off x="1247554" y="702302"/>
          <a:ext cx="1264" cy="1264"/>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C92DA41-7C97-4D0D-9A01-69106433DDB7}"/>
                          </a:ext>
                        </a:extLst>
                      </p:cNvPr>
                      <p:cNvPicPr/>
                      <p:nvPr/>
                    </p:nvPicPr>
                    <p:blipFill>
                      <a:blip r:embed="rId5"/>
                      <a:stretch>
                        <a:fillRect/>
                      </a:stretch>
                    </p:blipFill>
                    <p:spPr>
                      <a:xfrm>
                        <a:off x="1247554" y="702302"/>
                        <a:ext cx="1264" cy="1264"/>
                      </a:xfrm>
                      <a:prstGeom prst="rect">
                        <a:avLst/>
                      </a:prstGeom>
                    </p:spPr>
                  </p:pic>
                </p:oleObj>
              </mc:Fallback>
            </mc:AlternateContent>
          </a:graphicData>
        </a:graphic>
      </p:graphicFrame>
      <p:sp>
        <p:nvSpPr>
          <p:cNvPr id="37" name="Rectangle 36">
            <a:extLst>
              <a:ext uri="{FF2B5EF4-FFF2-40B4-BE49-F238E27FC236}">
                <a16:creationId xmlns:a16="http://schemas.microsoft.com/office/drawing/2014/main" id="{47644F3E-AB40-7DAB-940B-FE022C53F801}"/>
              </a:ext>
            </a:extLst>
          </p:cNvPr>
          <p:cNvSpPr/>
          <p:nvPr/>
        </p:nvSpPr>
        <p:spPr>
          <a:xfrm>
            <a:off x="0" y="1857375"/>
            <a:ext cx="2134433" cy="4451350"/>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pic>
        <p:nvPicPr>
          <p:cNvPr id="3" name="Graphic 2" descr="Money outline">
            <a:extLst>
              <a:ext uri="{FF2B5EF4-FFF2-40B4-BE49-F238E27FC236}">
                <a16:creationId xmlns:a16="http://schemas.microsoft.com/office/drawing/2014/main" id="{95729D60-63F4-FBC6-DB4C-E941AE9151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948" y="2753053"/>
            <a:ext cx="2002536" cy="2002536"/>
          </a:xfrm>
          <a:prstGeom prst="rect">
            <a:avLst/>
          </a:prstGeom>
        </p:spPr>
      </p:pic>
      <p:sp>
        <p:nvSpPr>
          <p:cNvPr id="5" name="Title 4">
            <a:extLst>
              <a:ext uri="{FF2B5EF4-FFF2-40B4-BE49-F238E27FC236}">
                <a16:creationId xmlns:a16="http://schemas.microsoft.com/office/drawing/2014/main" id="{2F626E04-8BA8-4A7E-A8B9-087BC8AA7325}"/>
              </a:ext>
            </a:extLst>
          </p:cNvPr>
          <p:cNvSpPr>
            <a:spLocks noGrp="1"/>
          </p:cNvSpPr>
          <p:nvPr>
            <p:ph type="title"/>
          </p:nvPr>
        </p:nvSpPr>
        <p:spPr>
          <a:xfrm>
            <a:off x="531813" y="560588"/>
            <a:ext cx="11089972" cy="332399"/>
          </a:xfrm>
        </p:spPr>
        <p:txBody>
          <a:bodyPr vert="horz"/>
          <a:lstStyle/>
          <a:p>
            <a:r>
              <a:rPr lang="en-US" sz="2400" dirty="0">
                <a:solidFill>
                  <a:schemeClr val="tx2"/>
                </a:solidFill>
              </a:rPr>
              <a:t>Case study : Eliminating shadow IT by facilitating self-service analytics</a:t>
            </a:r>
          </a:p>
        </p:txBody>
      </p:sp>
      <p:sp>
        <p:nvSpPr>
          <p:cNvPr id="17" name="Oval 16">
            <a:extLst>
              <a:ext uri="{FF2B5EF4-FFF2-40B4-BE49-F238E27FC236}">
                <a16:creationId xmlns:a16="http://schemas.microsoft.com/office/drawing/2014/main" id="{D12B25E4-442E-A9C7-2556-C16BC9B864FA}"/>
              </a:ext>
            </a:extLst>
          </p:cNvPr>
          <p:cNvSpPr/>
          <p:nvPr/>
        </p:nvSpPr>
        <p:spPr>
          <a:xfrm>
            <a:off x="1812696" y="2022004"/>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82C5511C-B19C-584E-EA76-91599556F73C}"/>
              </a:ext>
            </a:extLst>
          </p:cNvPr>
          <p:cNvSpPr/>
          <p:nvPr/>
        </p:nvSpPr>
        <p:spPr>
          <a:xfrm>
            <a:off x="3851198" y="1966654"/>
            <a:ext cx="7770587" cy="72883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Rabobank is one of the largest financial services institutions in the Netherlands</a:t>
            </a:r>
          </a:p>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The bank needed to access to high quality, accurate and timely customer data</a:t>
            </a:r>
            <a:endParaRPr lang="en-US" sz="1400" dirty="0">
              <a:solidFill>
                <a:schemeClr val="bg2">
                  <a:lumMod val="10000"/>
                </a:schemeClr>
              </a:solidFill>
            </a:endParaRPr>
          </a:p>
        </p:txBody>
      </p:sp>
      <p:sp>
        <p:nvSpPr>
          <p:cNvPr id="10" name="Rectangle 9">
            <a:extLst>
              <a:ext uri="{FF2B5EF4-FFF2-40B4-BE49-F238E27FC236}">
                <a16:creationId xmlns:a16="http://schemas.microsoft.com/office/drawing/2014/main" id="{266FC6B7-9567-5F83-3297-388F998807A3}"/>
              </a:ext>
            </a:extLst>
          </p:cNvPr>
          <p:cNvSpPr/>
          <p:nvPr/>
        </p:nvSpPr>
        <p:spPr>
          <a:xfrm>
            <a:off x="3851198" y="2953267"/>
            <a:ext cx="7770587" cy="88483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Providing these insights required sophisticated and timely data analytics at scale</a:t>
            </a:r>
          </a:p>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The bank lacked the ability to stream and analyze data in real time</a:t>
            </a:r>
          </a:p>
        </p:txBody>
      </p:sp>
      <p:sp>
        <p:nvSpPr>
          <p:cNvPr id="11" name="Rectangle 10">
            <a:extLst>
              <a:ext uri="{FF2B5EF4-FFF2-40B4-BE49-F238E27FC236}">
                <a16:creationId xmlns:a16="http://schemas.microsoft.com/office/drawing/2014/main" id="{197F5761-024B-5E48-FD7C-637872618274}"/>
              </a:ext>
            </a:extLst>
          </p:cNvPr>
          <p:cNvSpPr/>
          <p:nvPr/>
        </p:nvSpPr>
        <p:spPr>
          <a:xfrm>
            <a:off x="3851198" y="4095872"/>
            <a:ext cx="7770587" cy="88483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2">
                    <a:lumMod val="10000"/>
                  </a:schemeClr>
                </a:solidFill>
                <a:latin typeface="Calibri"/>
                <a:cs typeface="Calibri"/>
                <a:sym typeface="Calibri"/>
              </a:rPr>
              <a:t>Using a Cloudera platform, the bank was able to create a new data lake that would allow its employees to run faster queries across a single SQL interface including both historical and real-time data</a:t>
            </a:r>
          </a:p>
        </p:txBody>
      </p:sp>
      <p:sp>
        <p:nvSpPr>
          <p:cNvPr id="12" name="Rectangle 11">
            <a:extLst>
              <a:ext uri="{FF2B5EF4-FFF2-40B4-BE49-F238E27FC236}">
                <a16:creationId xmlns:a16="http://schemas.microsoft.com/office/drawing/2014/main" id="{9649A71E-0503-EE56-B3A0-984E2E81648A}"/>
              </a:ext>
            </a:extLst>
          </p:cNvPr>
          <p:cNvSpPr/>
          <p:nvPr/>
        </p:nvSpPr>
        <p:spPr>
          <a:xfrm>
            <a:off x="3851198" y="5238478"/>
            <a:ext cx="7770587" cy="88483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Rabobank can now detect warning signals in very early stages of where clients may go in default</a:t>
            </a:r>
          </a:p>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Managers can access an in-depth overview of customer data</a:t>
            </a:r>
          </a:p>
        </p:txBody>
      </p:sp>
      <p:sp>
        <p:nvSpPr>
          <p:cNvPr id="28" name="Rectangle 27">
            <a:extLst>
              <a:ext uri="{FF2B5EF4-FFF2-40B4-BE49-F238E27FC236}">
                <a16:creationId xmlns:a16="http://schemas.microsoft.com/office/drawing/2014/main" id="{40F3E9B7-DD91-C739-5EBA-37B6FD89887C}"/>
              </a:ext>
            </a:extLst>
          </p:cNvPr>
          <p:cNvSpPr/>
          <p:nvPr/>
        </p:nvSpPr>
        <p:spPr>
          <a:xfrm>
            <a:off x="2464704" y="2193913"/>
            <a:ext cx="1482425"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Situation</a:t>
            </a:r>
          </a:p>
        </p:txBody>
      </p:sp>
      <p:sp>
        <p:nvSpPr>
          <p:cNvPr id="29" name="Rectangle 28">
            <a:extLst>
              <a:ext uri="{FF2B5EF4-FFF2-40B4-BE49-F238E27FC236}">
                <a16:creationId xmlns:a16="http://schemas.microsoft.com/office/drawing/2014/main" id="{BE211B67-E366-2A64-CF56-13D380453C94}"/>
              </a:ext>
            </a:extLst>
          </p:cNvPr>
          <p:cNvSpPr/>
          <p:nvPr/>
        </p:nvSpPr>
        <p:spPr>
          <a:xfrm>
            <a:off x="2457223" y="3258522"/>
            <a:ext cx="1317833"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Challenge</a:t>
            </a:r>
          </a:p>
        </p:txBody>
      </p:sp>
      <p:sp>
        <p:nvSpPr>
          <p:cNvPr id="30" name="Rectangle 29">
            <a:extLst>
              <a:ext uri="{FF2B5EF4-FFF2-40B4-BE49-F238E27FC236}">
                <a16:creationId xmlns:a16="http://schemas.microsoft.com/office/drawing/2014/main" id="{85DB8D50-E4D8-BE78-88A8-8AE76FF15259}"/>
              </a:ext>
            </a:extLst>
          </p:cNvPr>
          <p:cNvSpPr/>
          <p:nvPr/>
        </p:nvSpPr>
        <p:spPr>
          <a:xfrm>
            <a:off x="2430835" y="4401127"/>
            <a:ext cx="1482425"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Solution</a:t>
            </a:r>
          </a:p>
        </p:txBody>
      </p:sp>
      <p:sp>
        <p:nvSpPr>
          <p:cNvPr id="34" name="Rectangle 33">
            <a:extLst>
              <a:ext uri="{FF2B5EF4-FFF2-40B4-BE49-F238E27FC236}">
                <a16:creationId xmlns:a16="http://schemas.microsoft.com/office/drawing/2014/main" id="{25EB00CE-584A-F7EA-137E-E64FC44CBB40}"/>
              </a:ext>
            </a:extLst>
          </p:cNvPr>
          <p:cNvSpPr/>
          <p:nvPr/>
        </p:nvSpPr>
        <p:spPr>
          <a:xfrm>
            <a:off x="2505923" y="5543733"/>
            <a:ext cx="1482425"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Results</a:t>
            </a:r>
          </a:p>
        </p:txBody>
      </p:sp>
      <p:cxnSp>
        <p:nvCxnSpPr>
          <p:cNvPr id="26" name="Straight Connector 25">
            <a:extLst>
              <a:ext uri="{FF2B5EF4-FFF2-40B4-BE49-F238E27FC236}">
                <a16:creationId xmlns:a16="http://schemas.microsoft.com/office/drawing/2014/main" id="{380DFBFF-018B-2CD4-F9EE-E4A6AD4797D2}"/>
              </a:ext>
            </a:extLst>
          </p:cNvPr>
          <p:cNvCxnSpPr>
            <a:cxnSpLocks/>
          </p:cNvCxnSpPr>
          <p:nvPr/>
        </p:nvCxnSpPr>
        <p:spPr>
          <a:xfrm flipV="1">
            <a:off x="3851198" y="2790227"/>
            <a:ext cx="778994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34F50D2-5C09-273A-67AF-E136E794D455}"/>
              </a:ext>
            </a:extLst>
          </p:cNvPr>
          <p:cNvCxnSpPr/>
          <p:nvPr/>
        </p:nvCxnSpPr>
        <p:spPr>
          <a:xfrm flipV="1">
            <a:off x="3851198" y="3874491"/>
            <a:ext cx="778994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339BCE3-9200-8437-F257-786D3EBB83CA}"/>
              </a:ext>
            </a:extLst>
          </p:cNvPr>
          <p:cNvCxnSpPr/>
          <p:nvPr/>
        </p:nvCxnSpPr>
        <p:spPr>
          <a:xfrm flipV="1">
            <a:off x="3851198" y="5129133"/>
            <a:ext cx="778994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61FCFF70-BA3E-F677-36D4-EF25DDBA196D}"/>
              </a:ext>
            </a:extLst>
          </p:cNvPr>
          <p:cNvSpPr/>
          <p:nvPr/>
        </p:nvSpPr>
        <p:spPr>
          <a:xfrm>
            <a:off x="1812696" y="3086613"/>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20" name="Oval 19">
            <a:extLst>
              <a:ext uri="{FF2B5EF4-FFF2-40B4-BE49-F238E27FC236}">
                <a16:creationId xmlns:a16="http://schemas.microsoft.com/office/drawing/2014/main" id="{E07AA6F1-DF07-0C39-FC3C-ADC0D68BEDA1}"/>
              </a:ext>
            </a:extLst>
          </p:cNvPr>
          <p:cNvSpPr/>
          <p:nvPr/>
        </p:nvSpPr>
        <p:spPr>
          <a:xfrm>
            <a:off x="1812696" y="4229218"/>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22" name="Oval 21">
            <a:extLst>
              <a:ext uri="{FF2B5EF4-FFF2-40B4-BE49-F238E27FC236}">
                <a16:creationId xmlns:a16="http://schemas.microsoft.com/office/drawing/2014/main" id="{438105D7-F884-647E-71BA-ACC1B9961A68}"/>
              </a:ext>
            </a:extLst>
          </p:cNvPr>
          <p:cNvSpPr/>
          <p:nvPr/>
        </p:nvSpPr>
        <p:spPr>
          <a:xfrm>
            <a:off x="1812696" y="5371824"/>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pic>
        <p:nvPicPr>
          <p:cNvPr id="24" name="Graphic 23" descr="Magnifying glass outline">
            <a:extLst>
              <a:ext uri="{FF2B5EF4-FFF2-40B4-BE49-F238E27FC236}">
                <a16:creationId xmlns:a16="http://schemas.microsoft.com/office/drawing/2014/main" id="{4AF247F5-EA44-F50F-E58B-8406260038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47445" y="2056753"/>
            <a:ext cx="548640" cy="548640"/>
          </a:xfrm>
          <a:prstGeom prst="rect">
            <a:avLst/>
          </a:prstGeom>
        </p:spPr>
      </p:pic>
      <p:pic>
        <p:nvPicPr>
          <p:cNvPr id="14" name="Graphic 13" descr="Upward trend outline">
            <a:extLst>
              <a:ext uri="{FF2B5EF4-FFF2-40B4-BE49-F238E27FC236}">
                <a16:creationId xmlns:a16="http://schemas.microsoft.com/office/drawing/2014/main" id="{2A79A235-7CD4-CA35-7647-75D4A84AB29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47445" y="5406573"/>
            <a:ext cx="548640" cy="548640"/>
          </a:xfrm>
          <a:prstGeom prst="rect">
            <a:avLst/>
          </a:prstGeom>
        </p:spPr>
      </p:pic>
      <p:pic>
        <p:nvPicPr>
          <p:cNvPr id="21" name="Graphic 20" descr="Lights On outline">
            <a:extLst>
              <a:ext uri="{FF2B5EF4-FFF2-40B4-BE49-F238E27FC236}">
                <a16:creationId xmlns:a16="http://schemas.microsoft.com/office/drawing/2014/main" id="{47A191F5-1F36-6A5F-C734-F8459053FC3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47445" y="4263967"/>
            <a:ext cx="548640" cy="548640"/>
          </a:xfrm>
          <a:prstGeom prst="rect">
            <a:avLst/>
          </a:prstGeom>
        </p:spPr>
      </p:pic>
      <p:sp>
        <p:nvSpPr>
          <p:cNvPr id="7" name="Graphic 51">
            <a:extLst>
              <a:ext uri="{FF2B5EF4-FFF2-40B4-BE49-F238E27FC236}">
                <a16:creationId xmlns:a16="http://schemas.microsoft.com/office/drawing/2014/main" id="{976CFB2D-9E01-EA12-F8B8-40B277AA891D}"/>
              </a:ext>
            </a:extLst>
          </p:cNvPr>
          <p:cNvSpPr>
            <a:spLocks noChangeAspect="1"/>
          </p:cNvSpPr>
          <p:nvPr/>
        </p:nvSpPr>
        <p:spPr>
          <a:xfrm>
            <a:off x="1877993" y="3167082"/>
            <a:ext cx="487544" cy="457200"/>
          </a:xfrm>
          <a:custGeom>
            <a:avLst/>
            <a:gdLst>
              <a:gd name="connsiteX0" fmla="*/ 1836856 w 4972822"/>
              <a:gd name="connsiteY0" fmla="*/ 31 h 4663317"/>
              <a:gd name="connsiteX1" fmla="*/ 1752816 w 4972822"/>
              <a:gd name="connsiteY1" fmla="*/ 81394 h 4663317"/>
              <a:gd name="connsiteX2" fmla="*/ 1752659 w 4972822"/>
              <a:gd name="connsiteY2" fmla="*/ 86752 h 4663317"/>
              <a:gd name="connsiteX3" fmla="*/ 1752659 w 4972822"/>
              <a:gd name="connsiteY3" fmla="*/ 1698386 h 4663317"/>
              <a:gd name="connsiteX4" fmla="*/ 12983 w 4972822"/>
              <a:gd name="connsiteY4" fmla="*/ 4532209 h 4663317"/>
              <a:gd name="connsiteX5" fmla="*/ 10916 w 4972822"/>
              <a:gd name="connsiteY5" fmla="*/ 4619463 h 4663317"/>
              <a:gd name="connsiteX6" fmla="*/ 86351 w 4972822"/>
              <a:gd name="connsiteY6" fmla="*/ 4663315 h 4663317"/>
              <a:gd name="connsiteX7" fmla="*/ 2355076 w 4972822"/>
              <a:gd name="connsiteY7" fmla="*/ 4663315 h 4663317"/>
              <a:gd name="connsiteX8" fmla="*/ 2355723 w 4972822"/>
              <a:gd name="connsiteY8" fmla="*/ 4663315 h 4663317"/>
              <a:gd name="connsiteX9" fmla="*/ 4887010 w 4972822"/>
              <a:gd name="connsiteY9" fmla="*/ 4663315 h 4663317"/>
              <a:gd name="connsiteX10" fmla="*/ 4962017 w 4972822"/>
              <a:gd name="connsiteY10" fmla="*/ 4619228 h 4663317"/>
              <a:gd name="connsiteX11" fmla="*/ 4959832 w 4972822"/>
              <a:gd name="connsiteY11" fmla="*/ 4532209 h 4663317"/>
              <a:gd name="connsiteX12" fmla="*/ 3694237 w 4972822"/>
              <a:gd name="connsiteY12" fmla="*/ 2469911 h 4663317"/>
              <a:gd name="connsiteX13" fmla="*/ 3694237 w 4972822"/>
              <a:gd name="connsiteY13" fmla="*/ 2469940 h 4663317"/>
              <a:gd name="connsiteX14" fmla="*/ 3623247 w 4972822"/>
              <a:gd name="connsiteY14" fmla="*/ 2428724 h 4663317"/>
              <a:gd name="connsiteX15" fmla="*/ 3547897 w 4972822"/>
              <a:gd name="connsiteY15" fmla="*/ 2469940 h 4663317"/>
              <a:gd name="connsiteX16" fmla="*/ 2972962 w 4972822"/>
              <a:gd name="connsiteY16" fmla="*/ 3406870 h 4663317"/>
              <a:gd name="connsiteX17" fmla="*/ 1924178 w 4972822"/>
              <a:gd name="connsiteY17" fmla="*/ 1698053 h 4663317"/>
              <a:gd name="connsiteX18" fmla="*/ 1924178 w 4972822"/>
              <a:gd name="connsiteY18" fmla="*/ 1101152 h 4663317"/>
              <a:gd name="connsiteX19" fmla="*/ 3212600 w 4972822"/>
              <a:gd name="connsiteY19" fmla="*/ 1101152 h 4663317"/>
              <a:gd name="connsiteX20" fmla="*/ 3212561 w 4972822"/>
              <a:gd name="connsiteY20" fmla="*/ 1101152 h 4663317"/>
              <a:gd name="connsiteX21" fmla="*/ 3287107 w 4972822"/>
              <a:gd name="connsiteY21" fmla="*/ 1057222 h 4663317"/>
              <a:gd name="connsiteX22" fmla="*/ 3285393 w 4972822"/>
              <a:gd name="connsiteY22" fmla="*/ 970732 h 4663317"/>
              <a:gd name="connsiteX23" fmla="*/ 3031049 w 4972822"/>
              <a:gd name="connsiteY23" fmla="*/ 551140 h 4663317"/>
              <a:gd name="connsiteX24" fmla="*/ 3285393 w 4972822"/>
              <a:gd name="connsiteY24" fmla="*/ 131734 h 4663317"/>
              <a:gd name="connsiteX25" fmla="*/ 3287107 w 4972822"/>
              <a:gd name="connsiteY25" fmla="*/ 45244 h 4663317"/>
              <a:gd name="connsiteX26" fmla="*/ 3212561 w 4972822"/>
              <a:gd name="connsiteY26" fmla="*/ 1310 h 4663317"/>
              <a:gd name="connsiteX27" fmla="*/ 1852816 w 4972822"/>
              <a:gd name="connsiteY27" fmla="*/ 1310 h 4663317"/>
              <a:gd name="connsiteX28" fmla="*/ 1836895 w 4972822"/>
              <a:gd name="connsiteY28" fmla="*/ 9 h 4663317"/>
              <a:gd name="connsiteX29" fmla="*/ 1924070 w 4972822"/>
              <a:gd name="connsiteY29" fmla="*/ 172824 h 4663317"/>
              <a:gd name="connsiteX30" fmla="*/ 3059951 w 4972822"/>
              <a:gd name="connsiteY30" fmla="*/ 172824 h 4663317"/>
              <a:gd name="connsiteX31" fmla="*/ 2857542 w 4972822"/>
              <a:gd name="connsiteY31" fmla="*/ 506994 h 4663317"/>
              <a:gd name="connsiteX32" fmla="*/ 2857542 w 4972822"/>
              <a:gd name="connsiteY32" fmla="*/ 595590 h 4663317"/>
              <a:gd name="connsiteX33" fmla="*/ 3060637 w 4972822"/>
              <a:gd name="connsiteY33" fmla="*/ 929761 h 4663317"/>
              <a:gd name="connsiteX34" fmla="*/ 1924168 w 4972822"/>
              <a:gd name="connsiteY34" fmla="*/ 929761 h 4663317"/>
              <a:gd name="connsiteX35" fmla="*/ 1838041 w 4972822"/>
              <a:gd name="connsiteY35" fmla="*/ 1885854 h 4663317"/>
              <a:gd name="connsiteX36" fmla="*/ 2506432 w 4972822"/>
              <a:gd name="connsiteY36" fmla="*/ 2975003 h 4663317"/>
              <a:gd name="connsiteX37" fmla="*/ 2213243 w 4972822"/>
              <a:gd name="connsiteY37" fmla="*/ 3209752 h 4663317"/>
              <a:gd name="connsiteX38" fmla="*/ 1891779 w 4972822"/>
              <a:gd name="connsiteY38" fmla="*/ 2952234 h 4663317"/>
              <a:gd name="connsiteX39" fmla="*/ 1836209 w 4972822"/>
              <a:gd name="connsiteY39" fmla="*/ 2933825 h 4663317"/>
              <a:gd name="connsiteX40" fmla="*/ 1784970 w 4972822"/>
              <a:gd name="connsiteY40" fmla="*/ 2952234 h 4663317"/>
              <a:gd name="connsiteX41" fmla="*/ 1463506 w 4972822"/>
              <a:gd name="connsiteY41" fmla="*/ 3209752 h 4663317"/>
              <a:gd name="connsiteX42" fmla="*/ 1170013 w 4972822"/>
              <a:gd name="connsiteY42" fmla="*/ 2974660 h 4663317"/>
              <a:gd name="connsiteX43" fmla="*/ 3621317 w 4972822"/>
              <a:gd name="connsiteY43" fmla="*/ 2678120 h 4663317"/>
              <a:gd name="connsiteX44" fmla="*/ 4734371 w 4972822"/>
              <a:gd name="connsiteY44" fmla="*/ 4491865 h 4663317"/>
              <a:gd name="connsiteX45" fmla="*/ 2508166 w 4972822"/>
              <a:gd name="connsiteY45" fmla="*/ 4491865 h 4663317"/>
              <a:gd name="connsiteX46" fmla="*/ 3042757 w 4972822"/>
              <a:gd name="connsiteY46" fmla="*/ 3620722 h 4663317"/>
              <a:gd name="connsiteX47" fmla="*/ 3049301 w 4972822"/>
              <a:gd name="connsiteY47" fmla="*/ 3610004 h 4663317"/>
              <a:gd name="connsiteX48" fmla="*/ 1079547 w 4972822"/>
              <a:gd name="connsiteY48" fmla="*/ 3121979 h 4663317"/>
              <a:gd name="connsiteX49" fmla="*/ 1409554 w 4972822"/>
              <a:gd name="connsiteY49" fmla="*/ 3386345 h 4663317"/>
              <a:gd name="connsiteX50" fmla="*/ 1516558 w 4972822"/>
              <a:gd name="connsiteY50" fmla="*/ 3386345 h 4663317"/>
              <a:gd name="connsiteX51" fmla="*/ 1838022 w 4972822"/>
              <a:gd name="connsiteY51" fmla="*/ 3129327 h 4663317"/>
              <a:gd name="connsiteX52" fmla="*/ 2159486 w 4972822"/>
              <a:gd name="connsiteY52" fmla="*/ 3386345 h 4663317"/>
              <a:gd name="connsiteX53" fmla="*/ 2267137 w 4972822"/>
              <a:gd name="connsiteY53" fmla="*/ 3386345 h 4663317"/>
              <a:gd name="connsiteX54" fmla="*/ 2596791 w 4972822"/>
              <a:gd name="connsiteY54" fmla="*/ 3122322 h 4663317"/>
              <a:gd name="connsiteX55" fmla="*/ 2872218 w 4972822"/>
              <a:gd name="connsiteY55" fmla="*/ 3570884 h 4663317"/>
              <a:gd name="connsiteX56" fmla="*/ 2306972 w 4972822"/>
              <a:gd name="connsiteY56" fmla="*/ 4491933 h 4663317"/>
              <a:gd name="connsiteX57" fmla="*/ 238893 w 4972822"/>
              <a:gd name="connsiteY57" fmla="*/ 4491894 h 466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72822" h="4663317">
                <a:moveTo>
                  <a:pt x="1836856" y="31"/>
                </a:moveTo>
                <a:cubicBezTo>
                  <a:pt x="1791809" y="835"/>
                  <a:pt x="1755108" y="36388"/>
                  <a:pt x="1752816" y="81394"/>
                </a:cubicBezTo>
                <a:cubicBezTo>
                  <a:pt x="1752698" y="83192"/>
                  <a:pt x="1752659" y="84953"/>
                  <a:pt x="1752659" y="86752"/>
                </a:cubicBezTo>
                <a:lnTo>
                  <a:pt x="1752659" y="1698386"/>
                </a:lnTo>
                <a:lnTo>
                  <a:pt x="12983" y="4532209"/>
                </a:lnTo>
                <a:cubicBezTo>
                  <a:pt x="-3549" y="4558730"/>
                  <a:pt x="-4353" y="4592178"/>
                  <a:pt x="10916" y="4619463"/>
                </a:cubicBezTo>
                <a:cubicBezTo>
                  <a:pt x="26186" y="4646709"/>
                  <a:pt x="55079" y="4663550"/>
                  <a:pt x="86351" y="4663315"/>
                </a:cubicBezTo>
                <a:lnTo>
                  <a:pt x="2355076" y="4663315"/>
                </a:lnTo>
                <a:lnTo>
                  <a:pt x="2355723" y="4663315"/>
                </a:lnTo>
                <a:lnTo>
                  <a:pt x="4887010" y="4663315"/>
                </a:lnTo>
                <a:cubicBezTo>
                  <a:pt x="4918165" y="4663354"/>
                  <a:pt x="4946900" y="4646483"/>
                  <a:pt x="4962017" y="4619228"/>
                </a:cubicBezTo>
                <a:cubicBezTo>
                  <a:pt x="4977174" y="4591982"/>
                  <a:pt x="4976331" y="4558652"/>
                  <a:pt x="4959832" y="4532209"/>
                </a:cubicBezTo>
                <a:lnTo>
                  <a:pt x="3694237" y="2469911"/>
                </a:lnTo>
                <a:lnTo>
                  <a:pt x="3694237" y="2469940"/>
                </a:lnTo>
                <a:cubicBezTo>
                  <a:pt x="3679120" y="2445026"/>
                  <a:pt x="3652374" y="2429527"/>
                  <a:pt x="3623247" y="2428724"/>
                </a:cubicBezTo>
                <a:cubicBezTo>
                  <a:pt x="3592592" y="2427999"/>
                  <a:pt x="3563857" y="2443694"/>
                  <a:pt x="3547897" y="2469940"/>
                </a:cubicBezTo>
                <a:lnTo>
                  <a:pt x="2972962" y="3406870"/>
                </a:lnTo>
                <a:lnTo>
                  <a:pt x="1924178" y="1698053"/>
                </a:lnTo>
                <a:lnTo>
                  <a:pt x="1924178" y="1101152"/>
                </a:lnTo>
                <a:lnTo>
                  <a:pt x="3212600" y="1101152"/>
                </a:lnTo>
                <a:lnTo>
                  <a:pt x="3212561" y="1101152"/>
                </a:lnTo>
                <a:cubicBezTo>
                  <a:pt x="3243520" y="1101044"/>
                  <a:pt x="3271990" y="1084242"/>
                  <a:pt x="3287107" y="1057222"/>
                </a:cubicBezTo>
                <a:cubicBezTo>
                  <a:pt x="3302195" y="1030201"/>
                  <a:pt x="3301538" y="997136"/>
                  <a:pt x="3285393" y="970732"/>
                </a:cubicBezTo>
                <a:lnTo>
                  <a:pt x="3031049" y="551140"/>
                </a:lnTo>
                <a:lnTo>
                  <a:pt x="3285393" y="131734"/>
                </a:lnTo>
                <a:cubicBezTo>
                  <a:pt x="3301538" y="105328"/>
                  <a:pt x="3302185" y="72263"/>
                  <a:pt x="3287107" y="45244"/>
                </a:cubicBezTo>
                <a:cubicBezTo>
                  <a:pt x="3271990" y="18187"/>
                  <a:pt x="3243520" y="1424"/>
                  <a:pt x="3212561" y="1310"/>
                </a:cubicBezTo>
                <a:lnTo>
                  <a:pt x="1852816" y="1310"/>
                </a:lnTo>
                <a:cubicBezTo>
                  <a:pt x="1847574" y="353"/>
                  <a:pt x="1842254" y="-68"/>
                  <a:pt x="1836895" y="9"/>
                </a:cubicBezTo>
                <a:close/>
                <a:moveTo>
                  <a:pt x="1924070" y="172824"/>
                </a:moveTo>
                <a:lnTo>
                  <a:pt x="3059951" y="172824"/>
                </a:lnTo>
                <a:lnTo>
                  <a:pt x="2857542" y="506994"/>
                </a:lnTo>
                <a:cubicBezTo>
                  <a:pt x="2841132" y="534242"/>
                  <a:pt x="2841132" y="568344"/>
                  <a:pt x="2857542" y="595590"/>
                </a:cubicBezTo>
                <a:lnTo>
                  <a:pt x="3060637" y="929761"/>
                </a:lnTo>
                <a:lnTo>
                  <a:pt x="1924168" y="929761"/>
                </a:lnTo>
                <a:close/>
                <a:moveTo>
                  <a:pt x="1838041" y="1885854"/>
                </a:moveTo>
                <a:lnTo>
                  <a:pt x="2506432" y="2975003"/>
                </a:lnTo>
                <a:lnTo>
                  <a:pt x="2213243" y="3209752"/>
                </a:lnTo>
                <a:lnTo>
                  <a:pt x="1891779" y="2952234"/>
                </a:lnTo>
                <a:cubicBezTo>
                  <a:pt x="1875976" y="2939762"/>
                  <a:pt x="1856303" y="2933257"/>
                  <a:pt x="1836209" y="2933825"/>
                </a:cubicBezTo>
                <a:cubicBezTo>
                  <a:pt x="1817575" y="2934246"/>
                  <a:pt x="1799588" y="2940673"/>
                  <a:pt x="1784970" y="2952234"/>
                </a:cubicBezTo>
                <a:lnTo>
                  <a:pt x="1463506" y="3209752"/>
                </a:lnTo>
                <a:lnTo>
                  <a:pt x="1170013" y="2974660"/>
                </a:lnTo>
                <a:close/>
                <a:moveTo>
                  <a:pt x="3621317" y="2678120"/>
                </a:moveTo>
                <a:lnTo>
                  <a:pt x="4734371" y="4491865"/>
                </a:lnTo>
                <a:lnTo>
                  <a:pt x="2508166" y="4491865"/>
                </a:lnTo>
                <a:lnTo>
                  <a:pt x="3042757" y="3620722"/>
                </a:lnTo>
                <a:cubicBezTo>
                  <a:pt x="3045206" y="3617313"/>
                  <a:pt x="3047391" y="3613717"/>
                  <a:pt x="3049301" y="3610004"/>
                </a:cubicBezTo>
                <a:close/>
                <a:moveTo>
                  <a:pt x="1079547" y="3121979"/>
                </a:moveTo>
                <a:lnTo>
                  <a:pt x="1409554" y="3386345"/>
                </a:lnTo>
                <a:cubicBezTo>
                  <a:pt x="1440855" y="3411338"/>
                  <a:pt x="1485256" y="3411338"/>
                  <a:pt x="1516558" y="3386345"/>
                </a:cubicBezTo>
                <a:lnTo>
                  <a:pt x="1838022" y="3129327"/>
                </a:lnTo>
                <a:lnTo>
                  <a:pt x="2159486" y="3386345"/>
                </a:lnTo>
                <a:cubicBezTo>
                  <a:pt x="2190905" y="3411681"/>
                  <a:pt x="2235717" y="3411681"/>
                  <a:pt x="2267137" y="3386345"/>
                </a:cubicBezTo>
                <a:lnTo>
                  <a:pt x="2596791" y="3122322"/>
                </a:lnTo>
                <a:lnTo>
                  <a:pt x="2872218" y="3570884"/>
                </a:lnTo>
                <a:lnTo>
                  <a:pt x="2306972" y="4491933"/>
                </a:lnTo>
                <a:lnTo>
                  <a:pt x="238893" y="4491894"/>
                </a:lnTo>
                <a:close/>
              </a:path>
            </a:pathLst>
          </a:custGeom>
          <a:solidFill>
            <a:schemeClr val="tx1"/>
          </a:solidFill>
          <a:ln w="9797" cap="flat">
            <a:noFill/>
            <a:prstDash val="solid"/>
            <a:miter/>
          </a:ln>
        </p:spPr>
        <p:txBody>
          <a:bodyPr rtlCol="0" anchor="ctr"/>
          <a:lstStyle/>
          <a:p>
            <a:endParaRPr lang="en-US" dirty="0"/>
          </a:p>
        </p:txBody>
      </p:sp>
      <p:sp>
        <p:nvSpPr>
          <p:cNvPr id="2" name="Footer Placeholder 24">
            <a:extLst>
              <a:ext uri="{FF2B5EF4-FFF2-40B4-BE49-F238E27FC236}">
                <a16:creationId xmlns:a16="http://schemas.microsoft.com/office/drawing/2014/main" id="{9EBDBD52-0A85-B459-DEFD-ADA0B509E6A4}"/>
              </a:ext>
            </a:extLst>
          </p:cNvPr>
          <p:cNvSpPr txBox="1">
            <a:spLocks/>
          </p:cNvSpPr>
          <p:nvPr/>
        </p:nvSpPr>
        <p:spPr>
          <a:xfrm>
            <a:off x="550863" y="6466953"/>
            <a:ext cx="6766560" cy="13716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i="1" dirty="0"/>
              <a:t>Sources: </a:t>
            </a:r>
            <a:r>
              <a:rPr lang="en-US" sz="998" i="1" dirty="0"/>
              <a:t>Cloudera “Using Data and Analytics To Enhance Customer Experience In Financial Services”</a:t>
            </a:r>
            <a:endParaRPr lang="en-US" sz="1000" i="1" dirty="0"/>
          </a:p>
        </p:txBody>
      </p:sp>
    </p:spTree>
    <p:extLst>
      <p:ext uri="{BB962C8B-B14F-4D97-AF65-F5344CB8AC3E}">
        <p14:creationId xmlns:p14="http://schemas.microsoft.com/office/powerpoint/2010/main" val="3628841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92DA41-7C97-4D0D-9A01-69106433DDB7}"/>
              </a:ext>
            </a:extLst>
          </p:cNvPr>
          <p:cNvGraphicFramePr>
            <a:graphicFrameLocks noChangeAspect="1"/>
          </p:cNvGraphicFramePr>
          <p:nvPr>
            <p:custDataLst>
              <p:tags r:id="rId1"/>
            </p:custDataLst>
            <p:extLst>
              <p:ext uri="{D42A27DB-BD31-4B8C-83A1-F6EECF244321}">
                <p14:modId xmlns:p14="http://schemas.microsoft.com/office/powerpoint/2010/main" val="3510172054"/>
              </p:ext>
            </p:extLst>
          </p:nvPr>
        </p:nvGraphicFramePr>
        <p:xfrm>
          <a:off x="1247554" y="702302"/>
          <a:ext cx="1264" cy="1264"/>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C92DA41-7C97-4D0D-9A01-69106433DDB7}"/>
                          </a:ext>
                        </a:extLst>
                      </p:cNvPr>
                      <p:cNvPicPr/>
                      <p:nvPr/>
                    </p:nvPicPr>
                    <p:blipFill>
                      <a:blip r:embed="rId5"/>
                      <a:stretch>
                        <a:fillRect/>
                      </a:stretch>
                    </p:blipFill>
                    <p:spPr>
                      <a:xfrm>
                        <a:off x="1247554" y="702302"/>
                        <a:ext cx="1264" cy="1264"/>
                      </a:xfrm>
                      <a:prstGeom prst="rect">
                        <a:avLst/>
                      </a:prstGeom>
                    </p:spPr>
                  </p:pic>
                </p:oleObj>
              </mc:Fallback>
            </mc:AlternateContent>
          </a:graphicData>
        </a:graphic>
      </p:graphicFrame>
      <p:sp>
        <p:nvSpPr>
          <p:cNvPr id="37" name="Rectangle 36">
            <a:extLst>
              <a:ext uri="{FF2B5EF4-FFF2-40B4-BE49-F238E27FC236}">
                <a16:creationId xmlns:a16="http://schemas.microsoft.com/office/drawing/2014/main" id="{47644F3E-AB40-7DAB-940B-FE022C53F801}"/>
              </a:ext>
            </a:extLst>
          </p:cNvPr>
          <p:cNvSpPr/>
          <p:nvPr/>
        </p:nvSpPr>
        <p:spPr>
          <a:xfrm>
            <a:off x="0" y="1857375"/>
            <a:ext cx="2134433" cy="4451350"/>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5" name="Title 4">
            <a:extLst>
              <a:ext uri="{FF2B5EF4-FFF2-40B4-BE49-F238E27FC236}">
                <a16:creationId xmlns:a16="http://schemas.microsoft.com/office/drawing/2014/main" id="{2F626E04-8BA8-4A7E-A8B9-087BC8AA7325}"/>
              </a:ext>
            </a:extLst>
          </p:cNvPr>
          <p:cNvSpPr>
            <a:spLocks noGrp="1"/>
          </p:cNvSpPr>
          <p:nvPr>
            <p:ph type="title"/>
          </p:nvPr>
        </p:nvSpPr>
        <p:spPr>
          <a:xfrm>
            <a:off x="531813" y="560588"/>
            <a:ext cx="11089972" cy="664797"/>
          </a:xfrm>
        </p:spPr>
        <p:txBody>
          <a:bodyPr vert="horz"/>
          <a:lstStyle/>
          <a:p>
            <a:r>
              <a:rPr lang="en-US" sz="2400" dirty="0">
                <a:solidFill>
                  <a:schemeClr val="tx2"/>
                </a:solidFill>
              </a:rPr>
              <a:t>Case study: Overcoming the challenge of direct data collection in ORs and ICUs with unstable internet connections</a:t>
            </a:r>
          </a:p>
        </p:txBody>
      </p:sp>
      <p:sp>
        <p:nvSpPr>
          <p:cNvPr id="17" name="Oval 16">
            <a:extLst>
              <a:ext uri="{FF2B5EF4-FFF2-40B4-BE49-F238E27FC236}">
                <a16:creationId xmlns:a16="http://schemas.microsoft.com/office/drawing/2014/main" id="{D12B25E4-442E-A9C7-2556-C16BC9B864FA}"/>
              </a:ext>
            </a:extLst>
          </p:cNvPr>
          <p:cNvSpPr/>
          <p:nvPr/>
        </p:nvSpPr>
        <p:spPr>
          <a:xfrm>
            <a:off x="1812696" y="2022004"/>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pic>
        <p:nvPicPr>
          <p:cNvPr id="18" name="Graphic 17" descr="Stethoscope outline">
            <a:extLst>
              <a:ext uri="{FF2B5EF4-FFF2-40B4-BE49-F238E27FC236}">
                <a16:creationId xmlns:a16="http://schemas.microsoft.com/office/drawing/2014/main" id="{82E6F5AC-CF76-9C40-3EEE-FA5319B9A5F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709" y="3000780"/>
            <a:ext cx="2004372" cy="2004372"/>
          </a:xfrm>
          <a:prstGeom prst="rect">
            <a:avLst/>
          </a:prstGeom>
        </p:spPr>
      </p:pic>
      <p:sp>
        <p:nvSpPr>
          <p:cNvPr id="8" name="Rectangle 7">
            <a:extLst>
              <a:ext uri="{FF2B5EF4-FFF2-40B4-BE49-F238E27FC236}">
                <a16:creationId xmlns:a16="http://schemas.microsoft.com/office/drawing/2014/main" id="{82C5511C-B19C-584E-EA76-91599556F73C}"/>
              </a:ext>
            </a:extLst>
          </p:cNvPr>
          <p:cNvSpPr/>
          <p:nvPr/>
        </p:nvSpPr>
        <p:spPr>
          <a:xfrm>
            <a:off x="3851198" y="1862151"/>
            <a:ext cx="7770587" cy="72883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Cardinal Health is a multinational healthcare services company</a:t>
            </a:r>
          </a:p>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After a series of acquisitions, the company had a fragmented set of systems that made managing and accessing data complicated</a:t>
            </a:r>
          </a:p>
        </p:txBody>
      </p:sp>
      <p:sp>
        <p:nvSpPr>
          <p:cNvPr id="10" name="Rectangle 9">
            <a:extLst>
              <a:ext uri="{FF2B5EF4-FFF2-40B4-BE49-F238E27FC236}">
                <a16:creationId xmlns:a16="http://schemas.microsoft.com/office/drawing/2014/main" id="{266FC6B7-9567-5F83-3297-388F998807A3}"/>
              </a:ext>
            </a:extLst>
          </p:cNvPr>
          <p:cNvSpPr/>
          <p:nvPr/>
        </p:nvSpPr>
        <p:spPr>
          <a:xfrm>
            <a:off x="3851198" y="2787803"/>
            <a:ext cx="7770587" cy="88483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The company’s antiquated systems weren’t sufficient for modern self-service analytics</a:t>
            </a:r>
          </a:p>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The company needed to forecast six months in advance to make sound business decisions, but business analysts across different business lines didn’t have easy access to data for analytics and reporting</a:t>
            </a:r>
          </a:p>
        </p:txBody>
      </p:sp>
      <p:sp>
        <p:nvSpPr>
          <p:cNvPr id="11" name="Rectangle 10">
            <a:extLst>
              <a:ext uri="{FF2B5EF4-FFF2-40B4-BE49-F238E27FC236}">
                <a16:creationId xmlns:a16="http://schemas.microsoft.com/office/drawing/2014/main" id="{197F5761-024B-5E48-FD7C-637872618274}"/>
              </a:ext>
            </a:extLst>
          </p:cNvPr>
          <p:cNvSpPr/>
          <p:nvPr/>
        </p:nvSpPr>
        <p:spPr>
          <a:xfrm>
            <a:off x="3851198" y="3869447"/>
            <a:ext cx="7770587" cy="88483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The company chose to leverage Google BigQuery and AtScale’s Semantic Layer, which allows business users to access data using business intelligence tools like Excel and Tableau</a:t>
            </a:r>
          </a:p>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By implementing a semantic layer, the company is now able to more easily share this disparate data to generate better overall business insights</a:t>
            </a:r>
          </a:p>
        </p:txBody>
      </p:sp>
      <p:sp>
        <p:nvSpPr>
          <p:cNvPr id="12" name="Rectangle 11">
            <a:extLst>
              <a:ext uri="{FF2B5EF4-FFF2-40B4-BE49-F238E27FC236}">
                <a16:creationId xmlns:a16="http://schemas.microsoft.com/office/drawing/2014/main" id="{9649A71E-0503-EE56-B3A0-984E2E81648A}"/>
              </a:ext>
            </a:extLst>
          </p:cNvPr>
          <p:cNvSpPr/>
          <p:nvPr/>
        </p:nvSpPr>
        <p:spPr>
          <a:xfrm>
            <a:off x="3851198" y="4951092"/>
            <a:ext cx="7789940" cy="1353119"/>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This has enabled the company to eliminate the shadow IT applications that business analysts had relied on previously</a:t>
            </a:r>
          </a:p>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AtScale made it possible to reliably access the same data from different BI tools for more accurate reporting</a:t>
            </a:r>
          </a:p>
          <a:p>
            <a:pPr marL="100813" indent="-100813">
              <a:buFont typeface="Arial" panose="020B0604020202020204" pitchFamily="34" charset="0"/>
              <a:buChar char="•"/>
            </a:pPr>
            <a:r>
              <a:rPr lang="en-US" sz="1400" dirty="0">
                <a:solidFill>
                  <a:schemeClr val="bg2">
                    <a:lumMod val="10000"/>
                  </a:schemeClr>
                </a:solidFill>
                <a:latin typeface="Calibri"/>
                <a:cs typeface="Calibri"/>
                <a:sym typeface="Calibri"/>
              </a:rPr>
              <a:t>Cardinal Health has been able to scale the rollout to over 200 users and expects to have over 1,000 business users leveraging self-service analytics</a:t>
            </a:r>
          </a:p>
        </p:txBody>
      </p:sp>
      <p:sp>
        <p:nvSpPr>
          <p:cNvPr id="28" name="Rectangle 27">
            <a:extLst>
              <a:ext uri="{FF2B5EF4-FFF2-40B4-BE49-F238E27FC236}">
                <a16:creationId xmlns:a16="http://schemas.microsoft.com/office/drawing/2014/main" id="{40F3E9B7-DD91-C739-5EBA-37B6FD89887C}"/>
              </a:ext>
            </a:extLst>
          </p:cNvPr>
          <p:cNvSpPr/>
          <p:nvPr/>
        </p:nvSpPr>
        <p:spPr>
          <a:xfrm>
            <a:off x="2464704" y="2193913"/>
            <a:ext cx="1482425"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Situation</a:t>
            </a:r>
          </a:p>
        </p:txBody>
      </p:sp>
      <p:sp>
        <p:nvSpPr>
          <p:cNvPr id="29" name="Rectangle 28">
            <a:extLst>
              <a:ext uri="{FF2B5EF4-FFF2-40B4-BE49-F238E27FC236}">
                <a16:creationId xmlns:a16="http://schemas.microsoft.com/office/drawing/2014/main" id="{BE211B67-E366-2A64-CF56-13D380453C94}"/>
              </a:ext>
            </a:extLst>
          </p:cNvPr>
          <p:cNvSpPr/>
          <p:nvPr/>
        </p:nvSpPr>
        <p:spPr>
          <a:xfrm>
            <a:off x="2457223" y="3258522"/>
            <a:ext cx="1317833"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Challenge</a:t>
            </a:r>
          </a:p>
        </p:txBody>
      </p:sp>
      <p:sp>
        <p:nvSpPr>
          <p:cNvPr id="30" name="Rectangle 29">
            <a:extLst>
              <a:ext uri="{FF2B5EF4-FFF2-40B4-BE49-F238E27FC236}">
                <a16:creationId xmlns:a16="http://schemas.microsoft.com/office/drawing/2014/main" id="{85DB8D50-E4D8-BE78-88A8-8AE76FF15259}"/>
              </a:ext>
            </a:extLst>
          </p:cNvPr>
          <p:cNvSpPr/>
          <p:nvPr/>
        </p:nvSpPr>
        <p:spPr>
          <a:xfrm>
            <a:off x="2430835" y="4401127"/>
            <a:ext cx="1482425"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Solution</a:t>
            </a:r>
          </a:p>
        </p:txBody>
      </p:sp>
      <p:sp>
        <p:nvSpPr>
          <p:cNvPr id="34" name="Rectangle 33">
            <a:extLst>
              <a:ext uri="{FF2B5EF4-FFF2-40B4-BE49-F238E27FC236}">
                <a16:creationId xmlns:a16="http://schemas.microsoft.com/office/drawing/2014/main" id="{25EB00CE-584A-F7EA-137E-E64FC44CBB40}"/>
              </a:ext>
            </a:extLst>
          </p:cNvPr>
          <p:cNvSpPr/>
          <p:nvPr/>
        </p:nvSpPr>
        <p:spPr>
          <a:xfrm>
            <a:off x="2505923" y="5543733"/>
            <a:ext cx="1482425"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Results</a:t>
            </a:r>
          </a:p>
        </p:txBody>
      </p:sp>
      <p:cxnSp>
        <p:nvCxnSpPr>
          <p:cNvPr id="26" name="Straight Connector 25">
            <a:extLst>
              <a:ext uri="{FF2B5EF4-FFF2-40B4-BE49-F238E27FC236}">
                <a16:creationId xmlns:a16="http://schemas.microsoft.com/office/drawing/2014/main" id="{380DFBFF-018B-2CD4-F9EE-E4A6AD4797D2}"/>
              </a:ext>
            </a:extLst>
          </p:cNvPr>
          <p:cNvCxnSpPr>
            <a:cxnSpLocks/>
          </p:cNvCxnSpPr>
          <p:nvPr/>
        </p:nvCxnSpPr>
        <p:spPr>
          <a:xfrm flipV="1">
            <a:off x="3851198" y="2689396"/>
            <a:ext cx="778994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34F50D2-5C09-273A-67AF-E136E794D455}"/>
              </a:ext>
            </a:extLst>
          </p:cNvPr>
          <p:cNvCxnSpPr/>
          <p:nvPr/>
        </p:nvCxnSpPr>
        <p:spPr>
          <a:xfrm flipV="1">
            <a:off x="3851198" y="3771040"/>
            <a:ext cx="778994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339BCE3-9200-8437-F257-786D3EBB83CA}"/>
              </a:ext>
            </a:extLst>
          </p:cNvPr>
          <p:cNvCxnSpPr/>
          <p:nvPr/>
        </p:nvCxnSpPr>
        <p:spPr>
          <a:xfrm flipV="1">
            <a:off x="3851198" y="4852684"/>
            <a:ext cx="778994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61FCFF70-BA3E-F677-36D4-EF25DDBA196D}"/>
              </a:ext>
            </a:extLst>
          </p:cNvPr>
          <p:cNvSpPr/>
          <p:nvPr/>
        </p:nvSpPr>
        <p:spPr>
          <a:xfrm>
            <a:off x="1812696" y="3086613"/>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20" name="Oval 19">
            <a:extLst>
              <a:ext uri="{FF2B5EF4-FFF2-40B4-BE49-F238E27FC236}">
                <a16:creationId xmlns:a16="http://schemas.microsoft.com/office/drawing/2014/main" id="{E07AA6F1-DF07-0C39-FC3C-ADC0D68BEDA1}"/>
              </a:ext>
            </a:extLst>
          </p:cNvPr>
          <p:cNvSpPr/>
          <p:nvPr/>
        </p:nvSpPr>
        <p:spPr>
          <a:xfrm>
            <a:off x="1812696" y="4229218"/>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22" name="Oval 21">
            <a:extLst>
              <a:ext uri="{FF2B5EF4-FFF2-40B4-BE49-F238E27FC236}">
                <a16:creationId xmlns:a16="http://schemas.microsoft.com/office/drawing/2014/main" id="{438105D7-F884-647E-71BA-ACC1B9961A68}"/>
              </a:ext>
            </a:extLst>
          </p:cNvPr>
          <p:cNvSpPr/>
          <p:nvPr/>
        </p:nvSpPr>
        <p:spPr>
          <a:xfrm>
            <a:off x="1812696" y="5371824"/>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pic>
        <p:nvPicPr>
          <p:cNvPr id="24" name="Graphic 23" descr="Magnifying glass outline">
            <a:extLst>
              <a:ext uri="{FF2B5EF4-FFF2-40B4-BE49-F238E27FC236}">
                <a16:creationId xmlns:a16="http://schemas.microsoft.com/office/drawing/2014/main" id="{4AF247F5-EA44-F50F-E58B-8406260038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47445" y="2056753"/>
            <a:ext cx="548640" cy="548640"/>
          </a:xfrm>
          <a:prstGeom prst="rect">
            <a:avLst/>
          </a:prstGeom>
        </p:spPr>
      </p:pic>
      <p:pic>
        <p:nvPicPr>
          <p:cNvPr id="14" name="Graphic 13" descr="Upward trend outline">
            <a:extLst>
              <a:ext uri="{FF2B5EF4-FFF2-40B4-BE49-F238E27FC236}">
                <a16:creationId xmlns:a16="http://schemas.microsoft.com/office/drawing/2014/main" id="{2A79A235-7CD4-CA35-7647-75D4A84AB29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47445" y="5406573"/>
            <a:ext cx="548640" cy="548640"/>
          </a:xfrm>
          <a:prstGeom prst="rect">
            <a:avLst/>
          </a:prstGeom>
        </p:spPr>
      </p:pic>
      <p:pic>
        <p:nvPicPr>
          <p:cNvPr id="21" name="Graphic 20" descr="Lights On outline">
            <a:extLst>
              <a:ext uri="{FF2B5EF4-FFF2-40B4-BE49-F238E27FC236}">
                <a16:creationId xmlns:a16="http://schemas.microsoft.com/office/drawing/2014/main" id="{47A191F5-1F36-6A5F-C734-F8459053FC3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47445" y="4263967"/>
            <a:ext cx="548640" cy="548640"/>
          </a:xfrm>
          <a:prstGeom prst="rect">
            <a:avLst/>
          </a:prstGeom>
        </p:spPr>
      </p:pic>
      <p:sp>
        <p:nvSpPr>
          <p:cNvPr id="7" name="Graphic 51">
            <a:extLst>
              <a:ext uri="{FF2B5EF4-FFF2-40B4-BE49-F238E27FC236}">
                <a16:creationId xmlns:a16="http://schemas.microsoft.com/office/drawing/2014/main" id="{976CFB2D-9E01-EA12-F8B8-40B277AA891D}"/>
              </a:ext>
            </a:extLst>
          </p:cNvPr>
          <p:cNvSpPr>
            <a:spLocks noChangeAspect="1"/>
          </p:cNvSpPr>
          <p:nvPr/>
        </p:nvSpPr>
        <p:spPr>
          <a:xfrm>
            <a:off x="1877993" y="3167082"/>
            <a:ext cx="487544" cy="457200"/>
          </a:xfrm>
          <a:custGeom>
            <a:avLst/>
            <a:gdLst>
              <a:gd name="connsiteX0" fmla="*/ 1836856 w 4972822"/>
              <a:gd name="connsiteY0" fmla="*/ 31 h 4663317"/>
              <a:gd name="connsiteX1" fmla="*/ 1752816 w 4972822"/>
              <a:gd name="connsiteY1" fmla="*/ 81394 h 4663317"/>
              <a:gd name="connsiteX2" fmla="*/ 1752659 w 4972822"/>
              <a:gd name="connsiteY2" fmla="*/ 86752 h 4663317"/>
              <a:gd name="connsiteX3" fmla="*/ 1752659 w 4972822"/>
              <a:gd name="connsiteY3" fmla="*/ 1698386 h 4663317"/>
              <a:gd name="connsiteX4" fmla="*/ 12983 w 4972822"/>
              <a:gd name="connsiteY4" fmla="*/ 4532209 h 4663317"/>
              <a:gd name="connsiteX5" fmla="*/ 10916 w 4972822"/>
              <a:gd name="connsiteY5" fmla="*/ 4619463 h 4663317"/>
              <a:gd name="connsiteX6" fmla="*/ 86351 w 4972822"/>
              <a:gd name="connsiteY6" fmla="*/ 4663315 h 4663317"/>
              <a:gd name="connsiteX7" fmla="*/ 2355076 w 4972822"/>
              <a:gd name="connsiteY7" fmla="*/ 4663315 h 4663317"/>
              <a:gd name="connsiteX8" fmla="*/ 2355723 w 4972822"/>
              <a:gd name="connsiteY8" fmla="*/ 4663315 h 4663317"/>
              <a:gd name="connsiteX9" fmla="*/ 4887010 w 4972822"/>
              <a:gd name="connsiteY9" fmla="*/ 4663315 h 4663317"/>
              <a:gd name="connsiteX10" fmla="*/ 4962017 w 4972822"/>
              <a:gd name="connsiteY10" fmla="*/ 4619228 h 4663317"/>
              <a:gd name="connsiteX11" fmla="*/ 4959832 w 4972822"/>
              <a:gd name="connsiteY11" fmla="*/ 4532209 h 4663317"/>
              <a:gd name="connsiteX12" fmla="*/ 3694237 w 4972822"/>
              <a:gd name="connsiteY12" fmla="*/ 2469911 h 4663317"/>
              <a:gd name="connsiteX13" fmla="*/ 3694237 w 4972822"/>
              <a:gd name="connsiteY13" fmla="*/ 2469940 h 4663317"/>
              <a:gd name="connsiteX14" fmla="*/ 3623247 w 4972822"/>
              <a:gd name="connsiteY14" fmla="*/ 2428724 h 4663317"/>
              <a:gd name="connsiteX15" fmla="*/ 3547897 w 4972822"/>
              <a:gd name="connsiteY15" fmla="*/ 2469940 h 4663317"/>
              <a:gd name="connsiteX16" fmla="*/ 2972962 w 4972822"/>
              <a:gd name="connsiteY16" fmla="*/ 3406870 h 4663317"/>
              <a:gd name="connsiteX17" fmla="*/ 1924178 w 4972822"/>
              <a:gd name="connsiteY17" fmla="*/ 1698053 h 4663317"/>
              <a:gd name="connsiteX18" fmla="*/ 1924178 w 4972822"/>
              <a:gd name="connsiteY18" fmla="*/ 1101152 h 4663317"/>
              <a:gd name="connsiteX19" fmla="*/ 3212600 w 4972822"/>
              <a:gd name="connsiteY19" fmla="*/ 1101152 h 4663317"/>
              <a:gd name="connsiteX20" fmla="*/ 3212561 w 4972822"/>
              <a:gd name="connsiteY20" fmla="*/ 1101152 h 4663317"/>
              <a:gd name="connsiteX21" fmla="*/ 3287107 w 4972822"/>
              <a:gd name="connsiteY21" fmla="*/ 1057222 h 4663317"/>
              <a:gd name="connsiteX22" fmla="*/ 3285393 w 4972822"/>
              <a:gd name="connsiteY22" fmla="*/ 970732 h 4663317"/>
              <a:gd name="connsiteX23" fmla="*/ 3031049 w 4972822"/>
              <a:gd name="connsiteY23" fmla="*/ 551140 h 4663317"/>
              <a:gd name="connsiteX24" fmla="*/ 3285393 w 4972822"/>
              <a:gd name="connsiteY24" fmla="*/ 131734 h 4663317"/>
              <a:gd name="connsiteX25" fmla="*/ 3287107 w 4972822"/>
              <a:gd name="connsiteY25" fmla="*/ 45244 h 4663317"/>
              <a:gd name="connsiteX26" fmla="*/ 3212561 w 4972822"/>
              <a:gd name="connsiteY26" fmla="*/ 1310 h 4663317"/>
              <a:gd name="connsiteX27" fmla="*/ 1852816 w 4972822"/>
              <a:gd name="connsiteY27" fmla="*/ 1310 h 4663317"/>
              <a:gd name="connsiteX28" fmla="*/ 1836895 w 4972822"/>
              <a:gd name="connsiteY28" fmla="*/ 9 h 4663317"/>
              <a:gd name="connsiteX29" fmla="*/ 1924070 w 4972822"/>
              <a:gd name="connsiteY29" fmla="*/ 172824 h 4663317"/>
              <a:gd name="connsiteX30" fmla="*/ 3059951 w 4972822"/>
              <a:gd name="connsiteY30" fmla="*/ 172824 h 4663317"/>
              <a:gd name="connsiteX31" fmla="*/ 2857542 w 4972822"/>
              <a:gd name="connsiteY31" fmla="*/ 506994 h 4663317"/>
              <a:gd name="connsiteX32" fmla="*/ 2857542 w 4972822"/>
              <a:gd name="connsiteY32" fmla="*/ 595590 h 4663317"/>
              <a:gd name="connsiteX33" fmla="*/ 3060637 w 4972822"/>
              <a:gd name="connsiteY33" fmla="*/ 929761 h 4663317"/>
              <a:gd name="connsiteX34" fmla="*/ 1924168 w 4972822"/>
              <a:gd name="connsiteY34" fmla="*/ 929761 h 4663317"/>
              <a:gd name="connsiteX35" fmla="*/ 1838041 w 4972822"/>
              <a:gd name="connsiteY35" fmla="*/ 1885854 h 4663317"/>
              <a:gd name="connsiteX36" fmla="*/ 2506432 w 4972822"/>
              <a:gd name="connsiteY36" fmla="*/ 2975003 h 4663317"/>
              <a:gd name="connsiteX37" fmla="*/ 2213243 w 4972822"/>
              <a:gd name="connsiteY37" fmla="*/ 3209752 h 4663317"/>
              <a:gd name="connsiteX38" fmla="*/ 1891779 w 4972822"/>
              <a:gd name="connsiteY38" fmla="*/ 2952234 h 4663317"/>
              <a:gd name="connsiteX39" fmla="*/ 1836209 w 4972822"/>
              <a:gd name="connsiteY39" fmla="*/ 2933825 h 4663317"/>
              <a:gd name="connsiteX40" fmla="*/ 1784970 w 4972822"/>
              <a:gd name="connsiteY40" fmla="*/ 2952234 h 4663317"/>
              <a:gd name="connsiteX41" fmla="*/ 1463506 w 4972822"/>
              <a:gd name="connsiteY41" fmla="*/ 3209752 h 4663317"/>
              <a:gd name="connsiteX42" fmla="*/ 1170013 w 4972822"/>
              <a:gd name="connsiteY42" fmla="*/ 2974660 h 4663317"/>
              <a:gd name="connsiteX43" fmla="*/ 3621317 w 4972822"/>
              <a:gd name="connsiteY43" fmla="*/ 2678120 h 4663317"/>
              <a:gd name="connsiteX44" fmla="*/ 4734371 w 4972822"/>
              <a:gd name="connsiteY44" fmla="*/ 4491865 h 4663317"/>
              <a:gd name="connsiteX45" fmla="*/ 2508166 w 4972822"/>
              <a:gd name="connsiteY45" fmla="*/ 4491865 h 4663317"/>
              <a:gd name="connsiteX46" fmla="*/ 3042757 w 4972822"/>
              <a:gd name="connsiteY46" fmla="*/ 3620722 h 4663317"/>
              <a:gd name="connsiteX47" fmla="*/ 3049301 w 4972822"/>
              <a:gd name="connsiteY47" fmla="*/ 3610004 h 4663317"/>
              <a:gd name="connsiteX48" fmla="*/ 1079547 w 4972822"/>
              <a:gd name="connsiteY48" fmla="*/ 3121979 h 4663317"/>
              <a:gd name="connsiteX49" fmla="*/ 1409554 w 4972822"/>
              <a:gd name="connsiteY49" fmla="*/ 3386345 h 4663317"/>
              <a:gd name="connsiteX50" fmla="*/ 1516558 w 4972822"/>
              <a:gd name="connsiteY50" fmla="*/ 3386345 h 4663317"/>
              <a:gd name="connsiteX51" fmla="*/ 1838022 w 4972822"/>
              <a:gd name="connsiteY51" fmla="*/ 3129327 h 4663317"/>
              <a:gd name="connsiteX52" fmla="*/ 2159486 w 4972822"/>
              <a:gd name="connsiteY52" fmla="*/ 3386345 h 4663317"/>
              <a:gd name="connsiteX53" fmla="*/ 2267137 w 4972822"/>
              <a:gd name="connsiteY53" fmla="*/ 3386345 h 4663317"/>
              <a:gd name="connsiteX54" fmla="*/ 2596791 w 4972822"/>
              <a:gd name="connsiteY54" fmla="*/ 3122322 h 4663317"/>
              <a:gd name="connsiteX55" fmla="*/ 2872218 w 4972822"/>
              <a:gd name="connsiteY55" fmla="*/ 3570884 h 4663317"/>
              <a:gd name="connsiteX56" fmla="*/ 2306972 w 4972822"/>
              <a:gd name="connsiteY56" fmla="*/ 4491933 h 4663317"/>
              <a:gd name="connsiteX57" fmla="*/ 238893 w 4972822"/>
              <a:gd name="connsiteY57" fmla="*/ 4491894 h 466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72822" h="4663317">
                <a:moveTo>
                  <a:pt x="1836856" y="31"/>
                </a:moveTo>
                <a:cubicBezTo>
                  <a:pt x="1791809" y="835"/>
                  <a:pt x="1755108" y="36388"/>
                  <a:pt x="1752816" y="81394"/>
                </a:cubicBezTo>
                <a:cubicBezTo>
                  <a:pt x="1752698" y="83192"/>
                  <a:pt x="1752659" y="84953"/>
                  <a:pt x="1752659" y="86752"/>
                </a:cubicBezTo>
                <a:lnTo>
                  <a:pt x="1752659" y="1698386"/>
                </a:lnTo>
                <a:lnTo>
                  <a:pt x="12983" y="4532209"/>
                </a:lnTo>
                <a:cubicBezTo>
                  <a:pt x="-3549" y="4558730"/>
                  <a:pt x="-4353" y="4592178"/>
                  <a:pt x="10916" y="4619463"/>
                </a:cubicBezTo>
                <a:cubicBezTo>
                  <a:pt x="26186" y="4646709"/>
                  <a:pt x="55079" y="4663550"/>
                  <a:pt x="86351" y="4663315"/>
                </a:cubicBezTo>
                <a:lnTo>
                  <a:pt x="2355076" y="4663315"/>
                </a:lnTo>
                <a:lnTo>
                  <a:pt x="2355723" y="4663315"/>
                </a:lnTo>
                <a:lnTo>
                  <a:pt x="4887010" y="4663315"/>
                </a:lnTo>
                <a:cubicBezTo>
                  <a:pt x="4918165" y="4663354"/>
                  <a:pt x="4946900" y="4646483"/>
                  <a:pt x="4962017" y="4619228"/>
                </a:cubicBezTo>
                <a:cubicBezTo>
                  <a:pt x="4977174" y="4591982"/>
                  <a:pt x="4976331" y="4558652"/>
                  <a:pt x="4959832" y="4532209"/>
                </a:cubicBezTo>
                <a:lnTo>
                  <a:pt x="3694237" y="2469911"/>
                </a:lnTo>
                <a:lnTo>
                  <a:pt x="3694237" y="2469940"/>
                </a:lnTo>
                <a:cubicBezTo>
                  <a:pt x="3679120" y="2445026"/>
                  <a:pt x="3652374" y="2429527"/>
                  <a:pt x="3623247" y="2428724"/>
                </a:cubicBezTo>
                <a:cubicBezTo>
                  <a:pt x="3592592" y="2427999"/>
                  <a:pt x="3563857" y="2443694"/>
                  <a:pt x="3547897" y="2469940"/>
                </a:cubicBezTo>
                <a:lnTo>
                  <a:pt x="2972962" y="3406870"/>
                </a:lnTo>
                <a:lnTo>
                  <a:pt x="1924178" y="1698053"/>
                </a:lnTo>
                <a:lnTo>
                  <a:pt x="1924178" y="1101152"/>
                </a:lnTo>
                <a:lnTo>
                  <a:pt x="3212600" y="1101152"/>
                </a:lnTo>
                <a:lnTo>
                  <a:pt x="3212561" y="1101152"/>
                </a:lnTo>
                <a:cubicBezTo>
                  <a:pt x="3243520" y="1101044"/>
                  <a:pt x="3271990" y="1084242"/>
                  <a:pt x="3287107" y="1057222"/>
                </a:cubicBezTo>
                <a:cubicBezTo>
                  <a:pt x="3302195" y="1030201"/>
                  <a:pt x="3301538" y="997136"/>
                  <a:pt x="3285393" y="970732"/>
                </a:cubicBezTo>
                <a:lnTo>
                  <a:pt x="3031049" y="551140"/>
                </a:lnTo>
                <a:lnTo>
                  <a:pt x="3285393" y="131734"/>
                </a:lnTo>
                <a:cubicBezTo>
                  <a:pt x="3301538" y="105328"/>
                  <a:pt x="3302185" y="72263"/>
                  <a:pt x="3287107" y="45244"/>
                </a:cubicBezTo>
                <a:cubicBezTo>
                  <a:pt x="3271990" y="18187"/>
                  <a:pt x="3243520" y="1424"/>
                  <a:pt x="3212561" y="1310"/>
                </a:cubicBezTo>
                <a:lnTo>
                  <a:pt x="1852816" y="1310"/>
                </a:lnTo>
                <a:cubicBezTo>
                  <a:pt x="1847574" y="353"/>
                  <a:pt x="1842254" y="-68"/>
                  <a:pt x="1836895" y="9"/>
                </a:cubicBezTo>
                <a:close/>
                <a:moveTo>
                  <a:pt x="1924070" y="172824"/>
                </a:moveTo>
                <a:lnTo>
                  <a:pt x="3059951" y="172824"/>
                </a:lnTo>
                <a:lnTo>
                  <a:pt x="2857542" y="506994"/>
                </a:lnTo>
                <a:cubicBezTo>
                  <a:pt x="2841132" y="534242"/>
                  <a:pt x="2841132" y="568344"/>
                  <a:pt x="2857542" y="595590"/>
                </a:cubicBezTo>
                <a:lnTo>
                  <a:pt x="3060637" y="929761"/>
                </a:lnTo>
                <a:lnTo>
                  <a:pt x="1924168" y="929761"/>
                </a:lnTo>
                <a:close/>
                <a:moveTo>
                  <a:pt x="1838041" y="1885854"/>
                </a:moveTo>
                <a:lnTo>
                  <a:pt x="2506432" y="2975003"/>
                </a:lnTo>
                <a:lnTo>
                  <a:pt x="2213243" y="3209752"/>
                </a:lnTo>
                <a:lnTo>
                  <a:pt x="1891779" y="2952234"/>
                </a:lnTo>
                <a:cubicBezTo>
                  <a:pt x="1875976" y="2939762"/>
                  <a:pt x="1856303" y="2933257"/>
                  <a:pt x="1836209" y="2933825"/>
                </a:cubicBezTo>
                <a:cubicBezTo>
                  <a:pt x="1817575" y="2934246"/>
                  <a:pt x="1799588" y="2940673"/>
                  <a:pt x="1784970" y="2952234"/>
                </a:cubicBezTo>
                <a:lnTo>
                  <a:pt x="1463506" y="3209752"/>
                </a:lnTo>
                <a:lnTo>
                  <a:pt x="1170013" y="2974660"/>
                </a:lnTo>
                <a:close/>
                <a:moveTo>
                  <a:pt x="3621317" y="2678120"/>
                </a:moveTo>
                <a:lnTo>
                  <a:pt x="4734371" y="4491865"/>
                </a:lnTo>
                <a:lnTo>
                  <a:pt x="2508166" y="4491865"/>
                </a:lnTo>
                <a:lnTo>
                  <a:pt x="3042757" y="3620722"/>
                </a:lnTo>
                <a:cubicBezTo>
                  <a:pt x="3045206" y="3617313"/>
                  <a:pt x="3047391" y="3613717"/>
                  <a:pt x="3049301" y="3610004"/>
                </a:cubicBezTo>
                <a:close/>
                <a:moveTo>
                  <a:pt x="1079547" y="3121979"/>
                </a:moveTo>
                <a:lnTo>
                  <a:pt x="1409554" y="3386345"/>
                </a:lnTo>
                <a:cubicBezTo>
                  <a:pt x="1440855" y="3411338"/>
                  <a:pt x="1485256" y="3411338"/>
                  <a:pt x="1516558" y="3386345"/>
                </a:cubicBezTo>
                <a:lnTo>
                  <a:pt x="1838022" y="3129327"/>
                </a:lnTo>
                <a:lnTo>
                  <a:pt x="2159486" y="3386345"/>
                </a:lnTo>
                <a:cubicBezTo>
                  <a:pt x="2190905" y="3411681"/>
                  <a:pt x="2235717" y="3411681"/>
                  <a:pt x="2267137" y="3386345"/>
                </a:cubicBezTo>
                <a:lnTo>
                  <a:pt x="2596791" y="3122322"/>
                </a:lnTo>
                <a:lnTo>
                  <a:pt x="2872218" y="3570884"/>
                </a:lnTo>
                <a:lnTo>
                  <a:pt x="2306972" y="4491933"/>
                </a:lnTo>
                <a:lnTo>
                  <a:pt x="238893" y="4491894"/>
                </a:lnTo>
                <a:close/>
              </a:path>
            </a:pathLst>
          </a:custGeom>
          <a:solidFill>
            <a:schemeClr val="tx1"/>
          </a:solidFill>
          <a:ln w="9797" cap="flat">
            <a:noFill/>
            <a:prstDash val="solid"/>
            <a:miter/>
          </a:ln>
        </p:spPr>
        <p:txBody>
          <a:bodyPr rtlCol="0" anchor="ctr"/>
          <a:lstStyle/>
          <a:p>
            <a:endParaRPr lang="en-US" dirty="0"/>
          </a:p>
        </p:txBody>
      </p:sp>
      <p:sp>
        <p:nvSpPr>
          <p:cNvPr id="2" name="Footer Placeholder 24">
            <a:extLst>
              <a:ext uri="{FF2B5EF4-FFF2-40B4-BE49-F238E27FC236}">
                <a16:creationId xmlns:a16="http://schemas.microsoft.com/office/drawing/2014/main" id="{FC1DD8FD-02AF-DA9F-76C7-25F86D814D99}"/>
              </a:ext>
            </a:extLst>
          </p:cNvPr>
          <p:cNvSpPr txBox="1">
            <a:spLocks/>
          </p:cNvSpPr>
          <p:nvPr/>
        </p:nvSpPr>
        <p:spPr>
          <a:xfrm>
            <a:off x="550863" y="6466953"/>
            <a:ext cx="6766560" cy="13716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i="1" dirty="0"/>
              <a:t>Sources: </a:t>
            </a:r>
            <a:r>
              <a:rPr lang="en-US" sz="1000" i="1" dirty="0"/>
              <a:t>AtScale “</a:t>
            </a:r>
            <a:r>
              <a:rPr lang="en-US" sz="1000" b="0" i="1" dirty="0">
                <a:solidFill>
                  <a:srgbClr val="151D29"/>
                </a:solidFill>
                <a:effectLst/>
              </a:rPr>
              <a:t>Cardinal Health: Driving Advances in Healthcare Through Self Service Data Analytics”</a:t>
            </a:r>
            <a:endParaRPr lang="en-US" sz="1000" i="1" dirty="0"/>
          </a:p>
        </p:txBody>
      </p:sp>
    </p:spTree>
    <p:extLst>
      <p:ext uri="{BB962C8B-B14F-4D97-AF65-F5344CB8AC3E}">
        <p14:creationId xmlns:p14="http://schemas.microsoft.com/office/powerpoint/2010/main" val="2232867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57902B-B95E-4BBA-98F4-D0DE7642C73B}"/>
              </a:ext>
            </a:extLst>
          </p:cNvPr>
          <p:cNvGraphicFramePr>
            <a:graphicFrameLocks noChangeAspect="1"/>
          </p:cNvGraphicFramePr>
          <p:nvPr>
            <p:custDataLst>
              <p:tags r:id="rId1"/>
            </p:custDataLst>
            <p:extLst>
              <p:ext uri="{D42A27DB-BD31-4B8C-83A1-F6EECF244321}">
                <p14:modId xmlns:p14="http://schemas.microsoft.com/office/powerpoint/2010/main" val="34406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11700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03F0A1-B0C4-4083-9FCE-FC3D09F78D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EA03F0A1-B0C4-4083-9FCE-FC3D09F78D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7794319-7401-43B4-B960-22BF3E4B030A}"/>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Effect>
                      <a14:saturation sat="0"/>
                    </a14:imgEffect>
                  </a14:imgLayer>
                </a14:imgProps>
              </a:ext>
            </a:extLst>
          </a:blip>
          <a:stretch>
            <a:fillRect/>
          </a:stretch>
        </p:blipFill>
        <p:spPr>
          <a:xfrm>
            <a:off x="6383337" y="0"/>
            <a:ext cx="5257800" cy="6858000"/>
          </a:xfrm>
          <a:prstGeom prst="rect">
            <a:avLst/>
          </a:prstGeom>
        </p:spPr>
      </p:pic>
      <p:sp>
        <p:nvSpPr>
          <p:cNvPr id="7" name="Rectangle 6">
            <a:extLst>
              <a:ext uri="{FF2B5EF4-FFF2-40B4-BE49-F238E27FC236}">
                <a16:creationId xmlns:a16="http://schemas.microsoft.com/office/drawing/2014/main" id="{EB1B0114-80A8-4644-B861-85B160786C2F}"/>
              </a:ext>
            </a:extLst>
          </p:cNvPr>
          <p:cNvSpPr/>
          <p:nvPr/>
        </p:nvSpPr>
        <p:spPr>
          <a:xfrm>
            <a:off x="0" y="404919"/>
            <a:ext cx="7595616" cy="1452458"/>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F70B57B8-34D3-49B9-B9E1-19D707B2C1CC}"/>
              </a:ext>
            </a:extLst>
          </p:cNvPr>
          <p:cNvSpPr/>
          <p:nvPr/>
        </p:nvSpPr>
        <p:spPr>
          <a:xfrm>
            <a:off x="550863" y="840314"/>
            <a:ext cx="3979551" cy="67710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Arial"/>
                <a:sym typeface="Arial"/>
              </a:rPr>
              <a:t>Table of content</a:t>
            </a:r>
            <a:endParaRPr kumimoji="0" lang="en-US" sz="60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Arial"/>
              <a:sym typeface="Arial"/>
            </a:endParaRPr>
          </a:p>
        </p:txBody>
      </p:sp>
      <p:graphicFrame>
        <p:nvGraphicFramePr>
          <p:cNvPr id="4" name="Table 7">
            <a:extLst>
              <a:ext uri="{FF2B5EF4-FFF2-40B4-BE49-F238E27FC236}">
                <a16:creationId xmlns:a16="http://schemas.microsoft.com/office/drawing/2014/main" id="{97211D22-813D-92CB-97F6-AF89FB13FC4B}"/>
              </a:ext>
            </a:extLst>
          </p:cNvPr>
          <p:cNvGraphicFramePr>
            <a:graphicFrameLocks noGrp="1"/>
          </p:cNvGraphicFramePr>
          <p:nvPr>
            <p:extLst>
              <p:ext uri="{D42A27DB-BD31-4B8C-83A1-F6EECF244321}">
                <p14:modId xmlns:p14="http://schemas.microsoft.com/office/powerpoint/2010/main" val="3716874402"/>
              </p:ext>
            </p:extLst>
          </p:nvPr>
        </p:nvGraphicFramePr>
        <p:xfrm>
          <a:off x="550862" y="2396561"/>
          <a:ext cx="5400675" cy="3423147"/>
        </p:xfrm>
        <a:graphic>
          <a:graphicData uri="http://schemas.openxmlformats.org/drawingml/2006/table">
            <a:tbl>
              <a:tblPr firstRow="1" bandRow="1">
                <a:tableStyleId>{2D5ABB26-0587-4C30-8999-92F81FD0307C}</a:tableStyleId>
              </a:tblPr>
              <a:tblGrid>
                <a:gridCol w="634176">
                  <a:extLst>
                    <a:ext uri="{9D8B030D-6E8A-4147-A177-3AD203B41FA5}">
                      <a16:colId xmlns:a16="http://schemas.microsoft.com/office/drawing/2014/main" val="97417082"/>
                    </a:ext>
                  </a:extLst>
                </a:gridCol>
                <a:gridCol w="4766499">
                  <a:extLst>
                    <a:ext uri="{9D8B030D-6E8A-4147-A177-3AD203B41FA5}">
                      <a16:colId xmlns:a16="http://schemas.microsoft.com/office/drawing/2014/main" val="1992815339"/>
                    </a:ext>
                  </a:extLst>
                </a:gridCol>
              </a:tblGrid>
              <a:tr h="489021">
                <a:tc>
                  <a:txBody>
                    <a:bodyPr/>
                    <a:lstStyle/>
                    <a:p>
                      <a:pPr algn="ctr"/>
                      <a:r>
                        <a:rPr lang="en-US" sz="1600" b="1" dirty="0">
                          <a:solidFill>
                            <a:schemeClr val="tx2"/>
                          </a:solidFill>
                          <a:latin typeface="+mn-lt"/>
                        </a:rPr>
                        <a:t>1.</a:t>
                      </a:r>
                    </a:p>
                  </a:txBody>
                  <a:tcPr anchor="ctr">
                    <a:lnT w="12700" cap="flat" cmpd="sng" algn="ctr">
                      <a:solidFill>
                        <a:schemeClr val="tx2"/>
                      </a:solidFill>
                      <a:prstDash val="solid"/>
                      <a:round/>
                      <a:headEnd type="none" w="med" len="med"/>
                      <a:tailEnd type="none" w="med" len="med"/>
                    </a:lnT>
                    <a:lnB w="12700" cap="flat" cmpd="sng" algn="ctr">
                      <a:solidFill>
                        <a:schemeClr val="accent2"/>
                      </a:solidFill>
                      <a:prstDash val="sysDash"/>
                      <a:round/>
                      <a:headEnd type="none" w="med" len="med"/>
                      <a:tailEnd type="none" w="med" len="med"/>
                    </a:lnB>
                  </a:tcPr>
                </a:tc>
                <a:tc>
                  <a:txBody>
                    <a:bodyPr/>
                    <a:lstStyle/>
                    <a:p>
                      <a:pPr algn="l"/>
                      <a:r>
                        <a:rPr lang="en-US" sz="1600" b="1" dirty="0">
                          <a:latin typeface="+mn-lt"/>
                        </a:rPr>
                        <a:t>Introduction</a:t>
                      </a:r>
                    </a:p>
                  </a:txBody>
                  <a:tcPr anchor="ctr">
                    <a:lnT w="12700" cap="flat" cmpd="sng" algn="ctr">
                      <a:solidFill>
                        <a:schemeClr val="tx2"/>
                      </a:solidFill>
                      <a:prstDash val="solid"/>
                      <a:round/>
                      <a:headEnd type="none" w="med" len="med"/>
                      <a:tailEnd type="none" w="med" len="med"/>
                    </a:lnT>
                    <a:lnB w="12700" cap="flat" cmpd="sng" algn="ctr">
                      <a:solidFill>
                        <a:schemeClr val="accent2"/>
                      </a:solidFill>
                      <a:prstDash val="sysDash"/>
                      <a:round/>
                      <a:headEnd type="none" w="med" len="med"/>
                      <a:tailEnd type="none" w="med" len="med"/>
                    </a:lnB>
                  </a:tcPr>
                </a:tc>
                <a:extLst>
                  <a:ext uri="{0D108BD9-81ED-4DB2-BD59-A6C34878D82A}">
                    <a16:rowId xmlns:a16="http://schemas.microsoft.com/office/drawing/2014/main" val="3439849946"/>
                  </a:ext>
                </a:extLst>
              </a:tr>
              <a:tr h="489021">
                <a:tc>
                  <a:txBody>
                    <a:bodyPr/>
                    <a:lstStyle/>
                    <a:p>
                      <a:pPr algn="ctr"/>
                      <a:r>
                        <a:rPr lang="en-US" sz="1600" b="1" dirty="0">
                          <a:solidFill>
                            <a:schemeClr val="tx2"/>
                          </a:solidFill>
                          <a:latin typeface="+mn-lt"/>
                        </a:rPr>
                        <a:t>2.</a:t>
                      </a:r>
                    </a:p>
                  </a:txBody>
                  <a:tcPr anchor="ctr">
                    <a:lnT w="12700" cap="flat" cmpd="sng" algn="ctr">
                      <a:solidFill>
                        <a:schemeClr val="accent2"/>
                      </a:solidFill>
                      <a:prstDash val="sysDash"/>
                      <a:round/>
                      <a:headEnd type="none" w="med" len="med"/>
                      <a:tailEnd type="none" w="med" len="med"/>
                    </a:lnT>
                    <a:lnB w="12700" cap="flat" cmpd="sng" algn="ctr">
                      <a:solidFill>
                        <a:schemeClr val="accent2"/>
                      </a:solidFill>
                      <a:prstDash val="sysDash"/>
                      <a:round/>
                      <a:headEnd type="none" w="med" len="med"/>
                      <a:tailEnd type="none" w="med" len="med"/>
                    </a:lnB>
                  </a:tcPr>
                </a:tc>
                <a:tc>
                  <a:txBody>
                    <a:bodyPr/>
                    <a:lstStyle/>
                    <a:p>
                      <a:pPr algn="l"/>
                      <a:r>
                        <a:rPr lang="en-US" sz="1600" b="1" dirty="0">
                          <a:latin typeface="+mn-lt"/>
                        </a:rPr>
                        <a:t>Data Analytics Process</a:t>
                      </a:r>
                    </a:p>
                  </a:txBody>
                  <a:tcPr anchor="ctr">
                    <a:lnT w="12700" cap="flat" cmpd="sng" algn="ctr">
                      <a:solidFill>
                        <a:schemeClr val="accent2"/>
                      </a:solidFill>
                      <a:prstDash val="sysDash"/>
                      <a:round/>
                      <a:headEnd type="none" w="med" len="med"/>
                      <a:tailEnd type="none" w="med" len="med"/>
                    </a:lnT>
                    <a:lnB w="12700" cap="flat" cmpd="sng" algn="ctr">
                      <a:solidFill>
                        <a:schemeClr val="accent2"/>
                      </a:solidFill>
                      <a:prstDash val="sysDash"/>
                      <a:round/>
                      <a:headEnd type="none" w="med" len="med"/>
                      <a:tailEnd type="none" w="med" len="med"/>
                    </a:lnB>
                  </a:tcPr>
                </a:tc>
                <a:extLst>
                  <a:ext uri="{0D108BD9-81ED-4DB2-BD59-A6C34878D82A}">
                    <a16:rowId xmlns:a16="http://schemas.microsoft.com/office/drawing/2014/main" val="2073641840"/>
                  </a:ext>
                </a:extLst>
              </a:tr>
              <a:tr h="489021">
                <a:tc>
                  <a:txBody>
                    <a:bodyPr/>
                    <a:lstStyle/>
                    <a:p>
                      <a:pPr algn="ctr"/>
                      <a:r>
                        <a:rPr lang="en-US" sz="1600" b="1" dirty="0">
                          <a:solidFill>
                            <a:schemeClr val="tx2"/>
                          </a:solidFill>
                          <a:latin typeface="+mn-lt"/>
                        </a:rPr>
                        <a:t>3.</a:t>
                      </a:r>
                    </a:p>
                  </a:txBody>
                  <a:tcPr anchor="ctr">
                    <a:lnT w="12700" cap="flat" cmpd="sng" algn="ctr">
                      <a:solidFill>
                        <a:schemeClr val="accent2"/>
                      </a:solidFill>
                      <a:prstDash val="sysDash"/>
                      <a:round/>
                      <a:headEnd type="none" w="med" len="med"/>
                      <a:tailEnd type="none" w="med" len="med"/>
                    </a:lnT>
                    <a:lnB w="12700" cap="flat" cmpd="sng" algn="ctr">
                      <a:solidFill>
                        <a:schemeClr val="accent2"/>
                      </a:solidFill>
                      <a:prstDash val="sysDash"/>
                      <a:round/>
                      <a:headEnd type="none" w="med" len="med"/>
                      <a:tailEnd type="none" w="med" len="med"/>
                    </a:lnB>
                  </a:tcPr>
                </a:tc>
                <a:tc>
                  <a:txBody>
                    <a:bodyPr/>
                    <a:lstStyle/>
                    <a:p>
                      <a:pPr algn="l"/>
                      <a:r>
                        <a:rPr lang="en-US" sz="1600" b="1" dirty="0">
                          <a:latin typeface="+mn-lt"/>
                        </a:rPr>
                        <a:t>Types of Data Analytics</a:t>
                      </a:r>
                    </a:p>
                  </a:txBody>
                  <a:tcPr anchor="ctr">
                    <a:lnT w="12700" cap="flat" cmpd="sng" algn="ctr">
                      <a:solidFill>
                        <a:schemeClr val="accent2"/>
                      </a:solidFill>
                      <a:prstDash val="sysDash"/>
                      <a:round/>
                      <a:headEnd type="none" w="med" len="med"/>
                      <a:tailEnd type="none" w="med" len="med"/>
                    </a:lnT>
                    <a:lnB w="12700" cap="flat" cmpd="sng" algn="ctr">
                      <a:solidFill>
                        <a:schemeClr val="accent2"/>
                      </a:solidFill>
                      <a:prstDash val="sysDash"/>
                      <a:round/>
                      <a:headEnd type="none" w="med" len="med"/>
                      <a:tailEnd type="none" w="med" len="med"/>
                    </a:lnB>
                  </a:tcPr>
                </a:tc>
                <a:extLst>
                  <a:ext uri="{0D108BD9-81ED-4DB2-BD59-A6C34878D82A}">
                    <a16:rowId xmlns:a16="http://schemas.microsoft.com/office/drawing/2014/main" val="3434528905"/>
                  </a:ext>
                </a:extLst>
              </a:tr>
              <a:tr h="4890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tx2"/>
                          </a:solidFill>
                          <a:latin typeface="+mn-lt"/>
                        </a:rPr>
                        <a:t>4.</a:t>
                      </a:r>
                    </a:p>
                  </a:txBody>
                  <a:tcPr anchor="ctr">
                    <a:lnT w="12700" cap="flat" cmpd="sng" algn="ctr">
                      <a:solidFill>
                        <a:schemeClr val="accent2"/>
                      </a:solidFill>
                      <a:prstDash val="sysDash"/>
                      <a:round/>
                      <a:headEnd type="none" w="med" len="med"/>
                      <a:tailEnd type="none" w="med" len="med"/>
                    </a:lnT>
                    <a:lnB w="12700" cap="flat" cmpd="sng" algn="ctr">
                      <a:solidFill>
                        <a:schemeClr val="accent2"/>
                      </a:solidFill>
                      <a:prstDash val="sysDash"/>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latin typeface="+mn-lt"/>
                        </a:rPr>
                        <a:t>Business applications of Data Analytics</a:t>
                      </a:r>
                    </a:p>
                  </a:txBody>
                  <a:tcPr anchor="ctr">
                    <a:lnT w="12700" cap="flat" cmpd="sng" algn="ctr">
                      <a:solidFill>
                        <a:schemeClr val="accent2"/>
                      </a:solidFill>
                      <a:prstDash val="sysDash"/>
                      <a:round/>
                      <a:headEnd type="none" w="med" len="med"/>
                      <a:tailEnd type="none" w="med" len="med"/>
                    </a:lnT>
                    <a:lnB w="12700" cap="flat" cmpd="sng" algn="ctr">
                      <a:solidFill>
                        <a:schemeClr val="accent2"/>
                      </a:solidFill>
                      <a:prstDash val="sysDash"/>
                      <a:round/>
                      <a:headEnd type="none" w="med" len="med"/>
                      <a:tailEnd type="none" w="med" len="med"/>
                    </a:lnB>
                  </a:tcPr>
                </a:tc>
                <a:extLst>
                  <a:ext uri="{0D108BD9-81ED-4DB2-BD59-A6C34878D82A}">
                    <a16:rowId xmlns:a16="http://schemas.microsoft.com/office/drawing/2014/main" val="1585341437"/>
                  </a:ext>
                </a:extLst>
              </a:tr>
              <a:tr h="4890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tx2"/>
                          </a:solidFill>
                          <a:latin typeface="+mn-lt"/>
                        </a:rPr>
                        <a:t>5.</a:t>
                      </a:r>
                    </a:p>
                  </a:txBody>
                  <a:tcPr anchor="ctr">
                    <a:lnT w="12700" cap="flat" cmpd="sng" algn="ctr">
                      <a:solidFill>
                        <a:schemeClr val="accent2"/>
                      </a:solidFill>
                      <a:prstDash val="sysDash"/>
                      <a:round/>
                      <a:headEnd type="none" w="med" len="med"/>
                      <a:tailEnd type="none" w="med" len="med"/>
                    </a:lnT>
                    <a:lnB w="12700" cap="flat" cmpd="sng" algn="ctr">
                      <a:solidFill>
                        <a:schemeClr val="accent2"/>
                      </a:solidFill>
                      <a:prstDash val="sysDash"/>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latin typeface="+mn-lt"/>
                        </a:rPr>
                        <a:t>Benefits of Data Analytics</a:t>
                      </a:r>
                    </a:p>
                  </a:txBody>
                  <a:tcPr anchor="ctr">
                    <a:lnT w="12700" cap="flat" cmpd="sng" algn="ctr">
                      <a:solidFill>
                        <a:schemeClr val="accent2"/>
                      </a:solidFill>
                      <a:prstDash val="sysDash"/>
                      <a:round/>
                      <a:headEnd type="none" w="med" len="med"/>
                      <a:tailEnd type="none" w="med" len="med"/>
                    </a:lnT>
                    <a:lnB w="12700" cap="flat" cmpd="sng" algn="ctr">
                      <a:solidFill>
                        <a:schemeClr val="accent2"/>
                      </a:solidFill>
                      <a:prstDash val="sysDash"/>
                      <a:round/>
                      <a:headEnd type="none" w="med" len="med"/>
                      <a:tailEnd type="none" w="med" len="med"/>
                    </a:lnB>
                  </a:tcPr>
                </a:tc>
                <a:extLst>
                  <a:ext uri="{0D108BD9-81ED-4DB2-BD59-A6C34878D82A}">
                    <a16:rowId xmlns:a16="http://schemas.microsoft.com/office/drawing/2014/main" val="246356170"/>
                  </a:ext>
                </a:extLst>
              </a:tr>
              <a:tr h="4890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tx2"/>
                          </a:solidFill>
                          <a:latin typeface="+mn-lt"/>
                        </a:rPr>
                        <a:t>6.</a:t>
                      </a:r>
                    </a:p>
                  </a:txBody>
                  <a:tcPr anchor="ctr">
                    <a:lnT w="12700" cap="flat" cmpd="sng" algn="ctr">
                      <a:solidFill>
                        <a:schemeClr val="accent2"/>
                      </a:solidFill>
                      <a:prstDash val="sysDash"/>
                      <a:round/>
                      <a:headEnd type="none" w="med" len="med"/>
                      <a:tailEnd type="none" w="med" len="med"/>
                    </a:lnT>
                    <a:lnB w="12700" cap="flat" cmpd="sng" algn="ctr">
                      <a:solidFill>
                        <a:schemeClr val="accent2"/>
                      </a:solidFill>
                      <a:prstDash val="sysDash"/>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latin typeface="+mn-lt"/>
                        </a:rPr>
                        <a:t>Use Cases of Data Analytics by industry</a:t>
                      </a:r>
                    </a:p>
                  </a:txBody>
                  <a:tcPr anchor="ctr">
                    <a:lnT w="12700" cap="flat" cmpd="sng" algn="ctr">
                      <a:solidFill>
                        <a:schemeClr val="accent2"/>
                      </a:solidFill>
                      <a:prstDash val="sysDash"/>
                      <a:round/>
                      <a:headEnd type="none" w="med" len="med"/>
                      <a:tailEnd type="none" w="med" len="med"/>
                    </a:lnT>
                    <a:lnB w="12700" cap="flat" cmpd="sng" algn="ctr">
                      <a:solidFill>
                        <a:schemeClr val="accent2"/>
                      </a:solidFill>
                      <a:prstDash val="sysDash"/>
                      <a:round/>
                      <a:headEnd type="none" w="med" len="med"/>
                      <a:tailEnd type="none" w="med" len="med"/>
                    </a:lnB>
                  </a:tcPr>
                </a:tc>
                <a:extLst>
                  <a:ext uri="{0D108BD9-81ED-4DB2-BD59-A6C34878D82A}">
                    <a16:rowId xmlns:a16="http://schemas.microsoft.com/office/drawing/2014/main" val="360268192"/>
                  </a:ext>
                </a:extLst>
              </a:tr>
              <a:tr h="4890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tx2"/>
                          </a:solidFill>
                          <a:latin typeface="+mn-lt"/>
                        </a:rPr>
                        <a:t>7.</a:t>
                      </a:r>
                    </a:p>
                  </a:txBody>
                  <a:tcPr anchor="ctr">
                    <a:lnT w="12700" cap="flat" cmpd="sng" algn="ctr">
                      <a:solidFill>
                        <a:schemeClr val="accent2"/>
                      </a:solidFill>
                      <a:prstDash val="sysDash"/>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latin typeface="+mn-lt"/>
                        </a:rPr>
                        <a:t>Case studies</a:t>
                      </a:r>
                    </a:p>
                  </a:txBody>
                  <a:tcPr anchor="ctr">
                    <a:lnT w="12700" cap="flat" cmpd="sng" algn="ctr">
                      <a:solidFill>
                        <a:schemeClr val="accent2"/>
                      </a:solidFill>
                      <a:prstDash val="sysDash"/>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06740131"/>
                  </a:ext>
                </a:extLst>
              </a:tr>
            </a:tbl>
          </a:graphicData>
        </a:graphic>
      </p:graphicFrame>
    </p:spTree>
    <p:extLst>
      <p:ext uri="{BB962C8B-B14F-4D97-AF65-F5344CB8AC3E}">
        <p14:creationId xmlns:p14="http://schemas.microsoft.com/office/powerpoint/2010/main" val="1210655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49A9C7-F16B-B8A3-1FEE-75A4A8D697FC}"/>
              </a:ext>
            </a:extLst>
          </p:cNvPr>
          <p:cNvGraphicFramePr>
            <a:graphicFrameLocks noChangeAspect="1"/>
          </p:cNvGraphicFramePr>
          <p:nvPr>
            <p:custDataLst>
              <p:tags r:id="rId1"/>
            </p:custDataLst>
            <p:extLst>
              <p:ext uri="{D42A27DB-BD31-4B8C-83A1-F6EECF244321}">
                <p14:modId xmlns:p14="http://schemas.microsoft.com/office/powerpoint/2010/main" val="3242796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9749A9C7-F16B-B8A3-1FEE-75A4A8D697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2106CAC-44D4-D852-F789-91D0DC7AC51D}"/>
              </a:ext>
            </a:extLst>
          </p:cNvPr>
          <p:cNvSpPr/>
          <p:nvPr/>
        </p:nvSpPr>
        <p:spPr>
          <a:xfrm>
            <a:off x="4452729" y="1857375"/>
            <a:ext cx="7207305" cy="44513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dirty="0">
                <a:solidFill>
                  <a:schemeClr val="bg2">
                    <a:lumMod val="10000"/>
                  </a:schemeClr>
                </a:solidFill>
              </a:rPr>
              <a:t>Data analytics is the process of analyzing data in order to answer questions, extract relevant insights, and identify trends. It can help optimize processes and increase efficiency. Companies leverage data analytics in a variety of areas, including budgeting and forecasting, risk management, marketing and sales, and product development.</a:t>
            </a:r>
          </a:p>
          <a:p>
            <a:pPr algn="just"/>
            <a:endParaRPr lang="en-US" sz="1600" dirty="0">
              <a:solidFill>
                <a:schemeClr val="bg2">
                  <a:lumMod val="10000"/>
                </a:schemeClr>
              </a:solidFill>
            </a:endParaRPr>
          </a:p>
          <a:p>
            <a:pPr algn="just"/>
            <a:r>
              <a:rPr lang="en-US" sz="1600" dirty="0">
                <a:solidFill>
                  <a:schemeClr val="bg2">
                    <a:lumMod val="10000"/>
                  </a:schemeClr>
                </a:solidFill>
              </a:rPr>
              <a:t>In the last two years, companies have been forced to adapt quickly to major disruptions and evolving customer needs. These developments, along with increased competition and digitalization, have highlighted the importance of data analytics to make better decisions.</a:t>
            </a:r>
          </a:p>
          <a:p>
            <a:pPr algn="just"/>
            <a:endParaRPr lang="en-US" sz="1600" dirty="0">
              <a:solidFill>
                <a:schemeClr val="bg2">
                  <a:lumMod val="10000"/>
                </a:schemeClr>
              </a:solidFill>
              <a:highlight>
                <a:srgbClr val="FFFF00"/>
              </a:highlight>
            </a:endParaRPr>
          </a:p>
        </p:txBody>
      </p:sp>
      <p:sp>
        <p:nvSpPr>
          <p:cNvPr id="13" name="Title 12">
            <a:extLst>
              <a:ext uri="{FF2B5EF4-FFF2-40B4-BE49-F238E27FC236}">
                <a16:creationId xmlns:a16="http://schemas.microsoft.com/office/drawing/2014/main" id="{BC9B3272-1E9C-BC19-66CE-4F8510BD0D1D}"/>
              </a:ext>
            </a:extLst>
          </p:cNvPr>
          <p:cNvSpPr>
            <a:spLocks noGrp="1"/>
          </p:cNvSpPr>
          <p:nvPr>
            <p:ph type="title"/>
          </p:nvPr>
        </p:nvSpPr>
        <p:spPr>
          <a:xfrm>
            <a:off x="531813" y="560588"/>
            <a:ext cx="3135726" cy="443198"/>
          </a:xfrm>
        </p:spPr>
        <p:txBody>
          <a:bodyPr vert="horz"/>
          <a:lstStyle/>
          <a:p>
            <a:r>
              <a:rPr lang="en-US" dirty="0"/>
              <a:t>Introduction</a:t>
            </a:r>
          </a:p>
        </p:txBody>
      </p:sp>
    </p:spTree>
    <p:extLst>
      <p:ext uri="{BB962C8B-B14F-4D97-AF65-F5344CB8AC3E}">
        <p14:creationId xmlns:p14="http://schemas.microsoft.com/office/powerpoint/2010/main" val="24795935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88" hidden="1">
            <a:extLst>
              <a:ext uri="{FF2B5EF4-FFF2-40B4-BE49-F238E27FC236}">
                <a16:creationId xmlns:a16="http://schemas.microsoft.com/office/drawing/2014/main" id="{B2EA8A55-1D9D-84A5-4ECB-D8250DBD60FA}"/>
              </a:ext>
            </a:extLst>
          </p:cNvPr>
          <p:cNvGraphicFramePr>
            <a:graphicFrameLocks noChangeAspect="1"/>
          </p:cNvGraphicFramePr>
          <p:nvPr>
            <p:custDataLst>
              <p:tags r:id="rId1"/>
            </p:custDataLst>
            <p:extLst>
              <p:ext uri="{D42A27DB-BD31-4B8C-83A1-F6EECF244321}">
                <p14:modId xmlns:p14="http://schemas.microsoft.com/office/powerpoint/2010/main" val="2804968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9" name="Object 88" hidden="1">
                        <a:extLst>
                          <a:ext uri="{FF2B5EF4-FFF2-40B4-BE49-F238E27FC236}">
                            <a16:creationId xmlns:a16="http://schemas.microsoft.com/office/drawing/2014/main" id="{B2EA8A55-1D9D-84A5-4ECB-D8250DBD60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C3D053-964B-D863-AB4F-30B11E75C828}"/>
              </a:ext>
            </a:extLst>
          </p:cNvPr>
          <p:cNvSpPr>
            <a:spLocks noGrp="1"/>
          </p:cNvSpPr>
          <p:nvPr>
            <p:ph type="title"/>
          </p:nvPr>
        </p:nvSpPr>
        <p:spPr>
          <a:xfrm>
            <a:off x="531813" y="560588"/>
            <a:ext cx="11089972" cy="664797"/>
          </a:xfrm>
        </p:spPr>
        <p:txBody>
          <a:bodyPr vert="horz"/>
          <a:lstStyle/>
          <a:p>
            <a:r>
              <a:rPr lang="en-US" sz="2400" dirty="0"/>
              <a:t>The data analytics process involves identifying the business objectives, gathering the data, processing it, evaluating the results, and creating the final report</a:t>
            </a:r>
          </a:p>
        </p:txBody>
      </p:sp>
      <p:sp>
        <p:nvSpPr>
          <p:cNvPr id="52" name="Rectangle 51">
            <a:extLst>
              <a:ext uri="{FF2B5EF4-FFF2-40B4-BE49-F238E27FC236}">
                <a16:creationId xmlns:a16="http://schemas.microsoft.com/office/drawing/2014/main" id="{B4BFA019-1E1D-7776-F20B-0D35517E256B}"/>
              </a:ext>
            </a:extLst>
          </p:cNvPr>
          <p:cNvSpPr/>
          <p:nvPr/>
        </p:nvSpPr>
        <p:spPr>
          <a:xfrm>
            <a:off x="2386918" y="1954494"/>
            <a:ext cx="2322576" cy="342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US" sz="1600" b="1" dirty="0">
                <a:solidFill>
                  <a:schemeClr val="tx2"/>
                </a:solidFill>
              </a:rPr>
              <a:t>Business understanding</a:t>
            </a:r>
          </a:p>
        </p:txBody>
      </p:sp>
      <p:sp>
        <p:nvSpPr>
          <p:cNvPr id="53" name="Rectangle 52">
            <a:extLst>
              <a:ext uri="{FF2B5EF4-FFF2-40B4-BE49-F238E27FC236}">
                <a16:creationId xmlns:a16="http://schemas.microsoft.com/office/drawing/2014/main" id="{A108ED8B-6A2D-4E88-8C05-D225384AB61D}"/>
              </a:ext>
            </a:extLst>
          </p:cNvPr>
          <p:cNvSpPr/>
          <p:nvPr/>
        </p:nvSpPr>
        <p:spPr>
          <a:xfrm>
            <a:off x="4686299" y="1791776"/>
            <a:ext cx="6935485" cy="66789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Determining the business objectives</a:t>
            </a:r>
          </a:p>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Assessing the situation (resource availability, project requirements, assessing risks)</a:t>
            </a:r>
          </a:p>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Determining data mining goals and producing the project plan</a:t>
            </a:r>
          </a:p>
        </p:txBody>
      </p:sp>
      <p:sp>
        <p:nvSpPr>
          <p:cNvPr id="54" name="Rectangle 53">
            <a:extLst>
              <a:ext uri="{FF2B5EF4-FFF2-40B4-BE49-F238E27FC236}">
                <a16:creationId xmlns:a16="http://schemas.microsoft.com/office/drawing/2014/main" id="{7AE7F39F-8D0C-064A-9511-F716D3A2E37F}"/>
              </a:ext>
            </a:extLst>
          </p:cNvPr>
          <p:cNvSpPr/>
          <p:nvPr/>
        </p:nvSpPr>
        <p:spPr>
          <a:xfrm>
            <a:off x="2386918" y="2724670"/>
            <a:ext cx="2322576" cy="342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US" sz="1600" b="1" dirty="0">
                <a:solidFill>
                  <a:schemeClr val="tx2"/>
                </a:solidFill>
              </a:rPr>
              <a:t>Data understanding</a:t>
            </a:r>
          </a:p>
        </p:txBody>
      </p:sp>
      <p:sp>
        <p:nvSpPr>
          <p:cNvPr id="55" name="Rectangle 54">
            <a:extLst>
              <a:ext uri="{FF2B5EF4-FFF2-40B4-BE49-F238E27FC236}">
                <a16:creationId xmlns:a16="http://schemas.microsoft.com/office/drawing/2014/main" id="{B2C06B01-8497-A0F4-A136-54DA3C3BF354}"/>
              </a:ext>
            </a:extLst>
          </p:cNvPr>
          <p:cNvSpPr/>
          <p:nvPr/>
        </p:nvSpPr>
        <p:spPr>
          <a:xfrm>
            <a:off x="4686299" y="2561952"/>
            <a:ext cx="6935485" cy="66789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Collecting initial data and loading it in the analysis tool</a:t>
            </a:r>
          </a:p>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Describing data (data format, number of records, field identities)</a:t>
            </a:r>
          </a:p>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Exploring data and verifying its quality</a:t>
            </a:r>
            <a:endParaRPr lang="en-US" sz="1350" dirty="0">
              <a:solidFill>
                <a:schemeClr val="bg2">
                  <a:lumMod val="10000"/>
                </a:schemeClr>
              </a:solidFill>
            </a:endParaRPr>
          </a:p>
        </p:txBody>
      </p:sp>
      <p:sp>
        <p:nvSpPr>
          <p:cNvPr id="56" name="Rectangle 55">
            <a:extLst>
              <a:ext uri="{FF2B5EF4-FFF2-40B4-BE49-F238E27FC236}">
                <a16:creationId xmlns:a16="http://schemas.microsoft.com/office/drawing/2014/main" id="{897C9767-D0FD-FD43-5C91-C34A2CE8EB85}"/>
              </a:ext>
            </a:extLst>
          </p:cNvPr>
          <p:cNvSpPr/>
          <p:nvPr/>
        </p:nvSpPr>
        <p:spPr>
          <a:xfrm>
            <a:off x="2386918" y="3494846"/>
            <a:ext cx="2322576" cy="342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US" sz="1600" b="1" dirty="0">
                <a:solidFill>
                  <a:schemeClr val="tx2"/>
                </a:solidFill>
              </a:rPr>
              <a:t>Data preparation</a:t>
            </a:r>
          </a:p>
        </p:txBody>
      </p:sp>
      <p:sp>
        <p:nvSpPr>
          <p:cNvPr id="57" name="Rectangle 56">
            <a:extLst>
              <a:ext uri="{FF2B5EF4-FFF2-40B4-BE49-F238E27FC236}">
                <a16:creationId xmlns:a16="http://schemas.microsoft.com/office/drawing/2014/main" id="{EADB8104-C3FF-6EDE-D862-B11157EF46F6}"/>
              </a:ext>
            </a:extLst>
          </p:cNvPr>
          <p:cNvSpPr/>
          <p:nvPr/>
        </p:nvSpPr>
        <p:spPr>
          <a:xfrm>
            <a:off x="4686299" y="3332128"/>
            <a:ext cx="6935485" cy="66789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dirty="0">
                <a:solidFill>
                  <a:schemeClr val="bg2">
                    <a:lumMod val="10000"/>
                  </a:schemeClr>
                </a:solidFill>
                <a:latin typeface="Calibri"/>
                <a:cs typeface="Calibri"/>
                <a:sym typeface="Calibri"/>
              </a:rPr>
              <a:t>Data munging prepares the final data set(s) for modeling. It includes selecting data, cleaning it (correcting, imputing, or removing erroneous values), constructing data, integrating it (by combining the data from multiple sources), and formatting it</a:t>
            </a:r>
            <a:endParaRPr lang="en-US" sz="1350" dirty="0">
              <a:solidFill>
                <a:schemeClr val="bg2">
                  <a:lumMod val="10000"/>
                </a:schemeClr>
              </a:solidFill>
            </a:endParaRPr>
          </a:p>
        </p:txBody>
      </p:sp>
      <p:sp>
        <p:nvSpPr>
          <p:cNvPr id="58" name="Rectangle 57">
            <a:extLst>
              <a:ext uri="{FF2B5EF4-FFF2-40B4-BE49-F238E27FC236}">
                <a16:creationId xmlns:a16="http://schemas.microsoft.com/office/drawing/2014/main" id="{AE0339E5-0A26-18D4-523A-66805131F56E}"/>
              </a:ext>
            </a:extLst>
          </p:cNvPr>
          <p:cNvSpPr/>
          <p:nvPr/>
        </p:nvSpPr>
        <p:spPr>
          <a:xfrm>
            <a:off x="2386918" y="4265022"/>
            <a:ext cx="2322576" cy="342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US" sz="1600" b="1" dirty="0">
                <a:solidFill>
                  <a:schemeClr val="tx2"/>
                </a:solidFill>
              </a:rPr>
              <a:t>Modeling</a:t>
            </a:r>
          </a:p>
        </p:txBody>
      </p:sp>
      <p:sp>
        <p:nvSpPr>
          <p:cNvPr id="59" name="Rectangle 58">
            <a:extLst>
              <a:ext uri="{FF2B5EF4-FFF2-40B4-BE49-F238E27FC236}">
                <a16:creationId xmlns:a16="http://schemas.microsoft.com/office/drawing/2014/main" id="{EA71B21F-F760-2424-7C94-5DF41BAEAAB8}"/>
              </a:ext>
            </a:extLst>
          </p:cNvPr>
          <p:cNvSpPr/>
          <p:nvPr/>
        </p:nvSpPr>
        <p:spPr>
          <a:xfrm>
            <a:off x="4686299" y="4102304"/>
            <a:ext cx="6935485" cy="66789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Selecting modeling techniques</a:t>
            </a:r>
          </a:p>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Generating a test design (splitting the data into training, test, and validation sets)</a:t>
            </a:r>
          </a:p>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Building and assessing the model</a:t>
            </a:r>
            <a:endParaRPr lang="en-US" sz="1350" dirty="0">
              <a:solidFill>
                <a:schemeClr val="bg2">
                  <a:lumMod val="10000"/>
                </a:schemeClr>
              </a:solidFill>
            </a:endParaRPr>
          </a:p>
        </p:txBody>
      </p:sp>
      <p:sp>
        <p:nvSpPr>
          <p:cNvPr id="60" name="Rectangle 59">
            <a:extLst>
              <a:ext uri="{FF2B5EF4-FFF2-40B4-BE49-F238E27FC236}">
                <a16:creationId xmlns:a16="http://schemas.microsoft.com/office/drawing/2014/main" id="{EA06EF37-9400-C607-77B2-9B37F5D38300}"/>
              </a:ext>
            </a:extLst>
          </p:cNvPr>
          <p:cNvSpPr/>
          <p:nvPr/>
        </p:nvSpPr>
        <p:spPr>
          <a:xfrm>
            <a:off x="2386918" y="5035198"/>
            <a:ext cx="2322576" cy="342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US" sz="1600" b="1" dirty="0">
                <a:solidFill>
                  <a:schemeClr val="tx2"/>
                </a:solidFill>
              </a:rPr>
              <a:t>Evaluation</a:t>
            </a:r>
          </a:p>
        </p:txBody>
      </p:sp>
      <p:sp>
        <p:nvSpPr>
          <p:cNvPr id="61" name="Rectangle 60">
            <a:extLst>
              <a:ext uri="{FF2B5EF4-FFF2-40B4-BE49-F238E27FC236}">
                <a16:creationId xmlns:a16="http://schemas.microsoft.com/office/drawing/2014/main" id="{9515DBAA-9CA1-16F8-C773-D39E371FAE49}"/>
              </a:ext>
            </a:extLst>
          </p:cNvPr>
          <p:cNvSpPr/>
          <p:nvPr/>
        </p:nvSpPr>
        <p:spPr>
          <a:xfrm>
            <a:off x="4686299" y="4872480"/>
            <a:ext cx="6935485" cy="66789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Evaluating results</a:t>
            </a:r>
          </a:p>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Reviewing completed work (summarizing findings and correcting anything if needed)</a:t>
            </a:r>
          </a:p>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Determining the next steps (based on the previous tasks)</a:t>
            </a:r>
          </a:p>
        </p:txBody>
      </p:sp>
      <p:sp>
        <p:nvSpPr>
          <p:cNvPr id="62" name="Rectangle 61">
            <a:extLst>
              <a:ext uri="{FF2B5EF4-FFF2-40B4-BE49-F238E27FC236}">
                <a16:creationId xmlns:a16="http://schemas.microsoft.com/office/drawing/2014/main" id="{0FE3BFB6-F37B-721D-CE7C-3A3617D0E194}"/>
              </a:ext>
            </a:extLst>
          </p:cNvPr>
          <p:cNvSpPr/>
          <p:nvPr/>
        </p:nvSpPr>
        <p:spPr>
          <a:xfrm>
            <a:off x="2386918" y="5805372"/>
            <a:ext cx="2322576" cy="342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en-US" sz="1600" b="1" dirty="0">
                <a:solidFill>
                  <a:schemeClr val="tx2"/>
                </a:solidFill>
              </a:rPr>
              <a:t>Deployment</a:t>
            </a:r>
          </a:p>
        </p:txBody>
      </p:sp>
      <p:sp>
        <p:nvSpPr>
          <p:cNvPr id="63" name="Rectangle 62">
            <a:extLst>
              <a:ext uri="{FF2B5EF4-FFF2-40B4-BE49-F238E27FC236}">
                <a16:creationId xmlns:a16="http://schemas.microsoft.com/office/drawing/2014/main" id="{6883A1AC-91DC-B1BE-B33C-DF3C9BDE8FA4}"/>
              </a:ext>
            </a:extLst>
          </p:cNvPr>
          <p:cNvSpPr/>
          <p:nvPr/>
        </p:nvSpPr>
        <p:spPr>
          <a:xfrm>
            <a:off x="4686299" y="5642654"/>
            <a:ext cx="6935485" cy="66789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Plan deployment</a:t>
            </a:r>
          </a:p>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Plan monitoring and maintenance (avoid issues during the operational phase of the model)</a:t>
            </a:r>
          </a:p>
          <a:p>
            <a:pPr marL="111125" indent="-111125">
              <a:buFont typeface="Arial" panose="020B0604020202020204" pitchFamily="34" charset="0"/>
              <a:buChar char="•"/>
            </a:pPr>
            <a:r>
              <a:rPr lang="en-US" sz="1350" dirty="0">
                <a:solidFill>
                  <a:schemeClr val="bg2">
                    <a:lumMod val="10000"/>
                  </a:schemeClr>
                </a:solidFill>
                <a:latin typeface="Calibri"/>
                <a:cs typeface="Calibri"/>
                <a:sym typeface="Calibri"/>
              </a:rPr>
              <a:t>Producing the final report (including a final presentation of data mining results)</a:t>
            </a:r>
            <a:endParaRPr lang="en-US" sz="1350" dirty="0">
              <a:solidFill>
                <a:schemeClr val="bg2">
                  <a:lumMod val="10000"/>
                </a:schemeClr>
              </a:solidFill>
            </a:endParaRPr>
          </a:p>
        </p:txBody>
      </p:sp>
      <p:cxnSp>
        <p:nvCxnSpPr>
          <p:cNvPr id="90" name="Straight Connector 89">
            <a:extLst>
              <a:ext uri="{FF2B5EF4-FFF2-40B4-BE49-F238E27FC236}">
                <a16:creationId xmlns:a16="http://schemas.microsoft.com/office/drawing/2014/main" id="{49EE03C4-DCE9-4AB0-E958-74D7A2E071E5}"/>
              </a:ext>
            </a:extLst>
          </p:cNvPr>
          <p:cNvCxnSpPr>
            <a:cxnSpLocks/>
          </p:cNvCxnSpPr>
          <p:nvPr/>
        </p:nvCxnSpPr>
        <p:spPr>
          <a:xfrm>
            <a:off x="4672345" y="2510811"/>
            <a:ext cx="6949440" cy="0"/>
          </a:xfrm>
          <a:prstGeom prst="line">
            <a:avLst/>
          </a:prstGeom>
          <a:noFill/>
          <a:ln w="19050" cap="flat" cmpd="sng">
            <a:solidFill>
              <a:srgbClr val="F2F2F2"/>
            </a:solidFill>
            <a:prstDash val="dash"/>
            <a:round/>
            <a:headEnd type="none" w="sm" len="sm"/>
            <a:tailEnd type="none" w="sm" len="sm"/>
          </a:ln>
        </p:spPr>
      </p:cxnSp>
      <p:cxnSp>
        <p:nvCxnSpPr>
          <p:cNvPr id="91" name="Straight Connector 90">
            <a:extLst>
              <a:ext uri="{FF2B5EF4-FFF2-40B4-BE49-F238E27FC236}">
                <a16:creationId xmlns:a16="http://schemas.microsoft.com/office/drawing/2014/main" id="{91069EF0-C598-A390-9B66-CEE5FFC17C51}"/>
              </a:ext>
            </a:extLst>
          </p:cNvPr>
          <p:cNvCxnSpPr>
            <a:cxnSpLocks/>
          </p:cNvCxnSpPr>
          <p:nvPr/>
        </p:nvCxnSpPr>
        <p:spPr>
          <a:xfrm>
            <a:off x="4672345" y="3280987"/>
            <a:ext cx="6949440" cy="0"/>
          </a:xfrm>
          <a:prstGeom prst="line">
            <a:avLst/>
          </a:prstGeom>
          <a:noFill/>
          <a:ln w="19050" cap="flat" cmpd="sng">
            <a:solidFill>
              <a:srgbClr val="F2F2F2"/>
            </a:solidFill>
            <a:prstDash val="dash"/>
            <a:round/>
            <a:headEnd type="none" w="sm" len="sm"/>
            <a:tailEnd type="none" w="sm" len="sm"/>
          </a:ln>
        </p:spPr>
      </p:cxnSp>
      <p:cxnSp>
        <p:nvCxnSpPr>
          <p:cNvPr id="92" name="Straight Connector 91">
            <a:extLst>
              <a:ext uri="{FF2B5EF4-FFF2-40B4-BE49-F238E27FC236}">
                <a16:creationId xmlns:a16="http://schemas.microsoft.com/office/drawing/2014/main" id="{53190DB2-F306-BA34-7145-51DC84F8216E}"/>
              </a:ext>
            </a:extLst>
          </p:cNvPr>
          <p:cNvCxnSpPr>
            <a:cxnSpLocks/>
          </p:cNvCxnSpPr>
          <p:nvPr/>
        </p:nvCxnSpPr>
        <p:spPr>
          <a:xfrm>
            <a:off x="4672345" y="4051163"/>
            <a:ext cx="6949440" cy="0"/>
          </a:xfrm>
          <a:prstGeom prst="line">
            <a:avLst/>
          </a:prstGeom>
          <a:noFill/>
          <a:ln w="19050" cap="flat" cmpd="sng">
            <a:solidFill>
              <a:srgbClr val="F2F2F2"/>
            </a:solidFill>
            <a:prstDash val="dash"/>
            <a:round/>
            <a:headEnd type="none" w="sm" len="sm"/>
            <a:tailEnd type="none" w="sm" len="sm"/>
          </a:ln>
        </p:spPr>
      </p:cxnSp>
      <p:cxnSp>
        <p:nvCxnSpPr>
          <p:cNvPr id="93" name="Straight Connector 92">
            <a:extLst>
              <a:ext uri="{FF2B5EF4-FFF2-40B4-BE49-F238E27FC236}">
                <a16:creationId xmlns:a16="http://schemas.microsoft.com/office/drawing/2014/main" id="{DCABE8A9-19E7-0902-91CC-B3D3E5617A99}"/>
              </a:ext>
            </a:extLst>
          </p:cNvPr>
          <p:cNvCxnSpPr>
            <a:cxnSpLocks/>
          </p:cNvCxnSpPr>
          <p:nvPr/>
        </p:nvCxnSpPr>
        <p:spPr>
          <a:xfrm>
            <a:off x="4672345" y="4821339"/>
            <a:ext cx="6949440" cy="0"/>
          </a:xfrm>
          <a:prstGeom prst="line">
            <a:avLst/>
          </a:prstGeom>
          <a:noFill/>
          <a:ln w="19050" cap="flat" cmpd="sng">
            <a:solidFill>
              <a:srgbClr val="F2F2F2"/>
            </a:solidFill>
            <a:prstDash val="dash"/>
            <a:round/>
            <a:headEnd type="none" w="sm" len="sm"/>
            <a:tailEnd type="none" w="sm" len="sm"/>
          </a:ln>
        </p:spPr>
      </p:cxnSp>
      <p:cxnSp>
        <p:nvCxnSpPr>
          <p:cNvPr id="94" name="Straight Connector 93">
            <a:extLst>
              <a:ext uri="{FF2B5EF4-FFF2-40B4-BE49-F238E27FC236}">
                <a16:creationId xmlns:a16="http://schemas.microsoft.com/office/drawing/2014/main" id="{48700842-67C9-D596-1C37-E4BB710BB19A}"/>
              </a:ext>
            </a:extLst>
          </p:cNvPr>
          <p:cNvCxnSpPr>
            <a:cxnSpLocks/>
          </p:cNvCxnSpPr>
          <p:nvPr/>
        </p:nvCxnSpPr>
        <p:spPr>
          <a:xfrm>
            <a:off x="4672345" y="5591515"/>
            <a:ext cx="6949440" cy="0"/>
          </a:xfrm>
          <a:prstGeom prst="line">
            <a:avLst/>
          </a:prstGeom>
          <a:noFill/>
          <a:ln w="19050" cap="flat" cmpd="sng">
            <a:solidFill>
              <a:srgbClr val="F2F2F2"/>
            </a:solidFill>
            <a:prstDash val="dash"/>
            <a:round/>
            <a:headEnd type="none" w="sm" len="sm"/>
            <a:tailEnd type="none" w="sm" len="sm"/>
          </a:ln>
        </p:spPr>
      </p:cxnSp>
      <p:grpSp>
        <p:nvGrpSpPr>
          <p:cNvPr id="105" name="Group 104">
            <a:extLst>
              <a:ext uri="{FF2B5EF4-FFF2-40B4-BE49-F238E27FC236}">
                <a16:creationId xmlns:a16="http://schemas.microsoft.com/office/drawing/2014/main" id="{C3D0F0B6-7DD0-DBA2-613D-A5FAA9299B1C}"/>
              </a:ext>
            </a:extLst>
          </p:cNvPr>
          <p:cNvGrpSpPr/>
          <p:nvPr/>
        </p:nvGrpSpPr>
        <p:grpSpPr>
          <a:xfrm>
            <a:off x="1486392" y="1884956"/>
            <a:ext cx="559542" cy="539558"/>
            <a:chOff x="3452560" y="184625"/>
            <a:chExt cx="5286022" cy="5117348"/>
          </a:xfrm>
          <a:solidFill>
            <a:schemeClr val="tx1"/>
          </a:solidFill>
        </p:grpSpPr>
        <p:sp>
          <p:nvSpPr>
            <p:cNvPr id="25" name="Freeform: Shape 24">
              <a:extLst>
                <a:ext uri="{FF2B5EF4-FFF2-40B4-BE49-F238E27FC236}">
                  <a16:creationId xmlns:a16="http://schemas.microsoft.com/office/drawing/2014/main" id="{67C25A80-9059-7E31-8431-CFE1EE3312E2}"/>
                </a:ext>
              </a:extLst>
            </p:cNvPr>
            <p:cNvSpPr/>
            <p:nvPr/>
          </p:nvSpPr>
          <p:spPr>
            <a:xfrm>
              <a:off x="3452560" y="184625"/>
              <a:ext cx="5286022" cy="5117348"/>
            </a:xfrm>
            <a:custGeom>
              <a:avLst/>
              <a:gdLst>
                <a:gd name="connsiteX0" fmla="*/ 5245267 w 5286022"/>
                <a:gd name="connsiteY0" fmla="*/ 5035782 h 5117348"/>
                <a:gd name="connsiteX1" fmla="*/ 4559467 w 5286022"/>
                <a:gd name="connsiteY1" fmla="*/ 5035782 h 5117348"/>
                <a:gd name="connsiteX2" fmla="*/ 5262716 w 5286022"/>
                <a:gd name="connsiteY2" fmla="*/ 4074017 h 5117348"/>
                <a:gd name="connsiteX3" fmla="*/ 4501252 w 5286022"/>
                <a:gd name="connsiteY3" fmla="*/ 3096448 h 5117348"/>
                <a:gd name="connsiteX4" fmla="*/ 4501291 w 5286022"/>
                <a:gd name="connsiteY4" fmla="*/ 788045 h 5117348"/>
                <a:gd name="connsiteX5" fmla="*/ 4283500 w 5286022"/>
                <a:gd name="connsiteY5" fmla="*/ 570255 h 5117348"/>
                <a:gd name="connsiteX6" fmla="*/ 3297614 w 5286022"/>
                <a:gd name="connsiteY6" fmla="*/ 570255 h 5117348"/>
                <a:gd name="connsiteX7" fmla="*/ 3297614 w 5286022"/>
                <a:gd name="connsiteY7" fmla="*/ 445566 h 5117348"/>
                <a:gd name="connsiteX8" fmla="*/ 3256895 w 5286022"/>
                <a:gd name="connsiteY8" fmla="*/ 404847 h 5117348"/>
                <a:gd name="connsiteX9" fmla="*/ 2126402 w 5286022"/>
                <a:gd name="connsiteY9" fmla="*/ 404847 h 5117348"/>
                <a:gd name="connsiteX10" fmla="*/ 2085684 w 5286022"/>
                <a:gd name="connsiteY10" fmla="*/ 445566 h 5117348"/>
                <a:gd name="connsiteX11" fmla="*/ 2085684 w 5286022"/>
                <a:gd name="connsiteY11" fmla="*/ 570255 h 5117348"/>
                <a:gd name="connsiteX12" fmla="*/ 1665053 w 5286022"/>
                <a:gd name="connsiteY12" fmla="*/ 570255 h 5117348"/>
                <a:gd name="connsiteX13" fmla="*/ 1521231 w 5286022"/>
                <a:gd name="connsiteY13" fmla="*/ 352464 h 5117348"/>
                <a:gd name="connsiteX14" fmla="*/ 1650925 w 5286022"/>
                <a:gd name="connsiteY14" fmla="*/ 222769 h 5117348"/>
                <a:gd name="connsiteX15" fmla="*/ 1774771 w 5286022"/>
                <a:gd name="connsiteY15" fmla="*/ 222769 h 5117348"/>
                <a:gd name="connsiteX16" fmla="*/ 1815490 w 5286022"/>
                <a:gd name="connsiteY16" fmla="*/ 182051 h 5117348"/>
                <a:gd name="connsiteX17" fmla="*/ 1774771 w 5286022"/>
                <a:gd name="connsiteY17" fmla="*/ 141332 h 5117348"/>
                <a:gd name="connsiteX18" fmla="*/ 1732368 w 5286022"/>
                <a:gd name="connsiteY18" fmla="*/ 141332 h 5117348"/>
                <a:gd name="connsiteX19" fmla="*/ 1750661 w 5286022"/>
                <a:gd name="connsiteY19" fmla="*/ 123038 h 5117348"/>
                <a:gd name="connsiteX20" fmla="*/ 1750661 w 5286022"/>
                <a:gd name="connsiteY20" fmla="*/ 65671 h 5117348"/>
                <a:gd name="connsiteX21" fmla="*/ 1693294 w 5286022"/>
                <a:gd name="connsiteY21" fmla="*/ 65671 h 5117348"/>
                <a:gd name="connsiteX22" fmla="*/ 1674159 w 5286022"/>
                <a:gd name="connsiteY22" fmla="*/ 84806 h 5117348"/>
                <a:gd name="connsiteX23" fmla="*/ 1674159 w 5286022"/>
                <a:gd name="connsiteY23" fmla="*/ 40719 h 5117348"/>
                <a:gd name="connsiteX24" fmla="*/ 1633441 w 5286022"/>
                <a:gd name="connsiteY24" fmla="*/ 0 h 5117348"/>
                <a:gd name="connsiteX25" fmla="*/ 1592722 w 5286022"/>
                <a:gd name="connsiteY25" fmla="*/ 40719 h 5117348"/>
                <a:gd name="connsiteX26" fmla="*/ 1592722 w 5286022"/>
                <a:gd name="connsiteY26" fmla="*/ 165407 h 5117348"/>
                <a:gd name="connsiteX27" fmla="*/ 1463869 w 5286022"/>
                <a:gd name="connsiteY27" fmla="*/ 294259 h 5117348"/>
                <a:gd name="connsiteX28" fmla="*/ 872828 w 5286022"/>
                <a:gd name="connsiteY28" fmla="*/ 61499 h 5117348"/>
                <a:gd name="connsiteX29" fmla="*/ 0 w 5286022"/>
                <a:gd name="connsiteY29" fmla="*/ 934326 h 5117348"/>
                <a:gd name="connsiteX30" fmla="*/ 872828 w 5286022"/>
                <a:gd name="connsiteY30" fmla="*/ 1807154 h 5117348"/>
                <a:gd name="connsiteX31" fmla="*/ 881974 w 5286022"/>
                <a:gd name="connsiteY31" fmla="*/ 1806312 h 5117348"/>
                <a:gd name="connsiteX32" fmla="*/ 881974 w 5286022"/>
                <a:gd name="connsiteY32" fmla="*/ 4898682 h 5117348"/>
                <a:gd name="connsiteX33" fmla="*/ 931839 w 5286022"/>
                <a:gd name="connsiteY33" fmla="*/ 5035000 h 5117348"/>
                <a:gd name="connsiteX34" fmla="*/ 614314 w 5286022"/>
                <a:gd name="connsiteY34" fmla="*/ 5035038 h 5117348"/>
                <a:gd name="connsiteX35" fmla="*/ 614314 w 5286022"/>
                <a:gd name="connsiteY35" fmla="*/ 4675914 h 5117348"/>
                <a:gd name="connsiteX36" fmla="*/ 671681 w 5286022"/>
                <a:gd name="connsiteY36" fmla="*/ 4675914 h 5117348"/>
                <a:gd name="connsiteX37" fmla="*/ 712400 w 5286022"/>
                <a:gd name="connsiteY37" fmla="*/ 4635195 h 5117348"/>
                <a:gd name="connsiteX38" fmla="*/ 672485 w 5286022"/>
                <a:gd name="connsiteY38" fmla="*/ 4595318 h 5117348"/>
                <a:gd name="connsiteX39" fmla="*/ 574396 w 5286022"/>
                <a:gd name="connsiteY39" fmla="*/ 4595318 h 5117348"/>
                <a:gd name="connsiteX40" fmla="*/ 573554 w 5286022"/>
                <a:gd name="connsiteY40" fmla="*/ 4595318 h 5117348"/>
                <a:gd name="connsiteX41" fmla="*/ 512054 w 5286022"/>
                <a:gd name="connsiteY41" fmla="*/ 4595318 h 5117348"/>
                <a:gd name="connsiteX42" fmla="*/ 592689 w 5286022"/>
                <a:gd name="connsiteY42" fmla="*/ 4458158 h 5117348"/>
                <a:gd name="connsiteX43" fmla="*/ 783048 w 5286022"/>
                <a:gd name="connsiteY43" fmla="*/ 4107371 h 5117348"/>
                <a:gd name="connsiteX44" fmla="*/ 829584 w 5286022"/>
                <a:gd name="connsiteY44" fmla="*/ 3636883 h 5117348"/>
                <a:gd name="connsiteX45" fmla="*/ 733143 w 5286022"/>
                <a:gd name="connsiteY45" fmla="*/ 3558735 h 5117348"/>
                <a:gd name="connsiteX46" fmla="*/ 369042 w 5286022"/>
                <a:gd name="connsiteY46" fmla="*/ 3995971 h 5117348"/>
                <a:gd name="connsiteX47" fmla="*/ 338273 w 5286022"/>
                <a:gd name="connsiteY47" fmla="*/ 4219581 h 5117348"/>
                <a:gd name="connsiteX48" fmla="*/ 190317 w 5286022"/>
                <a:gd name="connsiteY48" fmla="*/ 4077444 h 5117348"/>
                <a:gd name="connsiteX49" fmla="*/ 67275 w 5286022"/>
                <a:gd name="connsiteY49" fmla="*/ 4171359 h 5117348"/>
                <a:gd name="connsiteX50" fmla="*/ 241820 w 5286022"/>
                <a:gd name="connsiteY50" fmla="*/ 4595311 h 5117348"/>
                <a:gd name="connsiteX51" fmla="*/ 148786 w 5286022"/>
                <a:gd name="connsiteY51" fmla="*/ 4595311 h 5117348"/>
                <a:gd name="connsiteX52" fmla="*/ 108067 w 5286022"/>
                <a:gd name="connsiteY52" fmla="*/ 4636029 h 5117348"/>
                <a:gd name="connsiteX53" fmla="*/ 148786 w 5286022"/>
                <a:gd name="connsiteY53" fmla="*/ 4676748 h 5117348"/>
                <a:gd name="connsiteX54" fmla="*/ 206153 w 5286022"/>
                <a:gd name="connsiteY54" fmla="*/ 4676748 h 5117348"/>
                <a:gd name="connsiteX55" fmla="*/ 206153 w 5286022"/>
                <a:gd name="connsiteY55" fmla="*/ 5035873 h 5117348"/>
                <a:gd name="connsiteX56" fmla="*/ 41551 w 5286022"/>
                <a:gd name="connsiteY56" fmla="*/ 5035873 h 5117348"/>
                <a:gd name="connsiteX57" fmla="*/ 832 w 5286022"/>
                <a:gd name="connsiteY57" fmla="*/ 5076591 h 5117348"/>
                <a:gd name="connsiteX58" fmla="*/ 41551 w 5286022"/>
                <a:gd name="connsiteY58" fmla="*/ 5117310 h 5117348"/>
                <a:gd name="connsiteX59" fmla="*/ 5245304 w 5286022"/>
                <a:gd name="connsiteY59" fmla="*/ 5117348 h 5117348"/>
                <a:gd name="connsiteX60" fmla="*/ 5286023 w 5286022"/>
                <a:gd name="connsiteY60" fmla="*/ 5076630 h 5117348"/>
                <a:gd name="connsiteX61" fmla="*/ 5245304 w 5286022"/>
                <a:gd name="connsiteY61" fmla="*/ 5035871 h 5117348"/>
                <a:gd name="connsiteX62" fmla="*/ 447998 w 5286022"/>
                <a:gd name="connsiteY62" fmla="*/ 4015802 h 5117348"/>
                <a:gd name="connsiteX63" fmla="*/ 686578 w 5286022"/>
                <a:gd name="connsiteY63" fmla="*/ 3633410 h 5117348"/>
                <a:gd name="connsiteX64" fmla="*/ 714018 w 5286022"/>
                <a:gd name="connsiteY64" fmla="*/ 3636739 h 5117348"/>
                <a:gd name="connsiteX65" fmla="*/ 758067 w 5286022"/>
                <a:gd name="connsiteY65" fmla="*/ 3672483 h 5117348"/>
                <a:gd name="connsiteX66" fmla="*/ 708201 w 5286022"/>
                <a:gd name="connsiteY66" fmla="*/ 4074813 h 5117348"/>
                <a:gd name="connsiteX67" fmla="*/ 526151 w 5286022"/>
                <a:gd name="connsiteY67" fmla="*/ 4409826 h 5117348"/>
                <a:gd name="connsiteX68" fmla="*/ 448003 w 5286022"/>
                <a:gd name="connsiteY68" fmla="*/ 4537835 h 5117348"/>
                <a:gd name="connsiteX69" fmla="*/ 446357 w 5286022"/>
                <a:gd name="connsiteY69" fmla="*/ 4532860 h 5117348"/>
                <a:gd name="connsiteX70" fmla="*/ 448003 w 5286022"/>
                <a:gd name="connsiteY70" fmla="*/ 4015796 h 5117348"/>
                <a:gd name="connsiteX71" fmla="*/ 141259 w 5286022"/>
                <a:gd name="connsiteY71" fmla="*/ 4204515 h 5117348"/>
                <a:gd name="connsiteX72" fmla="*/ 180333 w 5286022"/>
                <a:gd name="connsiteY72" fmla="*/ 4157978 h 5117348"/>
                <a:gd name="connsiteX73" fmla="*/ 181175 w 5286022"/>
                <a:gd name="connsiteY73" fmla="*/ 4157978 h 5117348"/>
                <a:gd name="connsiteX74" fmla="*/ 299201 w 5286022"/>
                <a:gd name="connsiteY74" fmla="*/ 4343360 h 5117348"/>
                <a:gd name="connsiteX75" fmla="*/ 366518 w 5286022"/>
                <a:gd name="connsiteY75" fmla="*/ 4556183 h 5117348"/>
                <a:gd name="connsiteX76" fmla="*/ 372335 w 5286022"/>
                <a:gd name="connsiteY76" fmla="*/ 4585269 h 5117348"/>
                <a:gd name="connsiteX77" fmla="*/ 141260 w 5286022"/>
                <a:gd name="connsiteY77" fmla="*/ 4204523 h 5117348"/>
                <a:gd name="connsiteX78" fmla="*/ 381514 w 5286022"/>
                <a:gd name="connsiteY78" fmla="*/ 4676688 h 5117348"/>
                <a:gd name="connsiteX79" fmla="*/ 532792 w 5286022"/>
                <a:gd name="connsiteY79" fmla="*/ 4676688 h 5117348"/>
                <a:gd name="connsiteX80" fmla="*/ 532792 w 5286022"/>
                <a:gd name="connsiteY80" fmla="*/ 5017521 h 5117348"/>
                <a:gd name="connsiteX81" fmla="*/ 287560 w 5286022"/>
                <a:gd name="connsiteY81" fmla="*/ 5017483 h 5117348"/>
                <a:gd name="connsiteX82" fmla="*/ 287560 w 5286022"/>
                <a:gd name="connsiteY82" fmla="*/ 4676650 h 5117348"/>
                <a:gd name="connsiteX83" fmla="*/ 5181233 w 5286022"/>
                <a:gd name="connsiteY83" fmla="*/ 4073164 h 5117348"/>
                <a:gd name="connsiteX84" fmla="*/ 4252689 w 5286022"/>
                <a:gd name="connsiteY84" fmla="*/ 5001708 h 5117348"/>
                <a:gd name="connsiteX85" fmla="*/ 3717363 w 5286022"/>
                <a:gd name="connsiteY85" fmla="*/ 4830454 h 5117348"/>
                <a:gd name="connsiteX86" fmla="*/ 3697424 w 5286022"/>
                <a:gd name="connsiteY86" fmla="*/ 4815491 h 5117348"/>
                <a:gd name="connsiteX87" fmla="*/ 3323330 w 5286022"/>
                <a:gd name="connsiteY87" fmla="*/ 4072329 h 5117348"/>
                <a:gd name="connsiteX88" fmla="*/ 4251874 w 5286022"/>
                <a:gd name="connsiteY88" fmla="*/ 3143785 h 5117348"/>
                <a:gd name="connsiteX89" fmla="*/ 4442233 w 5286022"/>
                <a:gd name="connsiteY89" fmla="*/ 3163724 h 5117348"/>
                <a:gd name="connsiteX90" fmla="*/ 4457196 w 5286022"/>
                <a:gd name="connsiteY90" fmla="*/ 3167895 h 5117348"/>
                <a:gd name="connsiteX91" fmla="*/ 5181224 w 5286022"/>
                <a:gd name="connsiteY91" fmla="*/ 4073171 h 5117348"/>
                <a:gd name="connsiteX92" fmla="*/ 1185272 w 5286022"/>
                <a:gd name="connsiteY92" fmla="*/ 1748988 h 5117348"/>
                <a:gd name="connsiteX93" fmla="*/ 1742220 w 5286022"/>
                <a:gd name="connsiteY93" fmla="*/ 1008304 h 5117348"/>
                <a:gd name="connsiteX94" fmla="*/ 1847804 w 5286022"/>
                <a:gd name="connsiteY94" fmla="*/ 1008304 h 5117348"/>
                <a:gd name="connsiteX95" fmla="*/ 2093036 w 5286022"/>
                <a:gd name="connsiteY95" fmla="*/ 1214466 h 5117348"/>
                <a:gd name="connsiteX96" fmla="*/ 2511178 w 5286022"/>
                <a:gd name="connsiteY96" fmla="*/ 1214466 h 5117348"/>
                <a:gd name="connsiteX97" fmla="*/ 2689055 w 5286022"/>
                <a:gd name="connsiteY97" fmla="*/ 1356603 h 5117348"/>
                <a:gd name="connsiteX98" fmla="*/ 2867775 w 5286022"/>
                <a:gd name="connsiteY98" fmla="*/ 1214466 h 5117348"/>
                <a:gd name="connsiteX99" fmla="*/ 3285917 w 5286022"/>
                <a:gd name="connsiteY99" fmla="*/ 1214466 h 5117348"/>
                <a:gd name="connsiteX100" fmla="*/ 3531149 w 5286022"/>
                <a:gd name="connsiteY100" fmla="*/ 1008304 h 5117348"/>
                <a:gd name="connsiteX101" fmla="*/ 4150436 w 5286022"/>
                <a:gd name="connsiteY101" fmla="*/ 1008304 h 5117348"/>
                <a:gd name="connsiteX102" fmla="*/ 4198657 w 5286022"/>
                <a:gd name="connsiteY102" fmla="*/ 1056525 h 5117348"/>
                <a:gd name="connsiteX103" fmla="*/ 4198657 w 5286022"/>
                <a:gd name="connsiteY103" fmla="*/ 3066507 h 5117348"/>
                <a:gd name="connsiteX104" fmla="*/ 3243514 w 5286022"/>
                <a:gd name="connsiteY104" fmla="*/ 4074045 h 5117348"/>
                <a:gd name="connsiteX105" fmla="*/ 3568544 w 5286022"/>
                <a:gd name="connsiteY105" fmla="*/ 4814729 h 5117348"/>
                <a:gd name="connsiteX106" fmla="*/ 1233493 w 5286022"/>
                <a:gd name="connsiteY106" fmla="*/ 4814690 h 5117348"/>
                <a:gd name="connsiteX107" fmla="*/ 1185272 w 5286022"/>
                <a:gd name="connsiteY107" fmla="*/ 4766470 h 5117348"/>
                <a:gd name="connsiteX108" fmla="*/ 2085541 w 5286022"/>
                <a:gd name="connsiteY108" fmla="*/ 926831 h 5117348"/>
                <a:gd name="connsiteX109" fmla="*/ 1930090 w 5286022"/>
                <a:gd name="connsiteY109" fmla="*/ 926831 h 5117348"/>
                <a:gd name="connsiteX110" fmla="*/ 2085541 w 5286022"/>
                <a:gd name="connsiteY110" fmla="*/ 797979 h 5117348"/>
                <a:gd name="connsiteX111" fmla="*/ 2126260 w 5286022"/>
                <a:gd name="connsiteY111" fmla="*/ 1007467 h 5117348"/>
                <a:gd name="connsiteX112" fmla="*/ 3447111 w 5286022"/>
                <a:gd name="connsiteY112" fmla="*/ 1007467 h 5117348"/>
                <a:gd name="connsiteX113" fmla="*/ 3284998 w 5286022"/>
                <a:gd name="connsiteY113" fmla="*/ 1132155 h 5117348"/>
                <a:gd name="connsiteX114" fmla="*/ 2831116 w 5286022"/>
                <a:gd name="connsiteY114" fmla="*/ 1132155 h 5117348"/>
                <a:gd name="connsiteX115" fmla="*/ 2790397 w 5286022"/>
                <a:gd name="connsiteY115" fmla="*/ 1172874 h 5117348"/>
                <a:gd name="connsiteX116" fmla="*/ 2688977 w 5286022"/>
                <a:gd name="connsiteY116" fmla="*/ 1274294 h 5117348"/>
                <a:gd name="connsiteX117" fmla="*/ 2588399 w 5286022"/>
                <a:gd name="connsiteY117" fmla="*/ 1183670 h 5117348"/>
                <a:gd name="connsiteX118" fmla="*/ 2590045 w 5286022"/>
                <a:gd name="connsiteY118" fmla="*/ 1172036 h 5117348"/>
                <a:gd name="connsiteX119" fmla="*/ 2549326 w 5286022"/>
                <a:gd name="connsiteY119" fmla="*/ 1131317 h 5117348"/>
                <a:gd name="connsiteX120" fmla="*/ 2092955 w 5286022"/>
                <a:gd name="connsiteY120" fmla="*/ 1131317 h 5117348"/>
                <a:gd name="connsiteX121" fmla="*/ 1930842 w 5286022"/>
                <a:gd name="connsiteY121" fmla="*/ 1006629 h 5117348"/>
                <a:gd name="connsiteX122" fmla="*/ 2126207 w 5286022"/>
                <a:gd name="connsiteY122" fmla="*/ 1006629 h 5117348"/>
                <a:gd name="connsiteX123" fmla="*/ 3297509 w 5286022"/>
                <a:gd name="connsiteY123" fmla="*/ 797974 h 5117348"/>
                <a:gd name="connsiteX124" fmla="*/ 3448786 w 5286022"/>
                <a:gd name="connsiteY124" fmla="*/ 926826 h 5117348"/>
                <a:gd name="connsiteX125" fmla="*/ 3297509 w 5286022"/>
                <a:gd name="connsiteY125" fmla="*/ 926826 h 5117348"/>
                <a:gd name="connsiteX126" fmla="*/ 4283395 w 5286022"/>
                <a:gd name="connsiteY126" fmla="*/ 650861 h 5117348"/>
                <a:gd name="connsiteX127" fmla="*/ 4419712 w 5286022"/>
                <a:gd name="connsiteY127" fmla="*/ 787178 h 5117348"/>
                <a:gd name="connsiteX128" fmla="*/ 4419712 w 5286022"/>
                <a:gd name="connsiteY128" fmla="*/ 3078142 h 5117348"/>
                <a:gd name="connsiteX129" fmla="*/ 4279222 w 5286022"/>
                <a:gd name="connsiteY129" fmla="*/ 3064824 h 5117348"/>
                <a:gd name="connsiteX130" fmla="*/ 4279222 w 5286022"/>
                <a:gd name="connsiteY130" fmla="*/ 1055626 h 5117348"/>
                <a:gd name="connsiteX131" fmla="*/ 4149527 w 5286022"/>
                <a:gd name="connsiteY131" fmla="*/ 925931 h 5117348"/>
                <a:gd name="connsiteX132" fmla="*/ 3531043 w 5286022"/>
                <a:gd name="connsiteY132" fmla="*/ 925931 h 5117348"/>
                <a:gd name="connsiteX133" fmla="*/ 3297440 w 5286022"/>
                <a:gd name="connsiteY133" fmla="*/ 715635 h 5117348"/>
                <a:gd name="connsiteX134" fmla="*/ 3297440 w 5286022"/>
                <a:gd name="connsiteY134" fmla="*/ 649964 h 5117348"/>
                <a:gd name="connsiteX135" fmla="*/ 4283425 w 5286022"/>
                <a:gd name="connsiteY135" fmla="*/ 649964 h 5117348"/>
                <a:gd name="connsiteX136" fmla="*/ 2167016 w 5286022"/>
                <a:gd name="connsiteY136" fmla="*/ 486259 h 5117348"/>
                <a:gd name="connsiteX137" fmla="*/ 3216094 w 5286022"/>
                <a:gd name="connsiteY137" fmla="*/ 486259 h 5117348"/>
                <a:gd name="connsiteX138" fmla="*/ 3216094 w 5286022"/>
                <a:gd name="connsiteY138" fmla="*/ 926826 h 5117348"/>
                <a:gd name="connsiteX139" fmla="*/ 2167016 w 5286022"/>
                <a:gd name="connsiteY139" fmla="*/ 926826 h 5117348"/>
                <a:gd name="connsiteX140" fmla="*/ 2085539 w 5286022"/>
                <a:gd name="connsiteY140" fmla="*/ 650861 h 5117348"/>
                <a:gd name="connsiteX141" fmla="*/ 2085539 w 5286022"/>
                <a:gd name="connsiteY141" fmla="*/ 715690 h 5117348"/>
                <a:gd name="connsiteX142" fmla="*/ 1847802 w 5286022"/>
                <a:gd name="connsiteY142" fmla="*/ 925986 h 5117348"/>
                <a:gd name="connsiteX143" fmla="*/ 1745539 w 5286022"/>
                <a:gd name="connsiteY143" fmla="*/ 926024 h 5117348"/>
                <a:gd name="connsiteX144" fmla="*/ 1698161 w 5286022"/>
                <a:gd name="connsiteY144" fmla="*/ 650861 h 5117348"/>
                <a:gd name="connsiteX145" fmla="*/ 81338 w 5286022"/>
                <a:gd name="connsiteY145" fmla="*/ 934331 h 5117348"/>
                <a:gd name="connsiteX146" fmla="*/ 872722 w 5286022"/>
                <a:gd name="connsiteY146" fmla="*/ 142947 h 5117348"/>
                <a:gd name="connsiteX147" fmla="*/ 1406401 w 5286022"/>
                <a:gd name="connsiteY147" fmla="*/ 351597 h 5117348"/>
                <a:gd name="connsiteX148" fmla="*/ 1290864 w 5286022"/>
                <a:gd name="connsiteY148" fmla="*/ 467135 h 5117348"/>
                <a:gd name="connsiteX149" fmla="*/ 872722 w 5286022"/>
                <a:gd name="connsiteY149" fmla="*/ 306706 h 5117348"/>
                <a:gd name="connsiteX150" fmla="*/ 245097 w 5286022"/>
                <a:gd name="connsiteY150" fmla="*/ 934331 h 5117348"/>
                <a:gd name="connsiteX151" fmla="*/ 872722 w 5286022"/>
                <a:gd name="connsiteY151" fmla="*/ 1561956 h 5117348"/>
                <a:gd name="connsiteX152" fmla="*/ 1500346 w 5286022"/>
                <a:gd name="connsiteY152" fmla="*/ 934331 h 5117348"/>
                <a:gd name="connsiteX153" fmla="*/ 1347383 w 5286022"/>
                <a:gd name="connsiteY153" fmla="*/ 524497 h 5117348"/>
                <a:gd name="connsiteX154" fmla="*/ 1462921 w 5286022"/>
                <a:gd name="connsiteY154" fmla="*/ 408959 h 5117348"/>
                <a:gd name="connsiteX155" fmla="*/ 1664105 w 5286022"/>
                <a:gd name="connsiteY155" fmla="*/ 934331 h 5117348"/>
                <a:gd name="connsiteX156" fmla="*/ 872722 w 5286022"/>
                <a:gd name="connsiteY156" fmla="*/ 1725715 h 5117348"/>
                <a:gd name="connsiteX157" fmla="*/ 81338 w 5286022"/>
                <a:gd name="connsiteY157" fmla="*/ 934331 h 5117348"/>
                <a:gd name="connsiteX158" fmla="*/ 994079 w 5286022"/>
                <a:gd name="connsiteY158" fmla="*/ 934331 h 5117348"/>
                <a:gd name="connsiteX159" fmla="*/ 873525 w 5286022"/>
                <a:gd name="connsiteY159" fmla="*/ 1054885 h 5117348"/>
                <a:gd name="connsiteX160" fmla="*/ 752971 w 5286022"/>
                <a:gd name="connsiteY160" fmla="*/ 934331 h 5117348"/>
                <a:gd name="connsiteX161" fmla="*/ 873525 w 5286022"/>
                <a:gd name="connsiteY161" fmla="*/ 813777 h 5117348"/>
                <a:gd name="connsiteX162" fmla="*/ 930050 w 5286022"/>
                <a:gd name="connsiteY162" fmla="*/ 828740 h 5117348"/>
                <a:gd name="connsiteX163" fmla="*/ 852744 w 5286022"/>
                <a:gd name="connsiteY163" fmla="*/ 906046 h 5117348"/>
                <a:gd name="connsiteX164" fmla="*/ 852744 w 5286022"/>
                <a:gd name="connsiteY164" fmla="*/ 963413 h 5117348"/>
                <a:gd name="connsiteX165" fmla="*/ 881830 w 5286022"/>
                <a:gd name="connsiteY165" fmla="*/ 975047 h 5117348"/>
                <a:gd name="connsiteX166" fmla="*/ 910916 w 5286022"/>
                <a:gd name="connsiteY166" fmla="*/ 963413 h 5117348"/>
                <a:gd name="connsiteX167" fmla="*/ 985734 w 5286022"/>
                <a:gd name="connsiteY167" fmla="*/ 888595 h 5117348"/>
                <a:gd name="connsiteX168" fmla="*/ 994076 w 5286022"/>
                <a:gd name="connsiteY168" fmla="*/ 934328 h 5117348"/>
                <a:gd name="connsiteX169" fmla="*/ 989104 w 5286022"/>
                <a:gd name="connsiteY169" fmla="*/ 768887 h 5117348"/>
                <a:gd name="connsiteX170" fmla="*/ 873566 w 5286022"/>
                <a:gd name="connsiteY170" fmla="*/ 732300 h 5117348"/>
                <a:gd name="connsiteX171" fmla="*/ 671578 w 5286022"/>
                <a:gd name="connsiteY171" fmla="*/ 934288 h 5117348"/>
                <a:gd name="connsiteX172" fmla="*/ 873566 w 5286022"/>
                <a:gd name="connsiteY172" fmla="*/ 1136276 h 5117348"/>
                <a:gd name="connsiteX173" fmla="*/ 1075554 w 5286022"/>
                <a:gd name="connsiteY173" fmla="*/ 934288 h 5117348"/>
                <a:gd name="connsiteX174" fmla="*/ 1044785 w 5286022"/>
                <a:gd name="connsiteY174" fmla="*/ 828704 h 5117348"/>
                <a:gd name="connsiteX175" fmla="*/ 1132079 w 5286022"/>
                <a:gd name="connsiteY175" fmla="*/ 741410 h 5117348"/>
                <a:gd name="connsiteX176" fmla="*/ 1196909 w 5286022"/>
                <a:gd name="connsiteY176" fmla="*/ 934257 h 5117348"/>
                <a:gd name="connsiteX177" fmla="*/ 873525 w 5286022"/>
                <a:gd name="connsiteY177" fmla="*/ 1257641 h 5117348"/>
                <a:gd name="connsiteX178" fmla="*/ 550141 w 5286022"/>
                <a:gd name="connsiteY178" fmla="*/ 934257 h 5117348"/>
                <a:gd name="connsiteX179" fmla="*/ 873525 w 5286022"/>
                <a:gd name="connsiteY179" fmla="*/ 610872 h 5117348"/>
                <a:gd name="connsiteX180" fmla="*/ 1075513 w 5286022"/>
                <a:gd name="connsiteY180" fmla="*/ 682361 h 5117348"/>
                <a:gd name="connsiteX181" fmla="*/ 1132926 w 5286022"/>
                <a:gd name="connsiteY181" fmla="*/ 625065 h 5117348"/>
                <a:gd name="connsiteX182" fmla="*/ 873566 w 5286022"/>
                <a:gd name="connsiteY182" fmla="*/ 530308 h 5117348"/>
                <a:gd name="connsiteX183" fmla="*/ 469551 w 5286022"/>
                <a:gd name="connsiteY183" fmla="*/ 934322 h 5117348"/>
                <a:gd name="connsiteX184" fmla="*/ 873566 w 5286022"/>
                <a:gd name="connsiteY184" fmla="*/ 1338337 h 5117348"/>
                <a:gd name="connsiteX185" fmla="*/ 1277581 w 5286022"/>
                <a:gd name="connsiteY185" fmla="*/ 934322 h 5117348"/>
                <a:gd name="connsiteX186" fmla="*/ 1189483 w 5286022"/>
                <a:gd name="connsiteY186" fmla="*/ 683270 h 5117348"/>
                <a:gd name="connsiteX187" fmla="*/ 1290903 w 5286022"/>
                <a:gd name="connsiteY187" fmla="*/ 581850 h 5117348"/>
                <a:gd name="connsiteX188" fmla="*/ 1419755 w 5286022"/>
                <a:gd name="connsiteY188" fmla="*/ 933480 h 5117348"/>
                <a:gd name="connsiteX189" fmla="*/ 872761 w 5286022"/>
                <a:gd name="connsiteY189" fmla="*/ 1480474 h 5117348"/>
                <a:gd name="connsiteX190" fmla="*/ 325767 w 5286022"/>
                <a:gd name="connsiteY190" fmla="*/ 933480 h 5117348"/>
                <a:gd name="connsiteX191" fmla="*/ 872761 w 5286022"/>
                <a:gd name="connsiteY191" fmla="*/ 386486 h 5117348"/>
                <a:gd name="connsiteX192" fmla="*/ 1233531 w 5286022"/>
                <a:gd name="connsiteY192" fmla="*/ 523646 h 5117348"/>
                <a:gd name="connsiteX193" fmla="*/ 963318 w 5286022"/>
                <a:gd name="connsiteY193" fmla="*/ 4898677 h 5117348"/>
                <a:gd name="connsiteX194" fmla="*/ 963318 w 5286022"/>
                <a:gd name="connsiteY194" fmla="*/ 1802975 h 5117348"/>
                <a:gd name="connsiteX195" fmla="*/ 1103809 w 5286022"/>
                <a:gd name="connsiteY195" fmla="*/ 1775535 h 5117348"/>
                <a:gd name="connsiteX196" fmla="*/ 1103809 w 5286022"/>
                <a:gd name="connsiteY196" fmla="*/ 4766505 h 5117348"/>
                <a:gd name="connsiteX197" fmla="*/ 1233503 w 5286022"/>
                <a:gd name="connsiteY197" fmla="*/ 4896200 h 5117348"/>
                <a:gd name="connsiteX198" fmla="*/ 3667505 w 5286022"/>
                <a:gd name="connsiteY198" fmla="*/ 4896200 h 5117348"/>
                <a:gd name="connsiteX199" fmla="*/ 3945999 w 5286022"/>
                <a:gd name="connsiteY199" fmla="*/ 5036691 h 5117348"/>
                <a:gd name="connsiteX200" fmla="*/ 1100517 w 5286022"/>
                <a:gd name="connsiteY200" fmla="*/ 5036691 h 5117348"/>
                <a:gd name="connsiteX201" fmla="*/ 963357 w 5286022"/>
                <a:gd name="connsiteY201" fmla="*/ 4898688 h 5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5286022" h="5117348">
                  <a:moveTo>
                    <a:pt x="5245267" y="5035782"/>
                  </a:moveTo>
                  <a:lnTo>
                    <a:pt x="4559467" y="5035782"/>
                  </a:lnTo>
                  <a:cubicBezTo>
                    <a:pt x="4966773" y="4905285"/>
                    <a:pt x="5262716" y="4523725"/>
                    <a:pt x="5262716" y="4074017"/>
                  </a:cubicBezTo>
                  <a:cubicBezTo>
                    <a:pt x="5262716" y="3602686"/>
                    <a:pt x="4938528" y="3207009"/>
                    <a:pt x="4501252" y="3096448"/>
                  </a:cubicBezTo>
                  <a:lnTo>
                    <a:pt x="4501291" y="788045"/>
                  </a:lnTo>
                  <a:cubicBezTo>
                    <a:pt x="4501291" y="667491"/>
                    <a:pt x="4403202" y="570255"/>
                    <a:pt x="4283500" y="570255"/>
                  </a:cubicBezTo>
                  <a:lnTo>
                    <a:pt x="3297614" y="570255"/>
                  </a:lnTo>
                  <a:lnTo>
                    <a:pt x="3297614" y="445566"/>
                  </a:lnTo>
                  <a:cubicBezTo>
                    <a:pt x="3297614" y="423140"/>
                    <a:pt x="3279320" y="404847"/>
                    <a:pt x="3256895" y="404847"/>
                  </a:cubicBezTo>
                  <a:lnTo>
                    <a:pt x="2126402" y="404847"/>
                  </a:lnTo>
                  <a:cubicBezTo>
                    <a:pt x="2103976" y="404847"/>
                    <a:pt x="2085684" y="423141"/>
                    <a:pt x="2085684" y="445566"/>
                  </a:cubicBezTo>
                  <a:lnTo>
                    <a:pt x="2085684" y="570255"/>
                  </a:lnTo>
                  <a:lnTo>
                    <a:pt x="1665053" y="570255"/>
                  </a:lnTo>
                  <a:cubicBezTo>
                    <a:pt x="1628466" y="490462"/>
                    <a:pt x="1579442" y="417292"/>
                    <a:pt x="1521231" y="352464"/>
                  </a:cubicBezTo>
                  <a:lnTo>
                    <a:pt x="1650925" y="222769"/>
                  </a:lnTo>
                  <a:lnTo>
                    <a:pt x="1774771" y="222769"/>
                  </a:lnTo>
                  <a:cubicBezTo>
                    <a:pt x="1797198" y="222769"/>
                    <a:pt x="1815490" y="204476"/>
                    <a:pt x="1815490" y="182051"/>
                  </a:cubicBezTo>
                  <a:cubicBezTo>
                    <a:pt x="1815490" y="159624"/>
                    <a:pt x="1797197" y="141332"/>
                    <a:pt x="1774771" y="141332"/>
                  </a:cubicBezTo>
                  <a:lnTo>
                    <a:pt x="1732368" y="141332"/>
                  </a:lnTo>
                  <a:lnTo>
                    <a:pt x="1750661" y="123038"/>
                  </a:lnTo>
                  <a:cubicBezTo>
                    <a:pt x="1766467" y="107233"/>
                    <a:pt x="1766467" y="81477"/>
                    <a:pt x="1750661" y="65671"/>
                  </a:cubicBezTo>
                  <a:cubicBezTo>
                    <a:pt x="1734856" y="49865"/>
                    <a:pt x="1709100" y="49865"/>
                    <a:pt x="1693294" y="65671"/>
                  </a:cubicBezTo>
                  <a:lnTo>
                    <a:pt x="1674159" y="84806"/>
                  </a:lnTo>
                  <a:lnTo>
                    <a:pt x="1674159" y="40719"/>
                  </a:lnTo>
                  <a:cubicBezTo>
                    <a:pt x="1674159" y="18292"/>
                    <a:pt x="1655866" y="0"/>
                    <a:pt x="1633441" y="0"/>
                  </a:cubicBezTo>
                  <a:cubicBezTo>
                    <a:pt x="1611014" y="0"/>
                    <a:pt x="1592722" y="18293"/>
                    <a:pt x="1592722" y="40719"/>
                  </a:cubicBezTo>
                  <a:lnTo>
                    <a:pt x="1592722" y="165407"/>
                  </a:lnTo>
                  <a:lnTo>
                    <a:pt x="1463869" y="294259"/>
                  </a:lnTo>
                  <a:cubicBezTo>
                    <a:pt x="1308418" y="150437"/>
                    <a:pt x="1100611" y="61499"/>
                    <a:pt x="872828" y="61499"/>
                  </a:cubicBezTo>
                  <a:cubicBezTo>
                    <a:pt x="391504" y="61499"/>
                    <a:pt x="0" y="453041"/>
                    <a:pt x="0" y="934326"/>
                  </a:cubicBezTo>
                  <a:cubicBezTo>
                    <a:pt x="0" y="1415650"/>
                    <a:pt x="391543" y="1807154"/>
                    <a:pt x="872828" y="1807154"/>
                  </a:cubicBezTo>
                  <a:cubicBezTo>
                    <a:pt x="876157" y="1807154"/>
                    <a:pt x="878645" y="1807154"/>
                    <a:pt x="881974" y="1806312"/>
                  </a:cubicBezTo>
                  <a:lnTo>
                    <a:pt x="881974" y="4898682"/>
                  </a:lnTo>
                  <a:cubicBezTo>
                    <a:pt x="881974" y="4951036"/>
                    <a:pt x="901109" y="4997613"/>
                    <a:pt x="931839" y="5035000"/>
                  </a:cubicBezTo>
                  <a:lnTo>
                    <a:pt x="614314" y="5035038"/>
                  </a:lnTo>
                  <a:lnTo>
                    <a:pt x="614314" y="4675914"/>
                  </a:lnTo>
                  <a:lnTo>
                    <a:pt x="671681" y="4675914"/>
                  </a:lnTo>
                  <a:cubicBezTo>
                    <a:pt x="694108" y="4675914"/>
                    <a:pt x="712400" y="4657620"/>
                    <a:pt x="712400" y="4635195"/>
                  </a:cubicBezTo>
                  <a:cubicBezTo>
                    <a:pt x="712400" y="4612768"/>
                    <a:pt x="694910" y="4595318"/>
                    <a:pt x="672485" y="4595318"/>
                  </a:cubicBezTo>
                  <a:lnTo>
                    <a:pt x="574396" y="4595318"/>
                  </a:lnTo>
                  <a:lnTo>
                    <a:pt x="573554" y="4595318"/>
                  </a:lnTo>
                  <a:lnTo>
                    <a:pt x="512054" y="4595318"/>
                  </a:lnTo>
                  <a:cubicBezTo>
                    <a:pt x="533676" y="4542963"/>
                    <a:pt x="559432" y="4505535"/>
                    <a:pt x="592689" y="4458158"/>
                  </a:cubicBezTo>
                  <a:cubicBezTo>
                    <a:pt x="643397" y="4385024"/>
                    <a:pt x="707424" y="4294398"/>
                    <a:pt x="783048" y="4107371"/>
                  </a:cubicBezTo>
                  <a:cubicBezTo>
                    <a:pt x="784694" y="4104041"/>
                    <a:pt x="909411" y="3793137"/>
                    <a:pt x="829584" y="3636883"/>
                  </a:cubicBezTo>
                  <a:cubicBezTo>
                    <a:pt x="808804" y="3596163"/>
                    <a:pt x="775547" y="3569565"/>
                    <a:pt x="733143" y="3558735"/>
                  </a:cubicBezTo>
                  <a:cubicBezTo>
                    <a:pt x="522848" y="3506381"/>
                    <a:pt x="424729" y="3783187"/>
                    <a:pt x="369042" y="3995971"/>
                  </a:cubicBezTo>
                  <a:cubicBezTo>
                    <a:pt x="349907" y="4070789"/>
                    <a:pt x="340761" y="4146445"/>
                    <a:pt x="338273" y="4219581"/>
                  </a:cubicBezTo>
                  <a:cubicBezTo>
                    <a:pt x="304174" y="4153067"/>
                    <a:pt x="251821" y="4084910"/>
                    <a:pt x="190317" y="4077444"/>
                  </a:cubicBezTo>
                  <a:cubicBezTo>
                    <a:pt x="155415" y="4073273"/>
                    <a:pt x="105511" y="4086591"/>
                    <a:pt x="67275" y="4171359"/>
                  </a:cubicBezTo>
                  <a:cubicBezTo>
                    <a:pt x="-15848" y="4355898"/>
                    <a:pt x="127129" y="4508861"/>
                    <a:pt x="241820" y="4595311"/>
                  </a:cubicBezTo>
                  <a:lnTo>
                    <a:pt x="148786" y="4595311"/>
                  </a:lnTo>
                  <a:cubicBezTo>
                    <a:pt x="126359" y="4595311"/>
                    <a:pt x="108067" y="4613604"/>
                    <a:pt x="108067" y="4636029"/>
                  </a:cubicBezTo>
                  <a:cubicBezTo>
                    <a:pt x="108067" y="4658456"/>
                    <a:pt x="126360" y="4676748"/>
                    <a:pt x="148786" y="4676748"/>
                  </a:cubicBezTo>
                  <a:lnTo>
                    <a:pt x="206153" y="4676748"/>
                  </a:lnTo>
                  <a:lnTo>
                    <a:pt x="206153" y="5035873"/>
                  </a:lnTo>
                  <a:lnTo>
                    <a:pt x="41551" y="5035873"/>
                  </a:lnTo>
                  <a:cubicBezTo>
                    <a:pt x="19125" y="5035873"/>
                    <a:pt x="832" y="5054166"/>
                    <a:pt x="832" y="5076591"/>
                  </a:cubicBezTo>
                  <a:cubicBezTo>
                    <a:pt x="832" y="5099018"/>
                    <a:pt x="19125" y="5117310"/>
                    <a:pt x="41551" y="5117310"/>
                  </a:cubicBezTo>
                  <a:lnTo>
                    <a:pt x="5245304" y="5117348"/>
                  </a:lnTo>
                  <a:cubicBezTo>
                    <a:pt x="5267730" y="5117348"/>
                    <a:pt x="5286023" y="5099055"/>
                    <a:pt x="5286023" y="5076630"/>
                  </a:cubicBezTo>
                  <a:cubicBezTo>
                    <a:pt x="5286061" y="5054165"/>
                    <a:pt x="5267767" y="5035871"/>
                    <a:pt x="5245304" y="5035871"/>
                  </a:cubicBezTo>
                  <a:close/>
                  <a:moveTo>
                    <a:pt x="447998" y="4015802"/>
                  </a:moveTo>
                  <a:cubicBezTo>
                    <a:pt x="515315" y="3758931"/>
                    <a:pt x="593466" y="3633410"/>
                    <a:pt x="686578" y="3633410"/>
                  </a:cubicBezTo>
                  <a:cubicBezTo>
                    <a:pt x="695724" y="3633410"/>
                    <a:pt x="704871" y="3634252"/>
                    <a:pt x="714018" y="3636739"/>
                  </a:cubicBezTo>
                  <a:cubicBezTo>
                    <a:pt x="733957" y="3641714"/>
                    <a:pt x="748117" y="3653348"/>
                    <a:pt x="758067" y="3672483"/>
                  </a:cubicBezTo>
                  <a:cubicBezTo>
                    <a:pt x="802115" y="3758093"/>
                    <a:pt x="755579" y="3959275"/>
                    <a:pt x="708201" y="4074813"/>
                  </a:cubicBezTo>
                  <a:cubicBezTo>
                    <a:pt x="635067" y="4253532"/>
                    <a:pt x="575215" y="4339982"/>
                    <a:pt x="526151" y="4409826"/>
                  </a:cubicBezTo>
                  <a:cubicBezTo>
                    <a:pt x="497065" y="4451387"/>
                    <a:pt x="470468" y="4489619"/>
                    <a:pt x="448003" y="4537835"/>
                  </a:cubicBezTo>
                  <a:cubicBezTo>
                    <a:pt x="447161" y="4536190"/>
                    <a:pt x="446357" y="4534506"/>
                    <a:pt x="446357" y="4532860"/>
                  </a:cubicBezTo>
                  <a:cubicBezTo>
                    <a:pt x="420563" y="4404851"/>
                    <a:pt x="398979" y="4204499"/>
                    <a:pt x="448003" y="4015796"/>
                  </a:cubicBezTo>
                  <a:close/>
                  <a:moveTo>
                    <a:pt x="141259" y="4204515"/>
                  </a:moveTo>
                  <a:cubicBezTo>
                    <a:pt x="154577" y="4175429"/>
                    <a:pt x="169540" y="4157978"/>
                    <a:pt x="180333" y="4157978"/>
                  </a:cubicBezTo>
                  <a:lnTo>
                    <a:pt x="181175" y="4157978"/>
                  </a:lnTo>
                  <a:cubicBezTo>
                    <a:pt x="219406" y="4162149"/>
                    <a:pt x="285074" y="4274359"/>
                    <a:pt x="299201" y="4343360"/>
                  </a:cubicBezTo>
                  <a:cubicBezTo>
                    <a:pt x="309994" y="4396555"/>
                    <a:pt x="341604" y="4487182"/>
                    <a:pt x="366518" y="4556183"/>
                  </a:cubicBezTo>
                  <a:cubicBezTo>
                    <a:pt x="368164" y="4566171"/>
                    <a:pt x="370690" y="4576122"/>
                    <a:pt x="372335" y="4585269"/>
                  </a:cubicBezTo>
                  <a:cubicBezTo>
                    <a:pt x="293384" y="4537853"/>
                    <a:pt x="60629" y="4383242"/>
                    <a:pt x="141260" y="4204523"/>
                  </a:cubicBezTo>
                  <a:close/>
                  <a:moveTo>
                    <a:pt x="381514" y="4676688"/>
                  </a:moveTo>
                  <a:lnTo>
                    <a:pt x="532792" y="4676688"/>
                  </a:lnTo>
                  <a:lnTo>
                    <a:pt x="532792" y="5017521"/>
                  </a:lnTo>
                  <a:lnTo>
                    <a:pt x="287560" y="5017483"/>
                  </a:lnTo>
                  <a:lnTo>
                    <a:pt x="287560" y="4676650"/>
                  </a:lnTo>
                  <a:close/>
                  <a:moveTo>
                    <a:pt x="5181233" y="4073164"/>
                  </a:moveTo>
                  <a:cubicBezTo>
                    <a:pt x="5181233" y="4585222"/>
                    <a:pt x="4764776" y="5001708"/>
                    <a:pt x="4252689" y="5001708"/>
                  </a:cubicBezTo>
                  <a:cubicBezTo>
                    <a:pt x="4053190" y="5001708"/>
                    <a:pt x="3869493" y="4937682"/>
                    <a:pt x="3717363" y="4830454"/>
                  </a:cubicBezTo>
                  <a:cubicBezTo>
                    <a:pt x="3712388" y="4823795"/>
                    <a:pt x="3705729" y="4817978"/>
                    <a:pt x="3697424" y="4815491"/>
                  </a:cubicBezTo>
                  <a:cubicBezTo>
                    <a:pt x="3471326" y="4645912"/>
                    <a:pt x="3323330" y="4376569"/>
                    <a:pt x="3323330" y="4072329"/>
                  </a:cubicBezTo>
                  <a:cubicBezTo>
                    <a:pt x="3323330" y="3560271"/>
                    <a:pt x="3739787" y="3143785"/>
                    <a:pt x="4251874" y="3143785"/>
                  </a:cubicBezTo>
                  <a:cubicBezTo>
                    <a:pt x="4316704" y="3143785"/>
                    <a:pt x="4380726" y="3150444"/>
                    <a:pt x="4442233" y="3163724"/>
                  </a:cubicBezTo>
                  <a:cubicBezTo>
                    <a:pt x="4446404" y="3166212"/>
                    <a:pt x="4451379" y="3167053"/>
                    <a:pt x="4457196" y="3167895"/>
                  </a:cubicBezTo>
                  <a:cubicBezTo>
                    <a:pt x="4871164" y="3261848"/>
                    <a:pt x="5181224" y="3631770"/>
                    <a:pt x="5181224" y="4073171"/>
                  </a:cubicBezTo>
                  <a:close/>
                  <a:moveTo>
                    <a:pt x="1185272" y="1748988"/>
                  </a:moveTo>
                  <a:cubicBezTo>
                    <a:pt x="1490365" y="1630962"/>
                    <a:pt x="1713975" y="1347501"/>
                    <a:pt x="1742220" y="1008304"/>
                  </a:cubicBezTo>
                  <a:lnTo>
                    <a:pt x="1847804" y="1008304"/>
                  </a:lnTo>
                  <a:cubicBezTo>
                    <a:pt x="1868584" y="1125527"/>
                    <a:pt x="1970004" y="1214466"/>
                    <a:pt x="2093036" y="1214466"/>
                  </a:cubicBezTo>
                  <a:lnTo>
                    <a:pt x="2511178" y="1214466"/>
                  </a:lnTo>
                  <a:cubicBezTo>
                    <a:pt x="2529471" y="1295943"/>
                    <a:pt x="2602605" y="1356603"/>
                    <a:pt x="2689055" y="1356603"/>
                  </a:cubicBezTo>
                  <a:cubicBezTo>
                    <a:pt x="2776350" y="1356603"/>
                    <a:pt x="2848641" y="1295906"/>
                    <a:pt x="2867775" y="1214466"/>
                  </a:cubicBezTo>
                  <a:lnTo>
                    <a:pt x="3285917" y="1214466"/>
                  </a:lnTo>
                  <a:cubicBezTo>
                    <a:pt x="3408959" y="1214466"/>
                    <a:pt x="3510369" y="1124684"/>
                    <a:pt x="3531149" y="1008304"/>
                  </a:cubicBezTo>
                  <a:lnTo>
                    <a:pt x="4150436" y="1008304"/>
                  </a:lnTo>
                  <a:cubicBezTo>
                    <a:pt x="4177033" y="1008304"/>
                    <a:pt x="4198657" y="1029927"/>
                    <a:pt x="4198657" y="1056525"/>
                  </a:cubicBezTo>
                  <a:lnTo>
                    <a:pt x="4198657" y="3066507"/>
                  </a:lnTo>
                  <a:cubicBezTo>
                    <a:pt x="3667465" y="3095592"/>
                    <a:pt x="3243514" y="3535349"/>
                    <a:pt x="3243514" y="4074045"/>
                  </a:cubicBezTo>
                  <a:cubicBezTo>
                    <a:pt x="3243514" y="4366656"/>
                    <a:pt x="3369035" y="4630151"/>
                    <a:pt x="3568544" y="4814729"/>
                  </a:cubicBezTo>
                  <a:lnTo>
                    <a:pt x="1233493" y="4814690"/>
                  </a:lnTo>
                  <a:cubicBezTo>
                    <a:pt x="1206895" y="4814690"/>
                    <a:pt x="1185272" y="4793068"/>
                    <a:pt x="1185272" y="4766470"/>
                  </a:cubicBezTo>
                  <a:close/>
                  <a:moveTo>
                    <a:pt x="2085541" y="926831"/>
                  </a:moveTo>
                  <a:lnTo>
                    <a:pt x="1930090" y="926831"/>
                  </a:lnTo>
                  <a:cubicBezTo>
                    <a:pt x="1946699" y="855343"/>
                    <a:pt x="2009883" y="801310"/>
                    <a:pt x="2085541" y="797979"/>
                  </a:cubicBezTo>
                  <a:close/>
                  <a:moveTo>
                    <a:pt x="2126260" y="1007467"/>
                  </a:moveTo>
                  <a:lnTo>
                    <a:pt x="3447111" y="1007467"/>
                  </a:lnTo>
                  <a:cubicBezTo>
                    <a:pt x="3427976" y="1078955"/>
                    <a:pt x="3363147" y="1132155"/>
                    <a:pt x="3284998" y="1132155"/>
                  </a:cubicBezTo>
                  <a:lnTo>
                    <a:pt x="2831116" y="1132155"/>
                  </a:lnTo>
                  <a:cubicBezTo>
                    <a:pt x="2808689" y="1132155"/>
                    <a:pt x="2790397" y="1150448"/>
                    <a:pt x="2790397" y="1172874"/>
                  </a:cubicBezTo>
                  <a:cubicBezTo>
                    <a:pt x="2790397" y="1228557"/>
                    <a:pt x="2744664" y="1274294"/>
                    <a:pt x="2688977" y="1274294"/>
                  </a:cubicBezTo>
                  <a:cubicBezTo>
                    <a:pt x="2636623" y="1274294"/>
                    <a:pt x="2594220" y="1234378"/>
                    <a:pt x="2588399" y="1183670"/>
                  </a:cubicBezTo>
                  <a:cubicBezTo>
                    <a:pt x="2589241" y="1180341"/>
                    <a:pt x="2590045" y="1176208"/>
                    <a:pt x="2590045" y="1172036"/>
                  </a:cubicBezTo>
                  <a:cubicBezTo>
                    <a:pt x="2590045" y="1149609"/>
                    <a:pt x="2571752" y="1131317"/>
                    <a:pt x="2549326" y="1131317"/>
                  </a:cubicBezTo>
                  <a:lnTo>
                    <a:pt x="2092955" y="1131317"/>
                  </a:lnTo>
                  <a:cubicBezTo>
                    <a:pt x="2014808" y="1131317"/>
                    <a:pt x="1949976" y="1078122"/>
                    <a:pt x="1930842" y="1006629"/>
                  </a:cubicBezTo>
                  <a:lnTo>
                    <a:pt x="2126207" y="1006629"/>
                  </a:lnTo>
                  <a:close/>
                  <a:moveTo>
                    <a:pt x="3297509" y="797974"/>
                  </a:moveTo>
                  <a:cubicBezTo>
                    <a:pt x="3371485" y="802949"/>
                    <a:pt x="3432180" y="856145"/>
                    <a:pt x="3448786" y="926826"/>
                  </a:cubicBezTo>
                  <a:lnTo>
                    <a:pt x="3297509" y="926826"/>
                  </a:lnTo>
                  <a:close/>
                  <a:moveTo>
                    <a:pt x="4283395" y="650861"/>
                  </a:moveTo>
                  <a:cubicBezTo>
                    <a:pt x="4359056" y="650861"/>
                    <a:pt x="4419712" y="712360"/>
                    <a:pt x="4419712" y="787178"/>
                  </a:cubicBezTo>
                  <a:lnTo>
                    <a:pt x="4419712" y="3078142"/>
                  </a:lnTo>
                  <a:cubicBezTo>
                    <a:pt x="4373980" y="3070679"/>
                    <a:pt x="4326601" y="3065666"/>
                    <a:pt x="4279222" y="3064824"/>
                  </a:cubicBezTo>
                  <a:lnTo>
                    <a:pt x="4279222" y="1055626"/>
                  </a:lnTo>
                  <a:cubicBezTo>
                    <a:pt x="4279222" y="984137"/>
                    <a:pt x="4221051" y="925931"/>
                    <a:pt x="4149527" y="925931"/>
                  </a:cubicBezTo>
                  <a:lnTo>
                    <a:pt x="3531043" y="925931"/>
                  </a:lnTo>
                  <a:cubicBezTo>
                    <a:pt x="3512750" y="810393"/>
                    <a:pt x="3416309" y="721455"/>
                    <a:pt x="3297440" y="715635"/>
                  </a:cubicBezTo>
                  <a:lnTo>
                    <a:pt x="3297440" y="649964"/>
                  </a:lnTo>
                  <a:lnTo>
                    <a:pt x="4283425" y="649964"/>
                  </a:lnTo>
                  <a:close/>
                  <a:moveTo>
                    <a:pt x="2167016" y="486259"/>
                  </a:moveTo>
                  <a:lnTo>
                    <a:pt x="3216094" y="486259"/>
                  </a:lnTo>
                  <a:lnTo>
                    <a:pt x="3216094" y="926826"/>
                  </a:lnTo>
                  <a:lnTo>
                    <a:pt x="2167016" y="926826"/>
                  </a:lnTo>
                  <a:close/>
                  <a:moveTo>
                    <a:pt x="2085539" y="650861"/>
                  </a:moveTo>
                  <a:lnTo>
                    <a:pt x="2085539" y="715690"/>
                  </a:lnTo>
                  <a:cubicBezTo>
                    <a:pt x="1964182" y="719862"/>
                    <a:pt x="1866103" y="809605"/>
                    <a:pt x="1847802" y="925986"/>
                  </a:cubicBezTo>
                  <a:lnTo>
                    <a:pt x="1745539" y="926024"/>
                  </a:lnTo>
                  <a:cubicBezTo>
                    <a:pt x="1744697" y="829583"/>
                    <a:pt x="1727246" y="737312"/>
                    <a:pt x="1698161" y="650861"/>
                  </a:cubicBezTo>
                  <a:close/>
                  <a:moveTo>
                    <a:pt x="81338" y="934331"/>
                  </a:moveTo>
                  <a:cubicBezTo>
                    <a:pt x="81338" y="497898"/>
                    <a:pt x="436288" y="142947"/>
                    <a:pt x="872722" y="142947"/>
                  </a:cubicBezTo>
                  <a:cubicBezTo>
                    <a:pt x="1078040" y="142947"/>
                    <a:pt x="1265068" y="222740"/>
                    <a:pt x="1406401" y="351597"/>
                  </a:cubicBezTo>
                  <a:lnTo>
                    <a:pt x="1290864" y="467135"/>
                  </a:lnTo>
                  <a:cubicBezTo>
                    <a:pt x="1179460" y="367361"/>
                    <a:pt x="1033150" y="306706"/>
                    <a:pt x="872722" y="306706"/>
                  </a:cubicBezTo>
                  <a:cubicBezTo>
                    <a:pt x="526069" y="306706"/>
                    <a:pt x="245097" y="588492"/>
                    <a:pt x="245097" y="934331"/>
                  </a:cubicBezTo>
                  <a:cubicBezTo>
                    <a:pt x="245097" y="1280141"/>
                    <a:pt x="526883" y="1561956"/>
                    <a:pt x="872722" y="1561956"/>
                  </a:cubicBezTo>
                  <a:cubicBezTo>
                    <a:pt x="1218531" y="1561956"/>
                    <a:pt x="1500346" y="1280170"/>
                    <a:pt x="1500346" y="934331"/>
                  </a:cubicBezTo>
                  <a:cubicBezTo>
                    <a:pt x="1500346" y="778037"/>
                    <a:pt x="1442176" y="635058"/>
                    <a:pt x="1347383" y="524497"/>
                  </a:cubicBezTo>
                  <a:lnTo>
                    <a:pt x="1462921" y="408959"/>
                  </a:lnTo>
                  <a:cubicBezTo>
                    <a:pt x="1587609" y="548608"/>
                    <a:pt x="1664105" y="732343"/>
                    <a:pt x="1664105" y="934331"/>
                  </a:cubicBezTo>
                  <a:cubicBezTo>
                    <a:pt x="1664105" y="1370764"/>
                    <a:pt x="1309155" y="1725715"/>
                    <a:pt x="872722" y="1725715"/>
                  </a:cubicBezTo>
                  <a:cubicBezTo>
                    <a:pt x="436288" y="1725677"/>
                    <a:pt x="81338" y="1370725"/>
                    <a:pt x="81338" y="934331"/>
                  </a:cubicBezTo>
                  <a:close/>
                  <a:moveTo>
                    <a:pt x="994079" y="934331"/>
                  </a:moveTo>
                  <a:cubicBezTo>
                    <a:pt x="994079" y="1000845"/>
                    <a:pt x="940042" y="1054885"/>
                    <a:pt x="873525" y="1054885"/>
                  </a:cubicBezTo>
                  <a:cubicBezTo>
                    <a:pt x="807011" y="1054885"/>
                    <a:pt x="752971" y="1000848"/>
                    <a:pt x="752971" y="934331"/>
                  </a:cubicBezTo>
                  <a:cubicBezTo>
                    <a:pt x="752971" y="867817"/>
                    <a:pt x="807008" y="813777"/>
                    <a:pt x="873525" y="813777"/>
                  </a:cubicBezTo>
                  <a:cubicBezTo>
                    <a:pt x="894306" y="813777"/>
                    <a:pt x="913440" y="819594"/>
                    <a:pt x="930050" y="828740"/>
                  </a:cubicBezTo>
                  <a:lnTo>
                    <a:pt x="852744" y="906046"/>
                  </a:lnTo>
                  <a:cubicBezTo>
                    <a:pt x="836939" y="921851"/>
                    <a:pt x="836939" y="947607"/>
                    <a:pt x="852744" y="963413"/>
                  </a:cubicBezTo>
                  <a:cubicBezTo>
                    <a:pt x="861049" y="971717"/>
                    <a:pt x="871038" y="975047"/>
                    <a:pt x="881830" y="975047"/>
                  </a:cubicBezTo>
                  <a:cubicBezTo>
                    <a:pt x="892623" y="975047"/>
                    <a:pt x="902611" y="970876"/>
                    <a:pt x="910916" y="963413"/>
                  </a:cubicBezTo>
                  <a:lnTo>
                    <a:pt x="985734" y="888595"/>
                  </a:lnTo>
                  <a:cubicBezTo>
                    <a:pt x="990747" y="902717"/>
                    <a:pt x="994076" y="918522"/>
                    <a:pt x="994076" y="934328"/>
                  </a:cubicBezTo>
                  <a:close/>
                  <a:moveTo>
                    <a:pt x="989104" y="768887"/>
                  </a:moveTo>
                  <a:cubicBezTo>
                    <a:pt x="955847" y="745618"/>
                    <a:pt x="916773" y="732300"/>
                    <a:pt x="873566" y="732300"/>
                  </a:cubicBezTo>
                  <a:cubicBezTo>
                    <a:pt x="762163" y="732300"/>
                    <a:pt x="671578" y="822924"/>
                    <a:pt x="671578" y="934288"/>
                  </a:cubicBezTo>
                  <a:cubicBezTo>
                    <a:pt x="671578" y="1045691"/>
                    <a:pt x="762202" y="1136276"/>
                    <a:pt x="873566" y="1136276"/>
                  </a:cubicBezTo>
                  <a:cubicBezTo>
                    <a:pt x="984969" y="1136276"/>
                    <a:pt x="1075554" y="1045652"/>
                    <a:pt x="1075554" y="934288"/>
                  </a:cubicBezTo>
                  <a:cubicBezTo>
                    <a:pt x="1075554" y="895214"/>
                    <a:pt x="1063920" y="859470"/>
                    <a:pt x="1044785" y="828704"/>
                  </a:cubicBezTo>
                  <a:lnTo>
                    <a:pt x="1132079" y="741410"/>
                  </a:lnTo>
                  <a:cubicBezTo>
                    <a:pt x="1171995" y="795447"/>
                    <a:pt x="1196909" y="861963"/>
                    <a:pt x="1196909" y="934257"/>
                  </a:cubicBezTo>
                  <a:cubicBezTo>
                    <a:pt x="1196909" y="1112134"/>
                    <a:pt x="1052283" y="1257641"/>
                    <a:pt x="873525" y="1257641"/>
                  </a:cubicBezTo>
                  <a:cubicBezTo>
                    <a:pt x="694805" y="1257641"/>
                    <a:pt x="550141" y="1113015"/>
                    <a:pt x="550141" y="934257"/>
                  </a:cubicBezTo>
                  <a:cubicBezTo>
                    <a:pt x="550141" y="755537"/>
                    <a:pt x="694766" y="610872"/>
                    <a:pt x="873525" y="610872"/>
                  </a:cubicBezTo>
                  <a:cubicBezTo>
                    <a:pt x="949989" y="610872"/>
                    <a:pt x="1020678" y="637470"/>
                    <a:pt x="1075513" y="682361"/>
                  </a:cubicBezTo>
                  <a:close/>
                  <a:moveTo>
                    <a:pt x="1132926" y="625065"/>
                  </a:moveTo>
                  <a:cubicBezTo>
                    <a:pt x="1063083" y="566052"/>
                    <a:pt x="972458" y="530308"/>
                    <a:pt x="873566" y="530308"/>
                  </a:cubicBezTo>
                  <a:cubicBezTo>
                    <a:pt x="650799" y="530308"/>
                    <a:pt x="469551" y="711516"/>
                    <a:pt x="469551" y="934322"/>
                  </a:cubicBezTo>
                  <a:cubicBezTo>
                    <a:pt x="469551" y="1157090"/>
                    <a:pt x="650759" y="1338337"/>
                    <a:pt x="873566" y="1338337"/>
                  </a:cubicBezTo>
                  <a:cubicBezTo>
                    <a:pt x="1096333" y="1338337"/>
                    <a:pt x="1277581" y="1157129"/>
                    <a:pt x="1277581" y="934322"/>
                  </a:cubicBezTo>
                  <a:cubicBezTo>
                    <a:pt x="1277581" y="839565"/>
                    <a:pt x="1244324" y="752272"/>
                    <a:pt x="1189483" y="683270"/>
                  </a:cubicBezTo>
                  <a:lnTo>
                    <a:pt x="1290903" y="581850"/>
                  </a:lnTo>
                  <a:cubicBezTo>
                    <a:pt x="1371538" y="677449"/>
                    <a:pt x="1419755" y="799641"/>
                    <a:pt x="1419755" y="933480"/>
                  </a:cubicBezTo>
                  <a:cubicBezTo>
                    <a:pt x="1419755" y="1235242"/>
                    <a:pt x="1174522" y="1480474"/>
                    <a:pt x="872761" y="1480474"/>
                  </a:cubicBezTo>
                  <a:cubicBezTo>
                    <a:pt x="570999" y="1480474"/>
                    <a:pt x="325767" y="1235242"/>
                    <a:pt x="325767" y="933480"/>
                  </a:cubicBezTo>
                  <a:cubicBezTo>
                    <a:pt x="325767" y="631718"/>
                    <a:pt x="570999" y="386486"/>
                    <a:pt x="872761" y="386486"/>
                  </a:cubicBezTo>
                  <a:cubicBezTo>
                    <a:pt x="1010763" y="386486"/>
                    <a:pt x="1137088" y="438035"/>
                    <a:pt x="1233531" y="523646"/>
                  </a:cubicBezTo>
                  <a:close/>
                  <a:moveTo>
                    <a:pt x="963318" y="4898677"/>
                  </a:moveTo>
                  <a:lnTo>
                    <a:pt x="963318" y="1802975"/>
                  </a:lnTo>
                  <a:cubicBezTo>
                    <a:pt x="1011538" y="1798000"/>
                    <a:pt x="1058075" y="1788012"/>
                    <a:pt x="1103809" y="1775535"/>
                  </a:cubicBezTo>
                  <a:lnTo>
                    <a:pt x="1103809" y="4766505"/>
                  </a:lnTo>
                  <a:cubicBezTo>
                    <a:pt x="1103809" y="4837994"/>
                    <a:pt x="1161979" y="4896200"/>
                    <a:pt x="1233503" y="4896200"/>
                  </a:cubicBezTo>
                  <a:lnTo>
                    <a:pt x="3667505" y="4896200"/>
                  </a:lnTo>
                  <a:cubicBezTo>
                    <a:pt x="3751470" y="4956054"/>
                    <a:pt x="3845382" y="5004272"/>
                    <a:pt x="3945999" y="5036691"/>
                  </a:cubicBezTo>
                  <a:lnTo>
                    <a:pt x="1100517" y="5036691"/>
                  </a:lnTo>
                  <a:cubicBezTo>
                    <a:pt x="1024895" y="5035849"/>
                    <a:pt x="963357" y="4974349"/>
                    <a:pt x="963357" y="4898688"/>
                  </a:cubicBezTo>
                  <a:close/>
                </a:path>
              </a:pathLst>
            </a:custGeom>
            <a:grpFill/>
            <a:ln w="9797"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77F975FA-C186-BA90-001B-E1829ACF6499}"/>
                </a:ext>
              </a:extLst>
            </p:cNvPr>
            <p:cNvSpPr/>
            <p:nvPr/>
          </p:nvSpPr>
          <p:spPr>
            <a:xfrm>
              <a:off x="4834186" y="2451460"/>
              <a:ext cx="660014" cy="660013"/>
            </a:xfrm>
            <a:custGeom>
              <a:avLst/>
              <a:gdLst>
                <a:gd name="connsiteX0" fmla="*/ 330007 w 660014"/>
                <a:gd name="connsiteY0" fmla="*/ 660014 h 660013"/>
                <a:gd name="connsiteX1" fmla="*/ 660014 w 660014"/>
                <a:gd name="connsiteY1" fmla="*/ 330007 h 660013"/>
                <a:gd name="connsiteX2" fmla="*/ 330007 w 660014"/>
                <a:gd name="connsiteY2" fmla="*/ 0 h 660013"/>
                <a:gd name="connsiteX3" fmla="*/ 0 w 660014"/>
                <a:gd name="connsiteY3" fmla="*/ 330007 h 660013"/>
                <a:gd name="connsiteX4" fmla="*/ 330007 w 660014"/>
                <a:gd name="connsiteY4" fmla="*/ 660014 h 660013"/>
                <a:gd name="connsiteX5" fmla="*/ 330007 w 660014"/>
                <a:gd name="connsiteY5" fmla="*/ 81483 h 660013"/>
                <a:gd name="connsiteX6" fmla="*/ 578570 w 660014"/>
                <a:gd name="connsiteY6" fmla="*/ 330046 h 660013"/>
                <a:gd name="connsiteX7" fmla="*/ 330007 w 660014"/>
                <a:gd name="connsiteY7" fmla="*/ 578610 h 660013"/>
                <a:gd name="connsiteX8" fmla="*/ 81444 w 660014"/>
                <a:gd name="connsiteY8" fmla="*/ 330046 h 660013"/>
                <a:gd name="connsiteX9" fmla="*/ 330007 w 660014"/>
                <a:gd name="connsiteY9" fmla="*/ 81483 h 66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0014" h="660013">
                  <a:moveTo>
                    <a:pt x="330007" y="660014"/>
                  </a:moveTo>
                  <a:cubicBezTo>
                    <a:pt x="512057" y="660014"/>
                    <a:pt x="660014" y="512058"/>
                    <a:pt x="660014" y="330007"/>
                  </a:cubicBezTo>
                  <a:cubicBezTo>
                    <a:pt x="660014" y="147957"/>
                    <a:pt x="512057" y="0"/>
                    <a:pt x="330007" y="0"/>
                  </a:cubicBezTo>
                  <a:cubicBezTo>
                    <a:pt x="147957" y="0"/>
                    <a:pt x="0" y="147957"/>
                    <a:pt x="0" y="330007"/>
                  </a:cubicBezTo>
                  <a:cubicBezTo>
                    <a:pt x="804" y="512058"/>
                    <a:pt x="148760" y="660014"/>
                    <a:pt x="330007" y="660014"/>
                  </a:cubicBezTo>
                  <a:close/>
                  <a:moveTo>
                    <a:pt x="330007" y="81483"/>
                  </a:moveTo>
                  <a:cubicBezTo>
                    <a:pt x="467167" y="81483"/>
                    <a:pt x="578570" y="192886"/>
                    <a:pt x="578570" y="330046"/>
                  </a:cubicBezTo>
                  <a:cubicBezTo>
                    <a:pt x="578570" y="467206"/>
                    <a:pt x="467167" y="578610"/>
                    <a:pt x="330007" y="578610"/>
                  </a:cubicBezTo>
                  <a:cubicBezTo>
                    <a:pt x="192847" y="578610"/>
                    <a:pt x="81444" y="467206"/>
                    <a:pt x="81444" y="330046"/>
                  </a:cubicBezTo>
                  <a:cubicBezTo>
                    <a:pt x="81444" y="193690"/>
                    <a:pt x="193650" y="81483"/>
                    <a:pt x="330007" y="81483"/>
                  </a:cubicBezTo>
                  <a:close/>
                </a:path>
              </a:pathLst>
            </a:custGeom>
            <a:grpFill/>
            <a:ln w="9797"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3171D8D-3DAB-EACA-CEE5-4A668A296A82}"/>
                </a:ext>
              </a:extLst>
            </p:cNvPr>
            <p:cNvSpPr/>
            <p:nvPr/>
          </p:nvSpPr>
          <p:spPr>
            <a:xfrm>
              <a:off x="5679523" y="2630178"/>
              <a:ext cx="1774775" cy="81437"/>
            </a:xfrm>
            <a:custGeom>
              <a:avLst/>
              <a:gdLst>
                <a:gd name="connsiteX0" fmla="*/ 0 w 1774775"/>
                <a:gd name="connsiteY0" fmla="*/ 40719 h 81437"/>
                <a:gd name="connsiteX1" fmla="*/ 40719 w 1774775"/>
                <a:gd name="connsiteY1" fmla="*/ 81438 h 81437"/>
                <a:gd name="connsiteX2" fmla="*/ 1734057 w 1774775"/>
                <a:gd name="connsiteY2" fmla="*/ 81438 h 81437"/>
                <a:gd name="connsiteX3" fmla="*/ 1774776 w 1774775"/>
                <a:gd name="connsiteY3" fmla="*/ 40719 h 81437"/>
                <a:gd name="connsiteX4" fmla="*/ 1734057 w 1774775"/>
                <a:gd name="connsiteY4" fmla="*/ 0 h 81437"/>
                <a:gd name="connsiteX5" fmla="*/ 40719 w 1774775"/>
                <a:gd name="connsiteY5" fmla="*/ 0 h 81437"/>
                <a:gd name="connsiteX6" fmla="*/ 0 w 1774775"/>
                <a:gd name="connsiteY6" fmla="*/ 40719 h 8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4775" h="81437">
                  <a:moveTo>
                    <a:pt x="0" y="40719"/>
                  </a:moveTo>
                  <a:cubicBezTo>
                    <a:pt x="0" y="63145"/>
                    <a:pt x="18293" y="81438"/>
                    <a:pt x="40719" y="81438"/>
                  </a:cubicBezTo>
                  <a:lnTo>
                    <a:pt x="1734057" y="81438"/>
                  </a:lnTo>
                  <a:cubicBezTo>
                    <a:pt x="1756484" y="81438"/>
                    <a:pt x="1774776" y="63144"/>
                    <a:pt x="1774776" y="40719"/>
                  </a:cubicBezTo>
                  <a:cubicBezTo>
                    <a:pt x="1774776" y="18292"/>
                    <a:pt x="1756483" y="0"/>
                    <a:pt x="1734057" y="0"/>
                  </a:cubicBezTo>
                  <a:lnTo>
                    <a:pt x="40719" y="0"/>
                  </a:lnTo>
                  <a:cubicBezTo>
                    <a:pt x="18292" y="0"/>
                    <a:pt x="0" y="18293"/>
                    <a:pt x="0" y="40719"/>
                  </a:cubicBezTo>
                  <a:close/>
                </a:path>
              </a:pathLst>
            </a:custGeom>
            <a:grpFill/>
            <a:ln w="9797"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FEF917E5-4151-1E8A-EA58-4AE98044C0E1}"/>
                </a:ext>
              </a:extLst>
            </p:cNvPr>
            <p:cNvSpPr/>
            <p:nvPr/>
          </p:nvSpPr>
          <p:spPr>
            <a:xfrm>
              <a:off x="5679560" y="2852082"/>
              <a:ext cx="1011627" cy="81477"/>
            </a:xfrm>
            <a:custGeom>
              <a:avLst/>
              <a:gdLst>
                <a:gd name="connsiteX0" fmla="*/ 40719 w 1011627"/>
                <a:gd name="connsiteY0" fmla="*/ 81476 h 81477"/>
                <a:gd name="connsiteX1" fmla="*/ 970909 w 1011627"/>
                <a:gd name="connsiteY1" fmla="*/ 81476 h 81477"/>
                <a:gd name="connsiteX2" fmla="*/ 1011627 w 1011627"/>
                <a:gd name="connsiteY2" fmla="*/ 40757 h 81477"/>
                <a:gd name="connsiteX3" fmla="*/ 970909 w 1011627"/>
                <a:gd name="connsiteY3" fmla="*/ 39 h 81477"/>
                <a:gd name="connsiteX4" fmla="*/ 40719 w 1011627"/>
                <a:gd name="connsiteY4" fmla="*/ 0 h 81477"/>
                <a:gd name="connsiteX5" fmla="*/ 0 w 1011627"/>
                <a:gd name="connsiteY5" fmla="*/ 40719 h 81477"/>
                <a:gd name="connsiteX6" fmla="*/ 40719 w 1011627"/>
                <a:gd name="connsiteY6" fmla="*/ 81477 h 8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627" h="81477">
                  <a:moveTo>
                    <a:pt x="40719" y="81476"/>
                  </a:moveTo>
                  <a:lnTo>
                    <a:pt x="970909" y="81476"/>
                  </a:lnTo>
                  <a:cubicBezTo>
                    <a:pt x="993335" y="81476"/>
                    <a:pt x="1011627" y="63183"/>
                    <a:pt x="1011627" y="40757"/>
                  </a:cubicBezTo>
                  <a:cubicBezTo>
                    <a:pt x="1011627" y="18331"/>
                    <a:pt x="993334" y="39"/>
                    <a:pt x="970909" y="39"/>
                  </a:cubicBezTo>
                  <a:lnTo>
                    <a:pt x="40719" y="0"/>
                  </a:lnTo>
                  <a:cubicBezTo>
                    <a:pt x="18292" y="0"/>
                    <a:pt x="0" y="18293"/>
                    <a:pt x="0" y="40719"/>
                  </a:cubicBezTo>
                  <a:cubicBezTo>
                    <a:pt x="0" y="63184"/>
                    <a:pt x="18293" y="81477"/>
                    <a:pt x="40719" y="81477"/>
                  </a:cubicBezTo>
                  <a:close/>
                </a:path>
              </a:pathLst>
            </a:custGeom>
            <a:grpFill/>
            <a:ln w="9797"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DA46F7C4-3D42-218F-A900-39D1B680E088}"/>
                </a:ext>
              </a:extLst>
            </p:cNvPr>
            <p:cNvSpPr/>
            <p:nvPr/>
          </p:nvSpPr>
          <p:spPr>
            <a:xfrm>
              <a:off x="5042515" y="2685578"/>
              <a:ext cx="263967" cy="222188"/>
            </a:xfrm>
            <a:custGeom>
              <a:avLst/>
              <a:gdLst>
                <a:gd name="connsiteX0" fmla="*/ 52608 w 263967"/>
                <a:gd name="connsiteY0" fmla="*/ 210555 h 222188"/>
                <a:gd name="connsiteX1" fmla="*/ 81694 w 263967"/>
                <a:gd name="connsiteY1" fmla="*/ 222189 h 222188"/>
                <a:gd name="connsiteX2" fmla="*/ 110780 w 263967"/>
                <a:gd name="connsiteY2" fmla="*/ 210555 h 222188"/>
                <a:gd name="connsiteX3" fmla="*/ 252114 w 263967"/>
                <a:gd name="connsiteY3" fmla="*/ 69221 h 222188"/>
                <a:gd name="connsiteX4" fmla="*/ 252114 w 263967"/>
                <a:gd name="connsiteY4" fmla="*/ 11854 h 222188"/>
                <a:gd name="connsiteX5" fmla="*/ 194747 w 263967"/>
                <a:gd name="connsiteY5" fmla="*/ 11854 h 222188"/>
                <a:gd name="connsiteX6" fmla="*/ 81697 w 263967"/>
                <a:gd name="connsiteY6" fmla="*/ 124903 h 222188"/>
                <a:gd name="connsiteX7" fmla="*/ 69222 w 263967"/>
                <a:gd name="connsiteY7" fmla="*/ 112428 h 222188"/>
                <a:gd name="connsiteX8" fmla="*/ 11854 w 263967"/>
                <a:gd name="connsiteY8" fmla="*/ 112428 h 222188"/>
                <a:gd name="connsiteX9" fmla="*/ 11854 w 263967"/>
                <a:gd name="connsiteY9" fmla="*/ 169795 h 2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967" h="222188">
                  <a:moveTo>
                    <a:pt x="52608" y="210555"/>
                  </a:moveTo>
                  <a:cubicBezTo>
                    <a:pt x="60071" y="218018"/>
                    <a:pt x="70902" y="222189"/>
                    <a:pt x="81694" y="222189"/>
                  </a:cubicBezTo>
                  <a:cubicBezTo>
                    <a:pt x="92487" y="222189"/>
                    <a:pt x="102475" y="218018"/>
                    <a:pt x="110780" y="210555"/>
                  </a:cubicBezTo>
                  <a:lnTo>
                    <a:pt x="252114" y="69221"/>
                  </a:lnTo>
                  <a:cubicBezTo>
                    <a:pt x="267919" y="53416"/>
                    <a:pt x="267919" y="27660"/>
                    <a:pt x="252114" y="11854"/>
                  </a:cubicBezTo>
                  <a:cubicBezTo>
                    <a:pt x="236308" y="-3951"/>
                    <a:pt x="210552" y="-3951"/>
                    <a:pt x="194747" y="11854"/>
                  </a:cubicBezTo>
                  <a:lnTo>
                    <a:pt x="81697" y="124903"/>
                  </a:lnTo>
                  <a:lnTo>
                    <a:pt x="69222" y="112428"/>
                  </a:lnTo>
                  <a:cubicBezTo>
                    <a:pt x="53416" y="96622"/>
                    <a:pt x="27660" y="96622"/>
                    <a:pt x="11854" y="112428"/>
                  </a:cubicBezTo>
                  <a:cubicBezTo>
                    <a:pt x="-3951" y="128234"/>
                    <a:pt x="-3951" y="153989"/>
                    <a:pt x="11854" y="169795"/>
                  </a:cubicBezTo>
                  <a:close/>
                </a:path>
              </a:pathLst>
            </a:custGeom>
            <a:grpFill/>
            <a:ln w="9797"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CE4CC7F0-2611-D0F9-20FD-3230615053D8}"/>
                </a:ext>
              </a:extLst>
            </p:cNvPr>
            <p:cNvSpPr/>
            <p:nvPr/>
          </p:nvSpPr>
          <p:spPr>
            <a:xfrm>
              <a:off x="4834186" y="3277751"/>
              <a:ext cx="660014" cy="660013"/>
            </a:xfrm>
            <a:custGeom>
              <a:avLst/>
              <a:gdLst>
                <a:gd name="connsiteX0" fmla="*/ 330007 w 660014"/>
                <a:gd name="connsiteY0" fmla="*/ 660014 h 660013"/>
                <a:gd name="connsiteX1" fmla="*/ 660014 w 660014"/>
                <a:gd name="connsiteY1" fmla="*/ 330007 h 660013"/>
                <a:gd name="connsiteX2" fmla="*/ 330007 w 660014"/>
                <a:gd name="connsiteY2" fmla="*/ 0 h 660013"/>
                <a:gd name="connsiteX3" fmla="*/ 0 w 660014"/>
                <a:gd name="connsiteY3" fmla="*/ 330007 h 660013"/>
                <a:gd name="connsiteX4" fmla="*/ 330007 w 660014"/>
                <a:gd name="connsiteY4" fmla="*/ 660014 h 660013"/>
                <a:gd name="connsiteX5" fmla="*/ 330007 w 660014"/>
                <a:gd name="connsiteY5" fmla="*/ 81444 h 660013"/>
                <a:gd name="connsiteX6" fmla="*/ 578570 w 660014"/>
                <a:gd name="connsiteY6" fmla="*/ 330007 h 660013"/>
                <a:gd name="connsiteX7" fmla="*/ 330007 w 660014"/>
                <a:gd name="connsiteY7" fmla="*/ 578570 h 660013"/>
                <a:gd name="connsiteX8" fmla="*/ 81444 w 660014"/>
                <a:gd name="connsiteY8" fmla="*/ 330007 h 660013"/>
                <a:gd name="connsiteX9" fmla="*/ 330007 w 660014"/>
                <a:gd name="connsiteY9" fmla="*/ 81444 h 66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0014" h="660013">
                  <a:moveTo>
                    <a:pt x="330007" y="660014"/>
                  </a:moveTo>
                  <a:cubicBezTo>
                    <a:pt x="512057" y="660014"/>
                    <a:pt x="660014" y="512057"/>
                    <a:pt x="660014" y="330007"/>
                  </a:cubicBezTo>
                  <a:cubicBezTo>
                    <a:pt x="660014" y="147956"/>
                    <a:pt x="512057" y="0"/>
                    <a:pt x="330007" y="0"/>
                  </a:cubicBezTo>
                  <a:cubicBezTo>
                    <a:pt x="147957" y="0"/>
                    <a:pt x="0" y="147956"/>
                    <a:pt x="0" y="330007"/>
                  </a:cubicBezTo>
                  <a:cubicBezTo>
                    <a:pt x="804" y="512057"/>
                    <a:pt x="148760" y="660014"/>
                    <a:pt x="330007" y="660014"/>
                  </a:cubicBezTo>
                  <a:close/>
                  <a:moveTo>
                    <a:pt x="330007" y="81444"/>
                  </a:moveTo>
                  <a:cubicBezTo>
                    <a:pt x="467167" y="81444"/>
                    <a:pt x="578570" y="192847"/>
                    <a:pt x="578570" y="330007"/>
                  </a:cubicBezTo>
                  <a:cubicBezTo>
                    <a:pt x="578570" y="467167"/>
                    <a:pt x="467167" y="578570"/>
                    <a:pt x="330007" y="578570"/>
                  </a:cubicBezTo>
                  <a:cubicBezTo>
                    <a:pt x="192847" y="578570"/>
                    <a:pt x="81444" y="467167"/>
                    <a:pt x="81444" y="330007"/>
                  </a:cubicBezTo>
                  <a:cubicBezTo>
                    <a:pt x="81444" y="192847"/>
                    <a:pt x="193650" y="81444"/>
                    <a:pt x="330007" y="81444"/>
                  </a:cubicBezTo>
                  <a:close/>
                </a:path>
              </a:pathLst>
            </a:custGeom>
            <a:grpFill/>
            <a:ln w="9797"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CF76B722-3395-C0BB-65C7-98174E226710}"/>
                </a:ext>
              </a:extLst>
            </p:cNvPr>
            <p:cNvSpPr/>
            <p:nvPr/>
          </p:nvSpPr>
          <p:spPr>
            <a:xfrm>
              <a:off x="5679560" y="3456431"/>
              <a:ext cx="1048219" cy="81437"/>
            </a:xfrm>
            <a:custGeom>
              <a:avLst/>
              <a:gdLst>
                <a:gd name="connsiteX0" fmla="*/ 1007501 w 1048219"/>
                <a:gd name="connsiteY0" fmla="*/ 0 h 81437"/>
                <a:gd name="connsiteX1" fmla="*/ 40719 w 1048219"/>
                <a:gd name="connsiteY1" fmla="*/ 0 h 81437"/>
                <a:gd name="connsiteX2" fmla="*/ 0 w 1048219"/>
                <a:gd name="connsiteY2" fmla="*/ 40719 h 81437"/>
                <a:gd name="connsiteX3" fmla="*/ 40719 w 1048219"/>
                <a:gd name="connsiteY3" fmla="*/ 81438 h 81437"/>
                <a:gd name="connsiteX4" fmla="*/ 1007501 w 1048219"/>
                <a:gd name="connsiteY4" fmla="*/ 81438 h 81437"/>
                <a:gd name="connsiteX5" fmla="*/ 1048220 w 1048219"/>
                <a:gd name="connsiteY5" fmla="*/ 40719 h 81437"/>
                <a:gd name="connsiteX6" fmla="*/ 1007501 w 1048219"/>
                <a:gd name="connsiteY6" fmla="*/ 0 h 8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219" h="81437">
                  <a:moveTo>
                    <a:pt x="1007501" y="0"/>
                  </a:moveTo>
                  <a:lnTo>
                    <a:pt x="40719" y="0"/>
                  </a:lnTo>
                  <a:cubicBezTo>
                    <a:pt x="18292" y="0"/>
                    <a:pt x="0" y="18293"/>
                    <a:pt x="0" y="40719"/>
                  </a:cubicBezTo>
                  <a:cubicBezTo>
                    <a:pt x="0" y="63146"/>
                    <a:pt x="18293" y="81438"/>
                    <a:pt x="40719" y="81438"/>
                  </a:cubicBezTo>
                  <a:lnTo>
                    <a:pt x="1007501" y="81438"/>
                  </a:lnTo>
                  <a:cubicBezTo>
                    <a:pt x="1029928" y="81438"/>
                    <a:pt x="1048220" y="63145"/>
                    <a:pt x="1048220" y="40719"/>
                  </a:cubicBezTo>
                  <a:cubicBezTo>
                    <a:pt x="1048220" y="18293"/>
                    <a:pt x="1029926" y="0"/>
                    <a:pt x="1007501" y="0"/>
                  </a:cubicBezTo>
                  <a:close/>
                </a:path>
              </a:pathLst>
            </a:custGeom>
            <a:grpFill/>
            <a:ln w="9797"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9C41917C-D28D-F259-CC42-E31ED3C28C1B}"/>
                </a:ext>
              </a:extLst>
            </p:cNvPr>
            <p:cNvSpPr/>
            <p:nvPr/>
          </p:nvSpPr>
          <p:spPr>
            <a:xfrm>
              <a:off x="5679560" y="3677530"/>
              <a:ext cx="653346" cy="81437"/>
            </a:xfrm>
            <a:custGeom>
              <a:avLst/>
              <a:gdLst>
                <a:gd name="connsiteX0" fmla="*/ 40719 w 653346"/>
                <a:gd name="connsiteY0" fmla="*/ 81438 h 81437"/>
                <a:gd name="connsiteX1" fmla="*/ 612627 w 653346"/>
                <a:gd name="connsiteY1" fmla="*/ 81438 h 81437"/>
                <a:gd name="connsiteX2" fmla="*/ 653346 w 653346"/>
                <a:gd name="connsiteY2" fmla="*/ 40719 h 81437"/>
                <a:gd name="connsiteX3" fmla="*/ 612627 w 653346"/>
                <a:gd name="connsiteY3" fmla="*/ 0 h 81437"/>
                <a:gd name="connsiteX4" fmla="*/ 40719 w 653346"/>
                <a:gd name="connsiteY4" fmla="*/ 0 h 81437"/>
                <a:gd name="connsiteX5" fmla="*/ 0 w 653346"/>
                <a:gd name="connsiteY5" fmla="*/ 40719 h 81437"/>
                <a:gd name="connsiteX6" fmla="*/ 40719 w 653346"/>
                <a:gd name="connsiteY6" fmla="*/ 81438 h 8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346" h="81437">
                  <a:moveTo>
                    <a:pt x="40719" y="81438"/>
                  </a:moveTo>
                  <a:lnTo>
                    <a:pt x="612627" y="81438"/>
                  </a:lnTo>
                  <a:cubicBezTo>
                    <a:pt x="635054" y="81438"/>
                    <a:pt x="653346" y="63144"/>
                    <a:pt x="653346" y="40719"/>
                  </a:cubicBezTo>
                  <a:cubicBezTo>
                    <a:pt x="653346" y="18292"/>
                    <a:pt x="635053" y="0"/>
                    <a:pt x="612627" y="0"/>
                  </a:cubicBezTo>
                  <a:lnTo>
                    <a:pt x="40719" y="0"/>
                  </a:lnTo>
                  <a:cubicBezTo>
                    <a:pt x="18292" y="0"/>
                    <a:pt x="0" y="18293"/>
                    <a:pt x="0" y="40719"/>
                  </a:cubicBezTo>
                  <a:cubicBezTo>
                    <a:pt x="0" y="63987"/>
                    <a:pt x="18293" y="81438"/>
                    <a:pt x="40719" y="81438"/>
                  </a:cubicBezTo>
                  <a:close/>
                </a:path>
              </a:pathLst>
            </a:custGeom>
            <a:grpFill/>
            <a:ln w="9797"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8A0A42EE-FB84-D1EC-8B71-7BE0AD6BD823}"/>
                </a:ext>
              </a:extLst>
            </p:cNvPr>
            <p:cNvSpPr/>
            <p:nvPr/>
          </p:nvSpPr>
          <p:spPr>
            <a:xfrm>
              <a:off x="5042515" y="3511869"/>
              <a:ext cx="263967" cy="222189"/>
            </a:xfrm>
            <a:custGeom>
              <a:avLst/>
              <a:gdLst>
                <a:gd name="connsiteX0" fmla="*/ 52608 w 263967"/>
                <a:gd name="connsiteY0" fmla="*/ 210555 h 222189"/>
                <a:gd name="connsiteX1" fmla="*/ 81694 w 263967"/>
                <a:gd name="connsiteY1" fmla="*/ 222189 h 222189"/>
                <a:gd name="connsiteX2" fmla="*/ 110780 w 263967"/>
                <a:gd name="connsiteY2" fmla="*/ 210555 h 222189"/>
                <a:gd name="connsiteX3" fmla="*/ 252114 w 263967"/>
                <a:gd name="connsiteY3" fmla="*/ 69221 h 222189"/>
                <a:gd name="connsiteX4" fmla="*/ 252114 w 263967"/>
                <a:gd name="connsiteY4" fmla="*/ 11854 h 222189"/>
                <a:gd name="connsiteX5" fmla="*/ 194747 w 263967"/>
                <a:gd name="connsiteY5" fmla="*/ 11854 h 222189"/>
                <a:gd name="connsiteX6" fmla="*/ 81697 w 263967"/>
                <a:gd name="connsiteY6" fmla="*/ 124903 h 222189"/>
                <a:gd name="connsiteX7" fmla="*/ 69222 w 263967"/>
                <a:gd name="connsiteY7" fmla="*/ 112428 h 222189"/>
                <a:gd name="connsiteX8" fmla="*/ 11854 w 263967"/>
                <a:gd name="connsiteY8" fmla="*/ 112428 h 222189"/>
                <a:gd name="connsiteX9" fmla="*/ 11854 w 263967"/>
                <a:gd name="connsiteY9" fmla="*/ 169795 h 22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967" h="222189">
                  <a:moveTo>
                    <a:pt x="52608" y="210555"/>
                  </a:moveTo>
                  <a:cubicBezTo>
                    <a:pt x="60071" y="218018"/>
                    <a:pt x="70902" y="222189"/>
                    <a:pt x="81694" y="222189"/>
                  </a:cubicBezTo>
                  <a:cubicBezTo>
                    <a:pt x="92487" y="222189"/>
                    <a:pt x="102475" y="218018"/>
                    <a:pt x="110780" y="210555"/>
                  </a:cubicBezTo>
                  <a:lnTo>
                    <a:pt x="252114" y="69221"/>
                  </a:lnTo>
                  <a:cubicBezTo>
                    <a:pt x="267919" y="53416"/>
                    <a:pt x="267919" y="27660"/>
                    <a:pt x="252114" y="11854"/>
                  </a:cubicBezTo>
                  <a:cubicBezTo>
                    <a:pt x="236308" y="-3951"/>
                    <a:pt x="210552" y="-3951"/>
                    <a:pt x="194747" y="11854"/>
                  </a:cubicBezTo>
                  <a:lnTo>
                    <a:pt x="81697" y="124903"/>
                  </a:lnTo>
                  <a:lnTo>
                    <a:pt x="69222" y="112428"/>
                  </a:lnTo>
                  <a:cubicBezTo>
                    <a:pt x="53416" y="96622"/>
                    <a:pt x="27660" y="96622"/>
                    <a:pt x="11854" y="112428"/>
                  </a:cubicBezTo>
                  <a:cubicBezTo>
                    <a:pt x="-3951" y="128234"/>
                    <a:pt x="-3951" y="153989"/>
                    <a:pt x="11854" y="169795"/>
                  </a:cubicBezTo>
                  <a:close/>
                </a:path>
              </a:pathLst>
            </a:custGeom>
            <a:grpFill/>
            <a:ln w="9797"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9A1811D-8E53-94AD-CB59-885E1D5894CD}"/>
                </a:ext>
              </a:extLst>
            </p:cNvPr>
            <p:cNvSpPr/>
            <p:nvPr/>
          </p:nvSpPr>
          <p:spPr>
            <a:xfrm>
              <a:off x="4834186" y="4104042"/>
              <a:ext cx="660014" cy="660013"/>
            </a:xfrm>
            <a:custGeom>
              <a:avLst/>
              <a:gdLst>
                <a:gd name="connsiteX0" fmla="*/ 330007 w 660014"/>
                <a:gd name="connsiteY0" fmla="*/ 660014 h 660013"/>
                <a:gd name="connsiteX1" fmla="*/ 660014 w 660014"/>
                <a:gd name="connsiteY1" fmla="*/ 330007 h 660013"/>
                <a:gd name="connsiteX2" fmla="*/ 330007 w 660014"/>
                <a:gd name="connsiteY2" fmla="*/ 0 h 660013"/>
                <a:gd name="connsiteX3" fmla="*/ 0 w 660014"/>
                <a:gd name="connsiteY3" fmla="*/ 330007 h 660013"/>
                <a:gd name="connsiteX4" fmla="*/ 330007 w 660014"/>
                <a:gd name="connsiteY4" fmla="*/ 660014 h 660013"/>
                <a:gd name="connsiteX5" fmla="*/ 330007 w 660014"/>
                <a:gd name="connsiteY5" fmla="*/ 81444 h 660013"/>
                <a:gd name="connsiteX6" fmla="*/ 578570 w 660014"/>
                <a:gd name="connsiteY6" fmla="*/ 330007 h 660013"/>
                <a:gd name="connsiteX7" fmla="*/ 330007 w 660014"/>
                <a:gd name="connsiteY7" fmla="*/ 578570 h 660013"/>
                <a:gd name="connsiteX8" fmla="*/ 81444 w 660014"/>
                <a:gd name="connsiteY8" fmla="*/ 330007 h 660013"/>
                <a:gd name="connsiteX9" fmla="*/ 330007 w 660014"/>
                <a:gd name="connsiteY9" fmla="*/ 81444 h 66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0014" h="660013">
                  <a:moveTo>
                    <a:pt x="330007" y="660014"/>
                  </a:moveTo>
                  <a:cubicBezTo>
                    <a:pt x="512057" y="660014"/>
                    <a:pt x="660014" y="512057"/>
                    <a:pt x="660014" y="330007"/>
                  </a:cubicBezTo>
                  <a:cubicBezTo>
                    <a:pt x="660014" y="147956"/>
                    <a:pt x="512057" y="0"/>
                    <a:pt x="330007" y="0"/>
                  </a:cubicBezTo>
                  <a:cubicBezTo>
                    <a:pt x="147957" y="0"/>
                    <a:pt x="0" y="147956"/>
                    <a:pt x="0" y="330007"/>
                  </a:cubicBezTo>
                  <a:cubicBezTo>
                    <a:pt x="-38" y="512057"/>
                    <a:pt x="148760" y="660014"/>
                    <a:pt x="330007" y="660014"/>
                  </a:cubicBezTo>
                  <a:close/>
                  <a:moveTo>
                    <a:pt x="330007" y="81444"/>
                  </a:moveTo>
                  <a:cubicBezTo>
                    <a:pt x="467167" y="81444"/>
                    <a:pt x="578570" y="192847"/>
                    <a:pt x="578570" y="330007"/>
                  </a:cubicBezTo>
                  <a:cubicBezTo>
                    <a:pt x="578570" y="467167"/>
                    <a:pt x="467167" y="578570"/>
                    <a:pt x="330007" y="578570"/>
                  </a:cubicBezTo>
                  <a:cubicBezTo>
                    <a:pt x="192847" y="578570"/>
                    <a:pt x="81444" y="467167"/>
                    <a:pt x="81444" y="330007"/>
                  </a:cubicBezTo>
                  <a:cubicBezTo>
                    <a:pt x="81444" y="192847"/>
                    <a:pt x="193650" y="81444"/>
                    <a:pt x="330007" y="81444"/>
                  </a:cubicBezTo>
                  <a:close/>
                </a:path>
              </a:pathLst>
            </a:custGeom>
            <a:grpFill/>
            <a:ln w="9797"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24EE6432-D2F8-846E-2EF3-1D982CE05F9B}"/>
                </a:ext>
              </a:extLst>
            </p:cNvPr>
            <p:cNvSpPr/>
            <p:nvPr/>
          </p:nvSpPr>
          <p:spPr>
            <a:xfrm>
              <a:off x="5678747" y="4282723"/>
              <a:ext cx="779709" cy="81437"/>
            </a:xfrm>
            <a:custGeom>
              <a:avLst/>
              <a:gdLst>
                <a:gd name="connsiteX0" fmla="*/ 738991 w 779709"/>
                <a:gd name="connsiteY0" fmla="*/ 0 h 81437"/>
                <a:gd name="connsiteX1" fmla="*/ 40719 w 779709"/>
                <a:gd name="connsiteY1" fmla="*/ 0 h 81437"/>
                <a:gd name="connsiteX2" fmla="*/ 0 w 779709"/>
                <a:gd name="connsiteY2" fmla="*/ 40719 h 81437"/>
                <a:gd name="connsiteX3" fmla="*/ 40719 w 779709"/>
                <a:gd name="connsiteY3" fmla="*/ 81438 h 81437"/>
                <a:gd name="connsiteX4" fmla="*/ 738991 w 779709"/>
                <a:gd name="connsiteY4" fmla="*/ 81438 h 81437"/>
                <a:gd name="connsiteX5" fmla="*/ 779709 w 779709"/>
                <a:gd name="connsiteY5" fmla="*/ 40719 h 81437"/>
                <a:gd name="connsiteX6" fmla="*/ 738991 w 779709"/>
                <a:gd name="connsiteY6" fmla="*/ 0 h 8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709" h="81437">
                  <a:moveTo>
                    <a:pt x="738991" y="0"/>
                  </a:moveTo>
                  <a:lnTo>
                    <a:pt x="40719" y="0"/>
                  </a:lnTo>
                  <a:cubicBezTo>
                    <a:pt x="18292" y="0"/>
                    <a:pt x="0" y="18293"/>
                    <a:pt x="0" y="40719"/>
                  </a:cubicBezTo>
                  <a:cubicBezTo>
                    <a:pt x="0" y="63144"/>
                    <a:pt x="18293" y="81438"/>
                    <a:pt x="40719" y="81438"/>
                  </a:cubicBezTo>
                  <a:lnTo>
                    <a:pt x="738991" y="81438"/>
                  </a:lnTo>
                  <a:cubicBezTo>
                    <a:pt x="761417" y="81438"/>
                    <a:pt x="779709" y="63144"/>
                    <a:pt x="779709" y="40719"/>
                  </a:cubicBezTo>
                  <a:cubicBezTo>
                    <a:pt x="779709" y="18293"/>
                    <a:pt x="761455" y="0"/>
                    <a:pt x="738991" y="0"/>
                  </a:cubicBezTo>
                  <a:close/>
                </a:path>
              </a:pathLst>
            </a:custGeom>
            <a:grpFill/>
            <a:ln w="9797"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E26D7E36-0E8F-BF4C-7586-2E9A6E98EE2F}"/>
                </a:ext>
              </a:extLst>
            </p:cNvPr>
            <p:cNvSpPr/>
            <p:nvPr/>
          </p:nvSpPr>
          <p:spPr>
            <a:xfrm>
              <a:off x="5679511" y="4503844"/>
              <a:ext cx="653346" cy="81437"/>
            </a:xfrm>
            <a:custGeom>
              <a:avLst/>
              <a:gdLst>
                <a:gd name="connsiteX0" fmla="*/ 612627 w 653346"/>
                <a:gd name="connsiteY0" fmla="*/ 0 h 81437"/>
                <a:gd name="connsiteX1" fmla="*/ 40719 w 653346"/>
                <a:gd name="connsiteY1" fmla="*/ 0 h 81437"/>
                <a:gd name="connsiteX2" fmla="*/ 0 w 653346"/>
                <a:gd name="connsiteY2" fmla="*/ 40719 h 81437"/>
                <a:gd name="connsiteX3" fmla="*/ 40719 w 653346"/>
                <a:gd name="connsiteY3" fmla="*/ 81438 h 81437"/>
                <a:gd name="connsiteX4" fmla="*/ 612627 w 653346"/>
                <a:gd name="connsiteY4" fmla="*/ 81438 h 81437"/>
                <a:gd name="connsiteX5" fmla="*/ 653346 w 653346"/>
                <a:gd name="connsiteY5" fmla="*/ 40719 h 81437"/>
                <a:gd name="connsiteX6" fmla="*/ 612627 w 653346"/>
                <a:gd name="connsiteY6" fmla="*/ 0 h 8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346" h="81437">
                  <a:moveTo>
                    <a:pt x="612627" y="0"/>
                  </a:moveTo>
                  <a:lnTo>
                    <a:pt x="40719" y="0"/>
                  </a:lnTo>
                  <a:cubicBezTo>
                    <a:pt x="18292" y="0"/>
                    <a:pt x="0" y="18293"/>
                    <a:pt x="0" y="40719"/>
                  </a:cubicBezTo>
                  <a:cubicBezTo>
                    <a:pt x="0" y="63146"/>
                    <a:pt x="18293" y="81438"/>
                    <a:pt x="40719" y="81438"/>
                  </a:cubicBezTo>
                  <a:lnTo>
                    <a:pt x="612627" y="81438"/>
                  </a:lnTo>
                  <a:cubicBezTo>
                    <a:pt x="635054" y="81438"/>
                    <a:pt x="653346" y="63145"/>
                    <a:pt x="653346" y="40719"/>
                  </a:cubicBezTo>
                  <a:cubicBezTo>
                    <a:pt x="653384" y="18254"/>
                    <a:pt x="635091" y="0"/>
                    <a:pt x="612627" y="0"/>
                  </a:cubicBezTo>
                  <a:close/>
                </a:path>
              </a:pathLst>
            </a:custGeom>
            <a:grpFill/>
            <a:ln w="9797"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76EF06F-3CAF-67DB-6207-EB201CDDD393}"/>
                </a:ext>
              </a:extLst>
            </p:cNvPr>
            <p:cNvSpPr/>
            <p:nvPr/>
          </p:nvSpPr>
          <p:spPr>
            <a:xfrm>
              <a:off x="5042515" y="4338160"/>
              <a:ext cx="263967" cy="222189"/>
            </a:xfrm>
            <a:custGeom>
              <a:avLst/>
              <a:gdLst>
                <a:gd name="connsiteX0" fmla="*/ 52608 w 263967"/>
                <a:gd name="connsiteY0" fmla="*/ 210555 h 222189"/>
                <a:gd name="connsiteX1" fmla="*/ 81694 w 263967"/>
                <a:gd name="connsiteY1" fmla="*/ 222189 h 222189"/>
                <a:gd name="connsiteX2" fmla="*/ 110780 w 263967"/>
                <a:gd name="connsiteY2" fmla="*/ 210555 h 222189"/>
                <a:gd name="connsiteX3" fmla="*/ 252114 w 263967"/>
                <a:gd name="connsiteY3" fmla="*/ 69222 h 222189"/>
                <a:gd name="connsiteX4" fmla="*/ 252114 w 263967"/>
                <a:gd name="connsiteY4" fmla="*/ 11854 h 222189"/>
                <a:gd name="connsiteX5" fmla="*/ 194747 w 263967"/>
                <a:gd name="connsiteY5" fmla="*/ 11854 h 222189"/>
                <a:gd name="connsiteX6" fmla="*/ 81697 w 263967"/>
                <a:gd name="connsiteY6" fmla="*/ 124903 h 222189"/>
                <a:gd name="connsiteX7" fmla="*/ 69222 w 263967"/>
                <a:gd name="connsiteY7" fmla="*/ 112428 h 222189"/>
                <a:gd name="connsiteX8" fmla="*/ 11854 w 263967"/>
                <a:gd name="connsiteY8" fmla="*/ 112428 h 222189"/>
                <a:gd name="connsiteX9" fmla="*/ 11854 w 263967"/>
                <a:gd name="connsiteY9" fmla="*/ 169795 h 22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967" h="222189">
                  <a:moveTo>
                    <a:pt x="52608" y="210555"/>
                  </a:moveTo>
                  <a:cubicBezTo>
                    <a:pt x="60071" y="218018"/>
                    <a:pt x="70902" y="222189"/>
                    <a:pt x="81694" y="222189"/>
                  </a:cubicBezTo>
                  <a:cubicBezTo>
                    <a:pt x="92487" y="222189"/>
                    <a:pt x="102475" y="218018"/>
                    <a:pt x="110780" y="210555"/>
                  </a:cubicBezTo>
                  <a:lnTo>
                    <a:pt x="252114" y="69222"/>
                  </a:lnTo>
                  <a:cubicBezTo>
                    <a:pt x="267919" y="53416"/>
                    <a:pt x="267919" y="27660"/>
                    <a:pt x="252114" y="11854"/>
                  </a:cubicBezTo>
                  <a:cubicBezTo>
                    <a:pt x="236308" y="-3951"/>
                    <a:pt x="210552" y="-3951"/>
                    <a:pt x="194747" y="11854"/>
                  </a:cubicBezTo>
                  <a:lnTo>
                    <a:pt x="81697" y="124903"/>
                  </a:lnTo>
                  <a:lnTo>
                    <a:pt x="69222" y="112428"/>
                  </a:lnTo>
                  <a:cubicBezTo>
                    <a:pt x="53416" y="96622"/>
                    <a:pt x="27660" y="96622"/>
                    <a:pt x="11854" y="112428"/>
                  </a:cubicBezTo>
                  <a:cubicBezTo>
                    <a:pt x="-3951" y="128233"/>
                    <a:pt x="-3951" y="153989"/>
                    <a:pt x="11854" y="169795"/>
                  </a:cubicBezTo>
                  <a:close/>
                </a:path>
              </a:pathLst>
            </a:custGeom>
            <a:grpFill/>
            <a:ln w="9797"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D661D9DA-F2CC-715F-5D6A-117E552088A3}"/>
                </a:ext>
              </a:extLst>
            </p:cNvPr>
            <p:cNvSpPr/>
            <p:nvPr/>
          </p:nvSpPr>
          <p:spPr>
            <a:xfrm>
              <a:off x="5232321" y="1777246"/>
              <a:ext cx="1820430" cy="508720"/>
            </a:xfrm>
            <a:custGeom>
              <a:avLst/>
              <a:gdLst>
                <a:gd name="connsiteX0" fmla="*/ 40719 w 1820430"/>
                <a:gd name="connsiteY0" fmla="*/ 508721 h 508720"/>
                <a:gd name="connsiteX1" fmla="*/ 1779712 w 1820430"/>
                <a:gd name="connsiteY1" fmla="*/ 508721 h 508720"/>
                <a:gd name="connsiteX2" fmla="*/ 1820430 w 1820430"/>
                <a:gd name="connsiteY2" fmla="*/ 468002 h 508720"/>
                <a:gd name="connsiteX3" fmla="*/ 1820430 w 1820430"/>
                <a:gd name="connsiteY3" fmla="*/ 40719 h 508720"/>
                <a:gd name="connsiteX4" fmla="*/ 1779712 w 1820430"/>
                <a:gd name="connsiteY4" fmla="*/ 0 h 508720"/>
                <a:gd name="connsiteX5" fmla="*/ 40719 w 1820430"/>
                <a:gd name="connsiteY5" fmla="*/ 0 h 508720"/>
                <a:gd name="connsiteX6" fmla="*/ 0 w 1820430"/>
                <a:gd name="connsiteY6" fmla="*/ 40719 h 508720"/>
                <a:gd name="connsiteX7" fmla="*/ 0 w 1820430"/>
                <a:gd name="connsiteY7" fmla="*/ 468002 h 508720"/>
                <a:gd name="connsiteX8" fmla="*/ 40719 w 1820430"/>
                <a:gd name="connsiteY8" fmla="*/ 508721 h 508720"/>
                <a:gd name="connsiteX9" fmla="*/ 81438 w 1820430"/>
                <a:gd name="connsiteY9" fmla="*/ 81477 h 508720"/>
                <a:gd name="connsiteX10" fmla="*/ 1739016 w 1820430"/>
                <a:gd name="connsiteY10" fmla="*/ 81477 h 508720"/>
                <a:gd name="connsiteX11" fmla="*/ 1739016 w 1820430"/>
                <a:gd name="connsiteY11" fmla="*/ 427287 h 508720"/>
                <a:gd name="connsiteX12" fmla="*/ 81438 w 1820430"/>
                <a:gd name="connsiteY12" fmla="*/ 427287 h 5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20430" h="508720">
                  <a:moveTo>
                    <a:pt x="40719" y="508721"/>
                  </a:moveTo>
                  <a:lnTo>
                    <a:pt x="1779712" y="508721"/>
                  </a:lnTo>
                  <a:cubicBezTo>
                    <a:pt x="1802138" y="508721"/>
                    <a:pt x="1820430" y="490427"/>
                    <a:pt x="1820430" y="468002"/>
                  </a:cubicBezTo>
                  <a:lnTo>
                    <a:pt x="1820430" y="40719"/>
                  </a:lnTo>
                  <a:cubicBezTo>
                    <a:pt x="1820430" y="18292"/>
                    <a:pt x="1802137" y="0"/>
                    <a:pt x="1779712" y="0"/>
                  </a:cubicBezTo>
                  <a:lnTo>
                    <a:pt x="40719" y="0"/>
                  </a:lnTo>
                  <a:cubicBezTo>
                    <a:pt x="18292" y="0"/>
                    <a:pt x="0" y="18293"/>
                    <a:pt x="0" y="40719"/>
                  </a:cubicBezTo>
                  <a:lnTo>
                    <a:pt x="0" y="468002"/>
                  </a:lnTo>
                  <a:cubicBezTo>
                    <a:pt x="0" y="490428"/>
                    <a:pt x="18293" y="508721"/>
                    <a:pt x="40719" y="508721"/>
                  </a:cubicBezTo>
                  <a:close/>
                  <a:moveTo>
                    <a:pt x="81438" y="81477"/>
                  </a:moveTo>
                  <a:lnTo>
                    <a:pt x="1739016" y="81477"/>
                  </a:lnTo>
                  <a:lnTo>
                    <a:pt x="1739016" y="427287"/>
                  </a:lnTo>
                  <a:lnTo>
                    <a:pt x="81438" y="427287"/>
                  </a:lnTo>
                  <a:close/>
                </a:path>
              </a:pathLst>
            </a:custGeom>
            <a:grpFill/>
            <a:ln w="9797"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DF60D092-5212-C7FB-E4BB-1107C0374528}"/>
                </a:ext>
              </a:extLst>
            </p:cNvPr>
            <p:cNvSpPr/>
            <p:nvPr/>
          </p:nvSpPr>
          <p:spPr>
            <a:xfrm>
              <a:off x="7664657" y="3438193"/>
              <a:ext cx="81437" cy="144621"/>
            </a:xfrm>
            <a:custGeom>
              <a:avLst/>
              <a:gdLst>
                <a:gd name="connsiteX0" fmla="*/ 40719 w 81437"/>
                <a:gd name="connsiteY0" fmla="*/ 144622 h 144621"/>
                <a:gd name="connsiteX1" fmla="*/ 81438 w 81437"/>
                <a:gd name="connsiteY1" fmla="*/ 103903 h 144621"/>
                <a:gd name="connsiteX2" fmla="*/ 81438 w 81437"/>
                <a:gd name="connsiteY2" fmla="*/ 40719 h 144621"/>
                <a:gd name="connsiteX3" fmla="*/ 40719 w 81437"/>
                <a:gd name="connsiteY3" fmla="*/ 0 h 144621"/>
                <a:gd name="connsiteX4" fmla="*/ 0 w 81437"/>
                <a:gd name="connsiteY4" fmla="*/ 40719 h 144621"/>
                <a:gd name="connsiteX5" fmla="*/ 0 w 81437"/>
                <a:gd name="connsiteY5" fmla="*/ 103903 h 144621"/>
                <a:gd name="connsiteX6" fmla="*/ 40719 w 81437"/>
                <a:gd name="connsiteY6" fmla="*/ 144622 h 14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437" h="144621">
                  <a:moveTo>
                    <a:pt x="40719" y="144622"/>
                  </a:moveTo>
                  <a:cubicBezTo>
                    <a:pt x="63145" y="144622"/>
                    <a:pt x="81438" y="126328"/>
                    <a:pt x="81438" y="103903"/>
                  </a:cubicBezTo>
                  <a:lnTo>
                    <a:pt x="81438" y="40719"/>
                  </a:lnTo>
                  <a:cubicBezTo>
                    <a:pt x="81438" y="18293"/>
                    <a:pt x="63145" y="0"/>
                    <a:pt x="40719" y="0"/>
                  </a:cubicBezTo>
                  <a:cubicBezTo>
                    <a:pt x="18293" y="0"/>
                    <a:pt x="0" y="18293"/>
                    <a:pt x="0" y="40719"/>
                  </a:cubicBezTo>
                  <a:lnTo>
                    <a:pt x="0" y="103903"/>
                  </a:lnTo>
                  <a:cubicBezTo>
                    <a:pt x="0" y="126368"/>
                    <a:pt x="18293" y="144622"/>
                    <a:pt x="40719" y="144622"/>
                  </a:cubicBezTo>
                  <a:close/>
                </a:path>
              </a:pathLst>
            </a:custGeom>
            <a:grpFill/>
            <a:ln w="9797"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EA87BA7E-BAFC-CB23-D699-DA1CD6408B2D}"/>
                </a:ext>
              </a:extLst>
            </p:cNvPr>
            <p:cNvSpPr/>
            <p:nvPr/>
          </p:nvSpPr>
          <p:spPr>
            <a:xfrm>
              <a:off x="7366943" y="3497929"/>
              <a:ext cx="93257" cy="110636"/>
            </a:xfrm>
            <a:custGeom>
              <a:avLst/>
              <a:gdLst>
                <a:gd name="connsiteX0" fmla="*/ 78221 w 93257"/>
                <a:gd name="connsiteY0" fmla="*/ 25025 h 110636"/>
                <a:gd name="connsiteX1" fmla="*/ 25025 w 93257"/>
                <a:gd name="connsiteY1" fmla="*/ 3403 h 110636"/>
                <a:gd name="connsiteX2" fmla="*/ 3403 w 93257"/>
                <a:gd name="connsiteY2" fmla="*/ 56599 h 110636"/>
                <a:gd name="connsiteX3" fmla="*/ 15037 w 93257"/>
                <a:gd name="connsiteY3" fmla="*/ 85684 h 110636"/>
                <a:gd name="connsiteX4" fmla="*/ 52427 w 93257"/>
                <a:gd name="connsiteY4" fmla="*/ 110637 h 110636"/>
                <a:gd name="connsiteX5" fmla="*/ 68232 w 93257"/>
                <a:gd name="connsiteY5" fmla="*/ 107307 h 110636"/>
                <a:gd name="connsiteX6" fmla="*/ 89855 w 93257"/>
                <a:gd name="connsiteY6" fmla="*/ 54112 h 11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57" h="110636">
                  <a:moveTo>
                    <a:pt x="78221" y="25025"/>
                  </a:moveTo>
                  <a:cubicBezTo>
                    <a:pt x="69916" y="4245"/>
                    <a:pt x="45806" y="-5744"/>
                    <a:pt x="25025" y="3403"/>
                  </a:cubicBezTo>
                  <a:cubicBezTo>
                    <a:pt x="4245" y="11708"/>
                    <a:pt x="-5744" y="35818"/>
                    <a:pt x="3403" y="56599"/>
                  </a:cubicBezTo>
                  <a:lnTo>
                    <a:pt x="15037" y="85684"/>
                  </a:lnTo>
                  <a:cubicBezTo>
                    <a:pt x="21696" y="101490"/>
                    <a:pt x="36659" y="110637"/>
                    <a:pt x="52427" y="110637"/>
                  </a:cubicBezTo>
                  <a:cubicBezTo>
                    <a:pt x="57402" y="110637"/>
                    <a:pt x="63219" y="109795"/>
                    <a:pt x="68232" y="107307"/>
                  </a:cubicBezTo>
                  <a:cubicBezTo>
                    <a:pt x="89013" y="99003"/>
                    <a:pt x="99001" y="74892"/>
                    <a:pt x="89855" y="54112"/>
                  </a:cubicBezTo>
                  <a:close/>
                </a:path>
              </a:pathLst>
            </a:custGeom>
            <a:grpFill/>
            <a:ln w="9797"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A08B5E59-C785-BBFF-C226-A51DC8BBC45F}"/>
                </a:ext>
              </a:extLst>
            </p:cNvPr>
            <p:cNvSpPr/>
            <p:nvPr/>
          </p:nvSpPr>
          <p:spPr>
            <a:xfrm>
              <a:off x="6945024" y="3919861"/>
              <a:ext cx="110337" cy="92719"/>
            </a:xfrm>
            <a:custGeom>
              <a:avLst/>
              <a:gdLst>
                <a:gd name="connsiteX0" fmla="*/ 85329 w 110337"/>
                <a:gd name="connsiteY0" fmla="*/ 14573 h 92719"/>
                <a:gd name="connsiteX1" fmla="*/ 56243 w 110337"/>
                <a:gd name="connsiteY1" fmla="*/ 2939 h 92719"/>
                <a:gd name="connsiteX2" fmla="*/ 3047 w 110337"/>
                <a:gd name="connsiteY2" fmla="*/ 24561 h 92719"/>
                <a:gd name="connsiteX3" fmla="*/ 24670 w 110337"/>
                <a:gd name="connsiteY3" fmla="*/ 77757 h 92719"/>
                <a:gd name="connsiteX4" fmla="*/ 53756 w 110337"/>
                <a:gd name="connsiteY4" fmla="*/ 89391 h 92719"/>
                <a:gd name="connsiteX5" fmla="*/ 69561 w 110337"/>
                <a:gd name="connsiteY5" fmla="*/ 92720 h 92719"/>
                <a:gd name="connsiteX6" fmla="*/ 106951 w 110337"/>
                <a:gd name="connsiteY6" fmla="*/ 67768 h 92719"/>
                <a:gd name="connsiteX7" fmla="*/ 85329 w 110337"/>
                <a:gd name="connsiteY7" fmla="*/ 14572 h 9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37" h="92719">
                  <a:moveTo>
                    <a:pt x="85329" y="14573"/>
                  </a:moveTo>
                  <a:lnTo>
                    <a:pt x="56243" y="2939"/>
                  </a:lnTo>
                  <a:cubicBezTo>
                    <a:pt x="35462" y="-5366"/>
                    <a:pt x="11353" y="4584"/>
                    <a:pt x="3047" y="24561"/>
                  </a:cubicBezTo>
                  <a:cubicBezTo>
                    <a:pt x="-5257" y="45342"/>
                    <a:pt x="3889" y="69451"/>
                    <a:pt x="24670" y="77757"/>
                  </a:cubicBezTo>
                  <a:lnTo>
                    <a:pt x="53756" y="89391"/>
                  </a:lnTo>
                  <a:cubicBezTo>
                    <a:pt x="58731" y="91878"/>
                    <a:pt x="63744" y="92720"/>
                    <a:pt x="69561" y="92720"/>
                  </a:cubicBezTo>
                  <a:cubicBezTo>
                    <a:pt x="85367" y="92720"/>
                    <a:pt x="100330" y="83574"/>
                    <a:pt x="106951" y="67768"/>
                  </a:cubicBezTo>
                  <a:cubicBezTo>
                    <a:pt x="116059" y="47025"/>
                    <a:pt x="106109" y="23719"/>
                    <a:pt x="85329" y="14572"/>
                  </a:cubicBezTo>
                  <a:close/>
                </a:path>
              </a:pathLst>
            </a:custGeom>
            <a:grpFill/>
            <a:ln w="9797"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BC7D618D-5C59-E845-323B-DEC1EC44B6D4}"/>
                </a:ext>
              </a:extLst>
            </p:cNvPr>
            <p:cNvSpPr/>
            <p:nvPr/>
          </p:nvSpPr>
          <p:spPr>
            <a:xfrm>
              <a:off x="6885697" y="4217021"/>
              <a:ext cx="113011" cy="81437"/>
            </a:xfrm>
            <a:custGeom>
              <a:avLst/>
              <a:gdLst>
                <a:gd name="connsiteX0" fmla="*/ 113011 w 113011"/>
                <a:gd name="connsiteY0" fmla="*/ 40719 h 81437"/>
                <a:gd name="connsiteX1" fmla="*/ 72292 w 113011"/>
                <a:gd name="connsiteY1" fmla="*/ 0 h 81437"/>
                <a:gd name="connsiteX2" fmla="*/ 40719 w 113011"/>
                <a:gd name="connsiteY2" fmla="*/ 0 h 81437"/>
                <a:gd name="connsiteX3" fmla="*/ 0 w 113011"/>
                <a:gd name="connsiteY3" fmla="*/ 40719 h 81437"/>
                <a:gd name="connsiteX4" fmla="*/ 40719 w 113011"/>
                <a:gd name="connsiteY4" fmla="*/ 81438 h 81437"/>
                <a:gd name="connsiteX5" fmla="*/ 72292 w 113011"/>
                <a:gd name="connsiteY5" fmla="*/ 81438 h 81437"/>
                <a:gd name="connsiteX6" fmla="*/ 113011 w 113011"/>
                <a:gd name="connsiteY6" fmla="*/ 40719 h 8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11" h="81437">
                  <a:moveTo>
                    <a:pt x="113011" y="40719"/>
                  </a:moveTo>
                  <a:cubicBezTo>
                    <a:pt x="113011" y="18292"/>
                    <a:pt x="94718" y="0"/>
                    <a:pt x="72292" y="0"/>
                  </a:cubicBezTo>
                  <a:lnTo>
                    <a:pt x="40719" y="0"/>
                  </a:lnTo>
                  <a:cubicBezTo>
                    <a:pt x="18292" y="0"/>
                    <a:pt x="0" y="18293"/>
                    <a:pt x="0" y="40719"/>
                  </a:cubicBezTo>
                  <a:cubicBezTo>
                    <a:pt x="0" y="63144"/>
                    <a:pt x="18293" y="81438"/>
                    <a:pt x="40719" y="81438"/>
                  </a:cubicBezTo>
                  <a:lnTo>
                    <a:pt x="72292" y="81438"/>
                  </a:lnTo>
                  <a:cubicBezTo>
                    <a:pt x="94719" y="81438"/>
                    <a:pt x="113011" y="63183"/>
                    <a:pt x="113011" y="40719"/>
                  </a:cubicBezTo>
                  <a:close/>
                </a:path>
              </a:pathLst>
            </a:custGeom>
            <a:grpFill/>
            <a:ln w="9797"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FC2A31B1-82CA-4440-77A8-C3ADB6EEF2B7}"/>
                </a:ext>
              </a:extLst>
            </p:cNvPr>
            <p:cNvSpPr/>
            <p:nvPr/>
          </p:nvSpPr>
          <p:spPr>
            <a:xfrm>
              <a:off x="6945479" y="4503339"/>
              <a:ext cx="110709" cy="92736"/>
            </a:xfrm>
            <a:custGeom>
              <a:avLst/>
              <a:gdLst>
                <a:gd name="connsiteX0" fmla="*/ 54111 w 110709"/>
                <a:gd name="connsiteY0" fmla="*/ 2954 h 92736"/>
                <a:gd name="connsiteX1" fmla="*/ 25025 w 110709"/>
                <a:gd name="connsiteY1" fmla="*/ 14588 h 92736"/>
                <a:gd name="connsiteX2" fmla="*/ 3403 w 110709"/>
                <a:gd name="connsiteY2" fmla="*/ 67784 h 92736"/>
                <a:gd name="connsiteX3" fmla="*/ 40793 w 110709"/>
                <a:gd name="connsiteY3" fmla="*/ 92736 h 92736"/>
                <a:gd name="connsiteX4" fmla="*/ 56598 w 110709"/>
                <a:gd name="connsiteY4" fmla="*/ 89407 h 92736"/>
                <a:gd name="connsiteX5" fmla="*/ 85684 w 110709"/>
                <a:gd name="connsiteY5" fmla="*/ 77773 h 92736"/>
                <a:gd name="connsiteX6" fmla="*/ 107307 w 110709"/>
                <a:gd name="connsiteY6" fmla="*/ 24577 h 92736"/>
                <a:gd name="connsiteX7" fmla="*/ 54111 w 110709"/>
                <a:gd name="connsiteY7" fmla="*/ 2955 h 92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709" h="92736">
                  <a:moveTo>
                    <a:pt x="54111" y="2954"/>
                  </a:moveTo>
                  <a:lnTo>
                    <a:pt x="25025" y="14588"/>
                  </a:lnTo>
                  <a:cubicBezTo>
                    <a:pt x="4245" y="22893"/>
                    <a:pt x="-5744" y="47003"/>
                    <a:pt x="3403" y="67784"/>
                  </a:cubicBezTo>
                  <a:cubicBezTo>
                    <a:pt x="10062" y="83590"/>
                    <a:pt x="25025" y="92736"/>
                    <a:pt x="40793" y="92736"/>
                  </a:cubicBezTo>
                  <a:cubicBezTo>
                    <a:pt x="45768" y="92736"/>
                    <a:pt x="51585" y="91894"/>
                    <a:pt x="56598" y="89407"/>
                  </a:cubicBezTo>
                  <a:lnTo>
                    <a:pt x="85684" y="77773"/>
                  </a:lnTo>
                  <a:cubicBezTo>
                    <a:pt x="106465" y="69468"/>
                    <a:pt x="116453" y="45358"/>
                    <a:pt x="107307" y="24577"/>
                  </a:cubicBezTo>
                  <a:cubicBezTo>
                    <a:pt x="98160" y="4600"/>
                    <a:pt x="74892" y="-5388"/>
                    <a:pt x="54111" y="2955"/>
                  </a:cubicBezTo>
                  <a:close/>
                </a:path>
              </a:pathLst>
            </a:custGeom>
            <a:grpFill/>
            <a:ln w="9797"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D2868DE2-3897-544C-B119-10CDB84DCFBF}"/>
                </a:ext>
              </a:extLst>
            </p:cNvPr>
            <p:cNvSpPr/>
            <p:nvPr/>
          </p:nvSpPr>
          <p:spPr>
            <a:xfrm>
              <a:off x="7114128" y="4745568"/>
              <a:ext cx="104306" cy="103253"/>
            </a:xfrm>
            <a:custGeom>
              <a:avLst/>
              <a:gdLst>
                <a:gd name="connsiteX0" fmla="*/ 34281 w 104306"/>
                <a:gd name="connsiteY0" fmla="*/ 11826 h 103253"/>
                <a:gd name="connsiteX1" fmla="*/ 11854 w 104306"/>
                <a:gd name="connsiteY1" fmla="*/ 34252 h 103253"/>
                <a:gd name="connsiteX2" fmla="*/ 11854 w 104306"/>
                <a:gd name="connsiteY2" fmla="*/ 91619 h 103253"/>
                <a:gd name="connsiteX3" fmla="*/ 40940 w 104306"/>
                <a:gd name="connsiteY3" fmla="*/ 103254 h 103253"/>
                <a:gd name="connsiteX4" fmla="*/ 70026 w 104306"/>
                <a:gd name="connsiteY4" fmla="*/ 91619 h 103253"/>
                <a:gd name="connsiteX5" fmla="*/ 92452 w 104306"/>
                <a:gd name="connsiteY5" fmla="*/ 69193 h 103253"/>
                <a:gd name="connsiteX6" fmla="*/ 92452 w 104306"/>
                <a:gd name="connsiteY6" fmla="*/ 11826 h 103253"/>
                <a:gd name="connsiteX7" fmla="*/ 34282 w 104306"/>
                <a:gd name="connsiteY7" fmla="*/ 11826 h 103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306" h="103253">
                  <a:moveTo>
                    <a:pt x="34281" y="11826"/>
                  </a:moveTo>
                  <a:lnTo>
                    <a:pt x="11854" y="34252"/>
                  </a:lnTo>
                  <a:cubicBezTo>
                    <a:pt x="-3951" y="50058"/>
                    <a:pt x="-3951" y="75814"/>
                    <a:pt x="11854" y="91619"/>
                  </a:cubicBezTo>
                  <a:cubicBezTo>
                    <a:pt x="20159" y="99924"/>
                    <a:pt x="30148" y="103254"/>
                    <a:pt x="40940" y="103254"/>
                  </a:cubicBezTo>
                  <a:cubicBezTo>
                    <a:pt x="51732" y="103254"/>
                    <a:pt x="61721" y="99082"/>
                    <a:pt x="70026" y="91619"/>
                  </a:cubicBezTo>
                  <a:lnTo>
                    <a:pt x="92452" y="69193"/>
                  </a:lnTo>
                  <a:cubicBezTo>
                    <a:pt x="108258" y="53387"/>
                    <a:pt x="108258" y="27632"/>
                    <a:pt x="92452" y="11826"/>
                  </a:cubicBezTo>
                  <a:cubicBezTo>
                    <a:pt x="75843" y="-3942"/>
                    <a:pt x="50087" y="-3942"/>
                    <a:pt x="34282" y="11826"/>
                  </a:cubicBezTo>
                  <a:close/>
                </a:path>
              </a:pathLst>
            </a:custGeom>
            <a:grpFill/>
            <a:ln w="9797"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8418EFF1-0B8B-A3F0-FCB2-0542355C4D2F}"/>
                </a:ext>
              </a:extLst>
            </p:cNvPr>
            <p:cNvSpPr/>
            <p:nvPr/>
          </p:nvSpPr>
          <p:spPr>
            <a:xfrm>
              <a:off x="7367403" y="4908271"/>
              <a:ext cx="92438" cy="110171"/>
            </a:xfrm>
            <a:custGeom>
              <a:avLst/>
              <a:gdLst>
                <a:gd name="connsiteX0" fmla="*/ 67768 w 92438"/>
                <a:gd name="connsiteY0" fmla="*/ 2939 h 110171"/>
                <a:gd name="connsiteX1" fmla="*/ 14573 w 92438"/>
                <a:gd name="connsiteY1" fmla="*/ 24561 h 110171"/>
                <a:gd name="connsiteX2" fmla="*/ 2939 w 92438"/>
                <a:gd name="connsiteY2" fmla="*/ 53647 h 110171"/>
                <a:gd name="connsiteX3" fmla="*/ 24561 w 92438"/>
                <a:gd name="connsiteY3" fmla="*/ 106842 h 110171"/>
                <a:gd name="connsiteX4" fmla="*/ 40367 w 92438"/>
                <a:gd name="connsiteY4" fmla="*/ 110172 h 110171"/>
                <a:gd name="connsiteX5" fmla="*/ 77757 w 92438"/>
                <a:gd name="connsiteY5" fmla="*/ 85219 h 110171"/>
                <a:gd name="connsiteX6" fmla="*/ 89391 w 92438"/>
                <a:gd name="connsiteY6" fmla="*/ 56133 h 110171"/>
                <a:gd name="connsiteX7" fmla="*/ 67768 w 92438"/>
                <a:gd name="connsiteY7" fmla="*/ 2938 h 11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438" h="110171">
                  <a:moveTo>
                    <a:pt x="67768" y="2939"/>
                  </a:moveTo>
                  <a:cubicBezTo>
                    <a:pt x="46988" y="-5366"/>
                    <a:pt x="22878" y="4584"/>
                    <a:pt x="14573" y="24561"/>
                  </a:cubicBezTo>
                  <a:lnTo>
                    <a:pt x="2939" y="53647"/>
                  </a:lnTo>
                  <a:cubicBezTo>
                    <a:pt x="-5366" y="74427"/>
                    <a:pt x="4584" y="98537"/>
                    <a:pt x="24561" y="106842"/>
                  </a:cubicBezTo>
                  <a:cubicBezTo>
                    <a:pt x="29536" y="109330"/>
                    <a:pt x="34549" y="110172"/>
                    <a:pt x="40367" y="110172"/>
                  </a:cubicBezTo>
                  <a:cubicBezTo>
                    <a:pt x="56172" y="110172"/>
                    <a:pt x="71135" y="101025"/>
                    <a:pt x="77757" y="85219"/>
                  </a:cubicBezTo>
                  <a:lnTo>
                    <a:pt x="89391" y="56133"/>
                  </a:lnTo>
                  <a:cubicBezTo>
                    <a:pt x="97695" y="35353"/>
                    <a:pt x="88549" y="11243"/>
                    <a:pt x="67768" y="2938"/>
                  </a:cubicBezTo>
                  <a:close/>
                </a:path>
              </a:pathLst>
            </a:custGeom>
            <a:grpFill/>
            <a:ln w="9797"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BD54984E-891C-D5F3-BF0A-F51C90DD6A10}"/>
                </a:ext>
              </a:extLst>
            </p:cNvPr>
            <p:cNvSpPr/>
            <p:nvPr/>
          </p:nvSpPr>
          <p:spPr>
            <a:xfrm>
              <a:off x="7664657" y="4964310"/>
              <a:ext cx="81437" cy="113011"/>
            </a:xfrm>
            <a:custGeom>
              <a:avLst/>
              <a:gdLst>
                <a:gd name="connsiteX0" fmla="*/ 40719 w 81437"/>
                <a:gd name="connsiteY0" fmla="*/ 0 h 113011"/>
                <a:gd name="connsiteX1" fmla="*/ 0 w 81437"/>
                <a:gd name="connsiteY1" fmla="*/ 40719 h 113011"/>
                <a:gd name="connsiteX2" fmla="*/ 0 w 81437"/>
                <a:gd name="connsiteY2" fmla="*/ 72293 h 113011"/>
                <a:gd name="connsiteX3" fmla="*/ 40719 w 81437"/>
                <a:gd name="connsiteY3" fmla="*/ 113011 h 113011"/>
                <a:gd name="connsiteX4" fmla="*/ 81438 w 81437"/>
                <a:gd name="connsiteY4" fmla="*/ 72293 h 113011"/>
                <a:gd name="connsiteX5" fmla="*/ 81438 w 81437"/>
                <a:gd name="connsiteY5" fmla="*/ 40719 h 113011"/>
                <a:gd name="connsiteX6" fmla="*/ 40719 w 81437"/>
                <a:gd name="connsiteY6" fmla="*/ 0 h 11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437" h="113011">
                  <a:moveTo>
                    <a:pt x="40719" y="0"/>
                  </a:moveTo>
                  <a:cubicBezTo>
                    <a:pt x="18292" y="0"/>
                    <a:pt x="0" y="18293"/>
                    <a:pt x="0" y="40719"/>
                  </a:cubicBezTo>
                  <a:lnTo>
                    <a:pt x="0" y="72293"/>
                  </a:lnTo>
                  <a:cubicBezTo>
                    <a:pt x="0" y="94719"/>
                    <a:pt x="18293" y="113011"/>
                    <a:pt x="40719" y="113011"/>
                  </a:cubicBezTo>
                  <a:cubicBezTo>
                    <a:pt x="63145" y="113011"/>
                    <a:pt x="81438" y="94718"/>
                    <a:pt x="81438" y="72293"/>
                  </a:cubicBezTo>
                  <a:lnTo>
                    <a:pt x="81438" y="40719"/>
                  </a:lnTo>
                  <a:cubicBezTo>
                    <a:pt x="81476" y="18292"/>
                    <a:pt x="63183" y="0"/>
                    <a:pt x="40719" y="0"/>
                  </a:cubicBezTo>
                  <a:close/>
                </a:path>
              </a:pathLst>
            </a:custGeom>
            <a:grpFill/>
            <a:ln w="9797"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901A0374-79E1-9C23-3695-E66C0B0D0FB1}"/>
                </a:ext>
              </a:extLst>
            </p:cNvPr>
            <p:cNvSpPr/>
            <p:nvPr/>
          </p:nvSpPr>
          <p:spPr>
            <a:xfrm>
              <a:off x="7950461" y="4907738"/>
              <a:ext cx="93258" cy="110636"/>
            </a:xfrm>
            <a:custGeom>
              <a:avLst/>
              <a:gdLst>
                <a:gd name="connsiteX0" fmla="*/ 78221 w 93258"/>
                <a:gd name="connsiteY0" fmla="*/ 25025 h 110636"/>
                <a:gd name="connsiteX1" fmla="*/ 25025 w 93258"/>
                <a:gd name="connsiteY1" fmla="*/ 3403 h 110636"/>
                <a:gd name="connsiteX2" fmla="*/ 3403 w 93258"/>
                <a:gd name="connsiteY2" fmla="*/ 56599 h 110636"/>
                <a:gd name="connsiteX3" fmla="*/ 15037 w 93258"/>
                <a:gd name="connsiteY3" fmla="*/ 85684 h 110636"/>
                <a:gd name="connsiteX4" fmla="*/ 52427 w 93258"/>
                <a:gd name="connsiteY4" fmla="*/ 110637 h 110636"/>
                <a:gd name="connsiteX5" fmla="*/ 68233 w 93258"/>
                <a:gd name="connsiteY5" fmla="*/ 107307 h 110636"/>
                <a:gd name="connsiteX6" fmla="*/ 89855 w 93258"/>
                <a:gd name="connsiteY6" fmla="*/ 54112 h 11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58" h="110636">
                  <a:moveTo>
                    <a:pt x="78221" y="25025"/>
                  </a:moveTo>
                  <a:cubicBezTo>
                    <a:pt x="69916" y="4245"/>
                    <a:pt x="45806" y="-5744"/>
                    <a:pt x="25025" y="3403"/>
                  </a:cubicBezTo>
                  <a:cubicBezTo>
                    <a:pt x="4244" y="11708"/>
                    <a:pt x="-5744" y="35818"/>
                    <a:pt x="3403" y="56599"/>
                  </a:cubicBezTo>
                  <a:lnTo>
                    <a:pt x="15037" y="85684"/>
                  </a:lnTo>
                  <a:cubicBezTo>
                    <a:pt x="21696" y="101490"/>
                    <a:pt x="36659" y="110637"/>
                    <a:pt x="52427" y="110637"/>
                  </a:cubicBezTo>
                  <a:cubicBezTo>
                    <a:pt x="57402" y="110637"/>
                    <a:pt x="63219" y="109795"/>
                    <a:pt x="68233" y="107307"/>
                  </a:cubicBezTo>
                  <a:cubicBezTo>
                    <a:pt x="89013" y="99003"/>
                    <a:pt x="99002" y="74892"/>
                    <a:pt x="89855" y="54112"/>
                  </a:cubicBezTo>
                  <a:close/>
                </a:path>
              </a:pathLst>
            </a:custGeom>
            <a:grpFill/>
            <a:ln w="9797"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AB83A9B4-6D94-A305-ECD8-633A3E4FF58D}"/>
                </a:ext>
              </a:extLst>
            </p:cNvPr>
            <p:cNvSpPr/>
            <p:nvPr/>
          </p:nvSpPr>
          <p:spPr>
            <a:xfrm>
              <a:off x="8170705" y="4723123"/>
              <a:ext cx="125707" cy="126549"/>
            </a:xfrm>
            <a:custGeom>
              <a:avLst/>
              <a:gdLst>
                <a:gd name="connsiteX0" fmla="*/ 114074 w 125707"/>
                <a:gd name="connsiteY0" fmla="*/ 56707 h 126549"/>
                <a:gd name="connsiteX1" fmla="*/ 69222 w 125707"/>
                <a:gd name="connsiteY1" fmla="*/ 11854 h 126549"/>
                <a:gd name="connsiteX2" fmla="*/ 11854 w 125707"/>
                <a:gd name="connsiteY2" fmla="*/ 11854 h 126549"/>
                <a:gd name="connsiteX3" fmla="*/ 11854 w 125707"/>
                <a:gd name="connsiteY3" fmla="*/ 69222 h 126549"/>
                <a:gd name="connsiteX4" fmla="*/ 56707 w 125707"/>
                <a:gd name="connsiteY4" fmla="*/ 114074 h 126549"/>
                <a:gd name="connsiteX5" fmla="*/ 70025 w 125707"/>
                <a:gd name="connsiteY5" fmla="*/ 123220 h 126549"/>
                <a:gd name="connsiteX6" fmla="*/ 84988 w 125707"/>
                <a:gd name="connsiteY6" fmla="*/ 126550 h 126549"/>
                <a:gd name="connsiteX7" fmla="*/ 114074 w 125707"/>
                <a:gd name="connsiteY7" fmla="*/ 114916 h 126549"/>
                <a:gd name="connsiteX8" fmla="*/ 125708 w 125707"/>
                <a:gd name="connsiteY8" fmla="*/ 85830 h 126549"/>
                <a:gd name="connsiteX9" fmla="*/ 114074 w 125707"/>
                <a:gd name="connsiteY9" fmla="*/ 56706 h 12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707" h="126549">
                  <a:moveTo>
                    <a:pt x="114074" y="56707"/>
                  </a:moveTo>
                  <a:lnTo>
                    <a:pt x="69222" y="11854"/>
                  </a:lnTo>
                  <a:cubicBezTo>
                    <a:pt x="53416" y="-3951"/>
                    <a:pt x="27660" y="-3951"/>
                    <a:pt x="11854" y="11854"/>
                  </a:cubicBezTo>
                  <a:cubicBezTo>
                    <a:pt x="-3951" y="27660"/>
                    <a:pt x="-3951" y="53416"/>
                    <a:pt x="11854" y="69222"/>
                  </a:cubicBezTo>
                  <a:lnTo>
                    <a:pt x="56707" y="114074"/>
                  </a:lnTo>
                  <a:cubicBezTo>
                    <a:pt x="60878" y="118245"/>
                    <a:pt x="65011" y="120733"/>
                    <a:pt x="70025" y="123220"/>
                  </a:cubicBezTo>
                  <a:cubicBezTo>
                    <a:pt x="75000" y="124866"/>
                    <a:pt x="80013" y="126550"/>
                    <a:pt x="84988" y="126550"/>
                  </a:cubicBezTo>
                  <a:cubicBezTo>
                    <a:pt x="95780" y="126550"/>
                    <a:pt x="105769" y="122378"/>
                    <a:pt x="114074" y="114916"/>
                  </a:cubicBezTo>
                  <a:cubicBezTo>
                    <a:pt x="122379" y="106611"/>
                    <a:pt x="125708" y="96622"/>
                    <a:pt x="125708" y="85830"/>
                  </a:cubicBezTo>
                  <a:cubicBezTo>
                    <a:pt x="125708" y="74999"/>
                    <a:pt x="121536" y="65011"/>
                    <a:pt x="114074" y="56706"/>
                  </a:cubicBezTo>
                  <a:close/>
                </a:path>
              </a:pathLst>
            </a:custGeom>
            <a:grpFill/>
            <a:ln w="9797"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24F92836-FC11-B8C0-0147-426F02911249}"/>
                </a:ext>
              </a:extLst>
            </p:cNvPr>
            <p:cNvSpPr/>
            <p:nvPr/>
          </p:nvSpPr>
          <p:spPr>
            <a:xfrm>
              <a:off x="8355276" y="4504061"/>
              <a:ext cx="110353" cy="92829"/>
            </a:xfrm>
            <a:custGeom>
              <a:avLst/>
              <a:gdLst>
                <a:gd name="connsiteX0" fmla="*/ 25025 w 110353"/>
                <a:gd name="connsiteY0" fmla="*/ 77866 h 92829"/>
                <a:gd name="connsiteX1" fmla="*/ 54111 w 110353"/>
                <a:gd name="connsiteY1" fmla="*/ 89500 h 92829"/>
                <a:gd name="connsiteX2" fmla="*/ 69917 w 110353"/>
                <a:gd name="connsiteY2" fmla="*/ 92829 h 92829"/>
                <a:gd name="connsiteX3" fmla="*/ 107306 w 110353"/>
                <a:gd name="connsiteY3" fmla="*/ 67877 h 92829"/>
                <a:gd name="connsiteX4" fmla="*/ 85684 w 110353"/>
                <a:gd name="connsiteY4" fmla="*/ 14682 h 92829"/>
                <a:gd name="connsiteX5" fmla="*/ 56598 w 110353"/>
                <a:gd name="connsiteY5" fmla="*/ 3047 h 92829"/>
                <a:gd name="connsiteX6" fmla="*/ 3403 w 110353"/>
                <a:gd name="connsiteY6" fmla="*/ 24670 h 92829"/>
                <a:gd name="connsiteX7" fmla="*/ 25025 w 110353"/>
                <a:gd name="connsiteY7" fmla="*/ 77865 h 92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53" h="92829">
                  <a:moveTo>
                    <a:pt x="25025" y="77866"/>
                  </a:moveTo>
                  <a:lnTo>
                    <a:pt x="54111" y="89500"/>
                  </a:lnTo>
                  <a:cubicBezTo>
                    <a:pt x="59086" y="91987"/>
                    <a:pt x="64099" y="92829"/>
                    <a:pt x="69917" y="92829"/>
                  </a:cubicBezTo>
                  <a:cubicBezTo>
                    <a:pt x="85722" y="92829"/>
                    <a:pt x="100685" y="83683"/>
                    <a:pt x="107306" y="67877"/>
                  </a:cubicBezTo>
                  <a:cubicBezTo>
                    <a:pt x="115611" y="47096"/>
                    <a:pt x="106464" y="22986"/>
                    <a:pt x="85684" y="14682"/>
                  </a:cubicBezTo>
                  <a:lnTo>
                    <a:pt x="56598" y="3047"/>
                  </a:lnTo>
                  <a:cubicBezTo>
                    <a:pt x="35818" y="-5257"/>
                    <a:pt x="11708" y="3889"/>
                    <a:pt x="3403" y="24670"/>
                  </a:cubicBezTo>
                  <a:cubicBezTo>
                    <a:pt x="-5744" y="45450"/>
                    <a:pt x="4245" y="68719"/>
                    <a:pt x="25025" y="77865"/>
                  </a:cubicBezTo>
                  <a:close/>
                </a:path>
              </a:pathLst>
            </a:custGeom>
            <a:grpFill/>
            <a:ln w="9797"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A747DB71-D182-50F4-8E9F-BD329B6A893E}"/>
                </a:ext>
              </a:extLst>
            </p:cNvPr>
            <p:cNvSpPr/>
            <p:nvPr/>
          </p:nvSpPr>
          <p:spPr>
            <a:xfrm>
              <a:off x="8411946" y="4217021"/>
              <a:ext cx="113010" cy="81437"/>
            </a:xfrm>
            <a:custGeom>
              <a:avLst/>
              <a:gdLst>
                <a:gd name="connsiteX0" fmla="*/ 0 w 113010"/>
                <a:gd name="connsiteY0" fmla="*/ 40719 h 81437"/>
                <a:gd name="connsiteX1" fmla="*/ 40719 w 113010"/>
                <a:gd name="connsiteY1" fmla="*/ 81438 h 81437"/>
                <a:gd name="connsiteX2" fmla="*/ 72292 w 113010"/>
                <a:gd name="connsiteY2" fmla="*/ 81438 h 81437"/>
                <a:gd name="connsiteX3" fmla="*/ 113011 w 113010"/>
                <a:gd name="connsiteY3" fmla="*/ 40719 h 81437"/>
                <a:gd name="connsiteX4" fmla="*/ 72292 w 113010"/>
                <a:gd name="connsiteY4" fmla="*/ 0 h 81437"/>
                <a:gd name="connsiteX5" fmla="*/ 40719 w 113010"/>
                <a:gd name="connsiteY5" fmla="*/ 0 h 81437"/>
                <a:gd name="connsiteX6" fmla="*/ 0 w 113010"/>
                <a:gd name="connsiteY6" fmla="*/ 40719 h 8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10" h="81437">
                  <a:moveTo>
                    <a:pt x="0" y="40719"/>
                  </a:moveTo>
                  <a:cubicBezTo>
                    <a:pt x="0" y="63145"/>
                    <a:pt x="18293" y="81438"/>
                    <a:pt x="40719" y="81438"/>
                  </a:cubicBezTo>
                  <a:lnTo>
                    <a:pt x="72292" y="81438"/>
                  </a:lnTo>
                  <a:cubicBezTo>
                    <a:pt x="94718" y="81438"/>
                    <a:pt x="113011" y="63144"/>
                    <a:pt x="113011" y="40719"/>
                  </a:cubicBezTo>
                  <a:cubicBezTo>
                    <a:pt x="113011" y="18293"/>
                    <a:pt x="94718" y="0"/>
                    <a:pt x="72292" y="0"/>
                  </a:cubicBezTo>
                  <a:lnTo>
                    <a:pt x="40719" y="0"/>
                  </a:lnTo>
                  <a:cubicBezTo>
                    <a:pt x="18292" y="0"/>
                    <a:pt x="0" y="18293"/>
                    <a:pt x="0" y="40719"/>
                  </a:cubicBezTo>
                  <a:close/>
                </a:path>
              </a:pathLst>
            </a:custGeom>
            <a:grpFill/>
            <a:ln w="9797"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9AE555E6-86E3-C9E0-7C41-F869DDCAF7E7}"/>
                </a:ext>
              </a:extLst>
            </p:cNvPr>
            <p:cNvSpPr/>
            <p:nvPr/>
          </p:nvSpPr>
          <p:spPr>
            <a:xfrm>
              <a:off x="8354498" y="3919333"/>
              <a:ext cx="110709" cy="93184"/>
            </a:xfrm>
            <a:custGeom>
              <a:avLst/>
              <a:gdLst>
                <a:gd name="connsiteX0" fmla="*/ 40793 w 110709"/>
                <a:gd name="connsiteY0" fmla="*/ 93184 h 93184"/>
                <a:gd name="connsiteX1" fmla="*/ 56598 w 110709"/>
                <a:gd name="connsiteY1" fmla="*/ 89855 h 93184"/>
                <a:gd name="connsiteX2" fmla="*/ 85684 w 110709"/>
                <a:gd name="connsiteY2" fmla="*/ 78221 h 93184"/>
                <a:gd name="connsiteX3" fmla="*/ 107307 w 110709"/>
                <a:gd name="connsiteY3" fmla="*/ 25025 h 93184"/>
                <a:gd name="connsiteX4" fmla="*/ 54111 w 110709"/>
                <a:gd name="connsiteY4" fmla="*/ 3403 h 93184"/>
                <a:gd name="connsiteX5" fmla="*/ 25026 w 110709"/>
                <a:gd name="connsiteY5" fmla="*/ 15037 h 93184"/>
                <a:gd name="connsiteX6" fmla="*/ 3403 w 110709"/>
                <a:gd name="connsiteY6" fmla="*/ 68232 h 93184"/>
                <a:gd name="connsiteX7" fmla="*/ 40793 w 110709"/>
                <a:gd name="connsiteY7" fmla="*/ 93185 h 9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709" h="93184">
                  <a:moveTo>
                    <a:pt x="40793" y="93184"/>
                  </a:moveTo>
                  <a:cubicBezTo>
                    <a:pt x="45768" y="93184"/>
                    <a:pt x="51586" y="92342"/>
                    <a:pt x="56598" y="89855"/>
                  </a:cubicBezTo>
                  <a:lnTo>
                    <a:pt x="85684" y="78221"/>
                  </a:lnTo>
                  <a:cubicBezTo>
                    <a:pt x="106465" y="69916"/>
                    <a:pt x="116453" y="45806"/>
                    <a:pt x="107307" y="25025"/>
                  </a:cubicBezTo>
                  <a:cubicBezTo>
                    <a:pt x="99002" y="4245"/>
                    <a:pt x="74892" y="-5744"/>
                    <a:pt x="54111" y="3403"/>
                  </a:cubicBezTo>
                  <a:lnTo>
                    <a:pt x="25026" y="15037"/>
                  </a:lnTo>
                  <a:cubicBezTo>
                    <a:pt x="4244" y="23342"/>
                    <a:pt x="-5744" y="47452"/>
                    <a:pt x="3403" y="68232"/>
                  </a:cubicBezTo>
                  <a:cubicBezTo>
                    <a:pt x="10024" y="84038"/>
                    <a:pt x="24987" y="93185"/>
                    <a:pt x="40793" y="93185"/>
                  </a:cubicBezTo>
                  <a:close/>
                </a:path>
              </a:pathLst>
            </a:custGeom>
            <a:grpFill/>
            <a:ln w="9797"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2972BD6C-2319-931A-1FD5-EDDBEF5D110D}"/>
                </a:ext>
              </a:extLst>
            </p:cNvPr>
            <p:cNvSpPr/>
            <p:nvPr/>
          </p:nvSpPr>
          <p:spPr>
            <a:xfrm>
              <a:off x="7950458" y="3498298"/>
              <a:ext cx="92902" cy="110281"/>
            </a:xfrm>
            <a:custGeom>
              <a:avLst/>
              <a:gdLst>
                <a:gd name="connsiteX0" fmla="*/ 25025 w 92902"/>
                <a:gd name="connsiteY0" fmla="*/ 106952 h 110281"/>
                <a:gd name="connsiteX1" fmla="*/ 40831 w 92902"/>
                <a:gd name="connsiteY1" fmla="*/ 110281 h 110281"/>
                <a:gd name="connsiteX2" fmla="*/ 78221 w 92902"/>
                <a:gd name="connsiteY2" fmla="*/ 85329 h 110281"/>
                <a:gd name="connsiteX3" fmla="*/ 89855 w 92902"/>
                <a:gd name="connsiteY3" fmla="*/ 56243 h 110281"/>
                <a:gd name="connsiteX4" fmla="*/ 68232 w 92902"/>
                <a:gd name="connsiteY4" fmla="*/ 3047 h 110281"/>
                <a:gd name="connsiteX5" fmla="*/ 15037 w 92902"/>
                <a:gd name="connsiteY5" fmla="*/ 24670 h 110281"/>
                <a:gd name="connsiteX6" fmla="*/ 3403 w 92902"/>
                <a:gd name="connsiteY6" fmla="*/ 53756 h 110281"/>
                <a:gd name="connsiteX7" fmla="*/ 25025 w 92902"/>
                <a:gd name="connsiteY7" fmla="*/ 106951 h 11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902" h="110281">
                  <a:moveTo>
                    <a:pt x="25025" y="106952"/>
                  </a:moveTo>
                  <a:cubicBezTo>
                    <a:pt x="30001" y="109439"/>
                    <a:pt x="35013" y="110281"/>
                    <a:pt x="40831" y="110281"/>
                  </a:cubicBezTo>
                  <a:cubicBezTo>
                    <a:pt x="56637" y="110281"/>
                    <a:pt x="71600" y="101135"/>
                    <a:pt x="78221" y="85329"/>
                  </a:cubicBezTo>
                  <a:lnTo>
                    <a:pt x="89855" y="56243"/>
                  </a:lnTo>
                  <a:cubicBezTo>
                    <a:pt x="98160" y="35462"/>
                    <a:pt x="89013" y="11353"/>
                    <a:pt x="68232" y="3047"/>
                  </a:cubicBezTo>
                  <a:cubicBezTo>
                    <a:pt x="47452" y="-5257"/>
                    <a:pt x="23342" y="3889"/>
                    <a:pt x="15037" y="24670"/>
                  </a:cubicBezTo>
                  <a:lnTo>
                    <a:pt x="3403" y="53756"/>
                  </a:lnTo>
                  <a:cubicBezTo>
                    <a:pt x="-5744" y="74536"/>
                    <a:pt x="4245" y="98646"/>
                    <a:pt x="25025" y="106951"/>
                  </a:cubicBezTo>
                  <a:close/>
                </a:path>
              </a:pathLst>
            </a:custGeom>
            <a:grpFill/>
            <a:ln w="9797"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534F2B1D-2D14-4F54-F336-FF7917A107FC}"/>
                </a:ext>
              </a:extLst>
            </p:cNvPr>
            <p:cNvSpPr/>
            <p:nvPr/>
          </p:nvSpPr>
          <p:spPr>
            <a:xfrm>
              <a:off x="7114247" y="3666062"/>
              <a:ext cx="126512" cy="126932"/>
            </a:xfrm>
            <a:custGeom>
              <a:avLst/>
              <a:gdLst>
                <a:gd name="connsiteX0" fmla="*/ 69040 w 126512"/>
                <a:gd name="connsiteY0" fmla="*/ 12275 h 126932"/>
                <a:gd name="connsiteX1" fmla="*/ 55721 w 126512"/>
                <a:gd name="connsiteY1" fmla="*/ 3129 h 126932"/>
                <a:gd name="connsiteX2" fmla="*/ 24952 w 126512"/>
                <a:gd name="connsiteY2" fmla="*/ 3129 h 126932"/>
                <a:gd name="connsiteX3" fmla="*/ 11634 w 126512"/>
                <a:gd name="connsiteY3" fmla="*/ 12275 h 126932"/>
                <a:gd name="connsiteX4" fmla="*/ 0 w 126512"/>
                <a:gd name="connsiteY4" fmla="*/ 41361 h 126932"/>
                <a:gd name="connsiteX5" fmla="*/ 11634 w 126512"/>
                <a:gd name="connsiteY5" fmla="*/ 70447 h 126932"/>
                <a:gd name="connsiteX6" fmla="*/ 56486 w 126512"/>
                <a:gd name="connsiteY6" fmla="*/ 115299 h 126932"/>
                <a:gd name="connsiteX7" fmla="*/ 85572 w 126512"/>
                <a:gd name="connsiteY7" fmla="*/ 126933 h 126932"/>
                <a:gd name="connsiteX8" fmla="*/ 114658 w 126512"/>
                <a:gd name="connsiteY8" fmla="*/ 115299 h 126932"/>
                <a:gd name="connsiteX9" fmla="*/ 114658 w 126512"/>
                <a:gd name="connsiteY9" fmla="*/ 57932 h 12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512" h="126932">
                  <a:moveTo>
                    <a:pt x="69040" y="12275"/>
                  </a:moveTo>
                  <a:cubicBezTo>
                    <a:pt x="64868" y="8104"/>
                    <a:pt x="60735" y="5616"/>
                    <a:pt x="55721" y="3129"/>
                  </a:cubicBezTo>
                  <a:cubicBezTo>
                    <a:pt x="45733" y="-1043"/>
                    <a:pt x="34941" y="-1043"/>
                    <a:pt x="24952" y="3129"/>
                  </a:cubicBezTo>
                  <a:cubicBezTo>
                    <a:pt x="19977" y="4774"/>
                    <a:pt x="15806" y="8104"/>
                    <a:pt x="11634" y="12275"/>
                  </a:cubicBezTo>
                  <a:cubicBezTo>
                    <a:pt x="3329" y="20580"/>
                    <a:pt x="0" y="30568"/>
                    <a:pt x="0" y="41361"/>
                  </a:cubicBezTo>
                  <a:cubicBezTo>
                    <a:pt x="0" y="52153"/>
                    <a:pt x="4171" y="62141"/>
                    <a:pt x="11634" y="70447"/>
                  </a:cubicBezTo>
                  <a:lnTo>
                    <a:pt x="56486" y="115299"/>
                  </a:lnTo>
                  <a:cubicBezTo>
                    <a:pt x="64791" y="123603"/>
                    <a:pt x="74779" y="126933"/>
                    <a:pt x="85572" y="126933"/>
                  </a:cubicBezTo>
                  <a:cubicBezTo>
                    <a:pt x="96365" y="126933"/>
                    <a:pt x="106353" y="122761"/>
                    <a:pt x="114658" y="115299"/>
                  </a:cubicBezTo>
                  <a:cubicBezTo>
                    <a:pt x="130464" y="99493"/>
                    <a:pt x="130464" y="73737"/>
                    <a:pt x="114658" y="57932"/>
                  </a:cubicBezTo>
                  <a:close/>
                </a:path>
              </a:pathLst>
            </a:custGeom>
            <a:grpFill/>
            <a:ln w="9797"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BBC172C2-1815-F53B-EDB1-8E1CE6C2F988}"/>
                </a:ext>
              </a:extLst>
            </p:cNvPr>
            <p:cNvSpPr/>
            <p:nvPr/>
          </p:nvSpPr>
          <p:spPr>
            <a:xfrm>
              <a:off x="8171421" y="3665345"/>
              <a:ext cx="125745" cy="126932"/>
            </a:xfrm>
            <a:custGeom>
              <a:avLst/>
              <a:gdLst>
                <a:gd name="connsiteX0" fmla="*/ 40174 w 125745"/>
                <a:gd name="connsiteY0" fmla="*/ 126933 h 126932"/>
                <a:gd name="connsiteX1" fmla="*/ 69260 w 125745"/>
                <a:gd name="connsiteY1" fmla="*/ 115299 h 126932"/>
                <a:gd name="connsiteX2" fmla="*/ 114112 w 125745"/>
                <a:gd name="connsiteY2" fmla="*/ 70447 h 126932"/>
                <a:gd name="connsiteX3" fmla="*/ 125746 w 125745"/>
                <a:gd name="connsiteY3" fmla="*/ 41361 h 126932"/>
                <a:gd name="connsiteX4" fmla="*/ 114112 w 125745"/>
                <a:gd name="connsiteY4" fmla="*/ 12275 h 126932"/>
                <a:gd name="connsiteX5" fmla="*/ 100794 w 125745"/>
                <a:gd name="connsiteY5" fmla="*/ 3129 h 126932"/>
                <a:gd name="connsiteX6" fmla="*/ 70025 w 125745"/>
                <a:gd name="connsiteY6" fmla="*/ 3129 h 126932"/>
                <a:gd name="connsiteX7" fmla="*/ 56707 w 125745"/>
                <a:gd name="connsiteY7" fmla="*/ 12275 h 126932"/>
                <a:gd name="connsiteX8" fmla="*/ 11854 w 125745"/>
                <a:gd name="connsiteY8" fmla="*/ 57127 h 126932"/>
                <a:gd name="connsiteX9" fmla="*/ 11854 w 125745"/>
                <a:gd name="connsiteY9" fmla="*/ 114495 h 126932"/>
                <a:gd name="connsiteX10" fmla="*/ 40174 w 125745"/>
                <a:gd name="connsiteY10" fmla="*/ 126932 h 12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745" h="126932">
                  <a:moveTo>
                    <a:pt x="40174" y="126933"/>
                  </a:moveTo>
                  <a:cubicBezTo>
                    <a:pt x="50967" y="126933"/>
                    <a:pt x="60955" y="122761"/>
                    <a:pt x="69260" y="115299"/>
                  </a:cubicBezTo>
                  <a:lnTo>
                    <a:pt x="114112" y="70447"/>
                  </a:lnTo>
                  <a:cubicBezTo>
                    <a:pt x="122416" y="62142"/>
                    <a:pt x="125746" y="52153"/>
                    <a:pt x="125746" y="41361"/>
                  </a:cubicBezTo>
                  <a:cubicBezTo>
                    <a:pt x="125746" y="30568"/>
                    <a:pt x="121575" y="20580"/>
                    <a:pt x="114112" y="12275"/>
                  </a:cubicBezTo>
                  <a:cubicBezTo>
                    <a:pt x="109940" y="8104"/>
                    <a:pt x="105807" y="5616"/>
                    <a:pt x="100794" y="3129"/>
                  </a:cubicBezTo>
                  <a:cubicBezTo>
                    <a:pt x="90805" y="-1043"/>
                    <a:pt x="80013" y="-1043"/>
                    <a:pt x="70025" y="3129"/>
                  </a:cubicBezTo>
                  <a:cubicBezTo>
                    <a:pt x="65050" y="4774"/>
                    <a:pt x="60878" y="8104"/>
                    <a:pt x="56707" y="12275"/>
                  </a:cubicBezTo>
                  <a:lnTo>
                    <a:pt x="11854" y="57127"/>
                  </a:lnTo>
                  <a:cubicBezTo>
                    <a:pt x="-3951" y="72933"/>
                    <a:pt x="-3951" y="98689"/>
                    <a:pt x="11854" y="114495"/>
                  </a:cubicBezTo>
                  <a:cubicBezTo>
                    <a:pt x="19393" y="123603"/>
                    <a:pt x="29382" y="126932"/>
                    <a:pt x="40174" y="126932"/>
                  </a:cubicBezTo>
                  <a:close/>
                </a:path>
              </a:pathLst>
            </a:custGeom>
            <a:grpFill/>
            <a:ln w="9797"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C367DC31-A53E-D4B8-63F5-5F5B8BC38E6B}"/>
                </a:ext>
              </a:extLst>
            </p:cNvPr>
            <p:cNvSpPr/>
            <p:nvPr/>
          </p:nvSpPr>
          <p:spPr>
            <a:xfrm>
              <a:off x="7503424" y="3689151"/>
              <a:ext cx="671674" cy="769763"/>
            </a:xfrm>
            <a:custGeom>
              <a:avLst/>
              <a:gdLst>
                <a:gd name="connsiteX0" fmla="*/ 242709 w 671674"/>
                <a:gd name="connsiteY0" fmla="*/ 371568 h 769763"/>
                <a:gd name="connsiteX1" fmla="*/ 242709 w 671674"/>
                <a:gd name="connsiteY1" fmla="*/ 40719 h 769763"/>
                <a:gd name="connsiteX2" fmla="*/ 201990 w 671674"/>
                <a:gd name="connsiteY2" fmla="*/ 0 h 769763"/>
                <a:gd name="connsiteX3" fmla="*/ 161271 w 671674"/>
                <a:gd name="connsiteY3" fmla="*/ 40719 h 769763"/>
                <a:gd name="connsiteX4" fmla="*/ 161271 w 671674"/>
                <a:gd name="connsiteY4" fmla="*/ 371568 h 769763"/>
                <a:gd name="connsiteX5" fmla="*/ 0 w 671674"/>
                <a:gd name="connsiteY5" fmla="*/ 568579 h 769763"/>
                <a:gd name="connsiteX6" fmla="*/ 201184 w 671674"/>
                <a:gd name="connsiteY6" fmla="*/ 769763 h 769763"/>
                <a:gd name="connsiteX7" fmla="*/ 398195 w 671674"/>
                <a:gd name="connsiteY7" fmla="*/ 608493 h 769763"/>
                <a:gd name="connsiteX8" fmla="*/ 630956 w 671674"/>
                <a:gd name="connsiteY8" fmla="*/ 608493 h 769763"/>
                <a:gd name="connsiteX9" fmla="*/ 671674 w 671674"/>
                <a:gd name="connsiteY9" fmla="*/ 567774 h 769763"/>
                <a:gd name="connsiteX10" fmla="*/ 630956 w 671674"/>
                <a:gd name="connsiteY10" fmla="*/ 527055 h 769763"/>
                <a:gd name="connsiteX11" fmla="*/ 398195 w 671674"/>
                <a:gd name="connsiteY11" fmla="*/ 527055 h 769763"/>
                <a:gd name="connsiteX12" fmla="*/ 242705 w 671674"/>
                <a:gd name="connsiteY12" fmla="*/ 371565 h 769763"/>
                <a:gd name="connsiteX13" fmla="*/ 201950 w 671674"/>
                <a:gd name="connsiteY13" fmla="*/ 689133 h 769763"/>
                <a:gd name="connsiteX14" fmla="*/ 81397 w 671674"/>
                <a:gd name="connsiteY14" fmla="*/ 568579 h 769763"/>
                <a:gd name="connsiteX15" fmla="*/ 201950 w 671674"/>
                <a:gd name="connsiteY15" fmla="*/ 448025 h 769763"/>
                <a:gd name="connsiteX16" fmla="*/ 322505 w 671674"/>
                <a:gd name="connsiteY16" fmla="*/ 568579 h 769763"/>
                <a:gd name="connsiteX17" fmla="*/ 201950 w 671674"/>
                <a:gd name="connsiteY17" fmla="*/ 689133 h 769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1674" h="769763">
                  <a:moveTo>
                    <a:pt x="242709" y="371568"/>
                  </a:moveTo>
                  <a:lnTo>
                    <a:pt x="242709" y="40719"/>
                  </a:lnTo>
                  <a:cubicBezTo>
                    <a:pt x="242709" y="18292"/>
                    <a:pt x="224416" y="0"/>
                    <a:pt x="201990" y="0"/>
                  </a:cubicBezTo>
                  <a:cubicBezTo>
                    <a:pt x="179563" y="0"/>
                    <a:pt x="161271" y="18293"/>
                    <a:pt x="161271" y="40719"/>
                  </a:cubicBezTo>
                  <a:lnTo>
                    <a:pt x="161271" y="371568"/>
                  </a:lnTo>
                  <a:cubicBezTo>
                    <a:pt x="69844" y="390703"/>
                    <a:pt x="0" y="472146"/>
                    <a:pt x="0" y="568579"/>
                  </a:cubicBezTo>
                  <a:cubicBezTo>
                    <a:pt x="0" y="679982"/>
                    <a:pt x="90624" y="769763"/>
                    <a:pt x="201184" y="769763"/>
                  </a:cubicBezTo>
                  <a:cubicBezTo>
                    <a:pt x="298429" y="769763"/>
                    <a:pt x="379904" y="700762"/>
                    <a:pt x="398195" y="608493"/>
                  </a:cubicBezTo>
                  <a:lnTo>
                    <a:pt x="630956" y="608493"/>
                  </a:lnTo>
                  <a:cubicBezTo>
                    <a:pt x="653383" y="608493"/>
                    <a:pt x="671674" y="590200"/>
                    <a:pt x="671674" y="567774"/>
                  </a:cubicBezTo>
                  <a:cubicBezTo>
                    <a:pt x="671674" y="545347"/>
                    <a:pt x="653381" y="527055"/>
                    <a:pt x="630956" y="527055"/>
                  </a:cubicBezTo>
                  <a:lnTo>
                    <a:pt x="398195" y="527055"/>
                  </a:lnTo>
                  <a:cubicBezTo>
                    <a:pt x="383154" y="449711"/>
                    <a:pt x="320814" y="387367"/>
                    <a:pt x="242705" y="371565"/>
                  </a:cubicBezTo>
                  <a:close/>
                  <a:moveTo>
                    <a:pt x="201950" y="689133"/>
                  </a:moveTo>
                  <a:cubicBezTo>
                    <a:pt x="135437" y="689133"/>
                    <a:pt x="81397" y="635096"/>
                    <a:pt x="81397" y="568579"/>
                  </a:cubicBezTo>
                  <a:cubicBezTo>
                    <a:pt x="81397" y="502062"/>
                    <a:pt x="135434" y="448025"/>
                    <a:pt x="201950" y="448025"/>
                  </a:cubicBezTo>
                  <a:cubicBezTo>
                    <a:pt x="268467" y="448025"/>
                    <a:pt x="322505" y="502062"/>
                    <a:pt x="322505" y="568579"/>
                  </a:cubicBezTo>
                  <a:cubicBezTo>
                    <a:pt x="322505" y="635096"/>
                    <a:pt x="268467" y="689133"/>
                    <a:pt x="201950" y="689133"/>
                  </a:cubicBezTo>
                  <a:close/>
                </a:path>
              </a:pathLst>
            </a:custGeom>
            <a:grpFill/>
            <a:ln w="9797"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9BB76E89-C093-06B0-3D78-4B0027BA6559}"/>
                </a:ext>
              </a:extLst>
            </p:cNvPr>
            <p:cNvSpPr/>
            <p:nvPr/>
          </p:nvSpPr>
          <p:spPr>
            <a:xfrm>
              <a:off x="3912185" y="3931142"/>
              <a:ext cx="213740" cy="686642"/>
            </a:xfrm>
            <a:custGeom>
              <a:avLst/>
              <a:gdLst>
                <a:gd name="connsiteX0" fmla="*/ 64105 w 213740"/>
                <a:gd name="connsiteY0" fmla="*/ 512057 h 686642"/>
                <a:gd name="connsiteX1" fmla="*/ 111483 w 213740"/>
                <a:gd name="connsiteY1" fmla="*/ 342479 h 686642"/>
                <a:gd name="connsiteX2" fmla="*/ 162191 w 213740"/>
                <a:gd name="connsiteY2" fmla="*/ 173743 h 686642"/>
                <a:gd name="connsiteX3" fmla="*/ 213741 w 213740"/>
                <a:gd name="connsiteY3" fmla="*/ 0 h 686642"/>
                <a:gd name="connsiteX4" fmla="*/ 104022 w 213740"/>
                <a:gd name="connsiteY4" fmla="*/ 148799 h 686642"/>
                <a:gd name="connsiteX5" fmla="*/ 33376 w 213740"/>
                <a:gd name="connsiteY5" fmla="*/ 320053 h 686642"/>
                <a:gd name="connsiteX6" fmla="*/ 1803 w 213740"/>
                <a:gd name="connsiteY6" fmla="*/ 502104 h 686642"/>
                <a:gd name="connsiteX7" fmla="*/ 15121 w 213740"/>
                <a:gd name="connsiteY7" fmla="*/ 686643 h 686642"/>
                <a:gd name="connsiteX8" fmla="*/ 64107 w 213740"/>
                <a:gd name="connsiteY8" fmla="*/ 512057 h 68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740" h="686642">
                  <a:moveTo>
                    <a:pt x="64105" y="512057"/>
                  </a:moveTo>
                  <a:lnTo>
                    <a:pt x="111483" y="342479"/>
                  </a:lnTo>
                  <a:lnTo>
                    <a:pt x="162191" y="173743"/>
                  </a:lnTo>
                  <a:cubicBezTo>
                    <a:pt x="179642" y="117218"/>
                    <a:pt x="197935" y="60693"/>
                    <a:pt x="213741" y="0"/>
                  </a:cubicBezTo>
                  <a:cubicBezTo>
                    <a:pt x="168850" y="44049"/>
                    <a:pt x="133948" y="94757"/>
                    <a:pt x="104022" y="148799"/>
                  </a:cubicBezTo>
                  <a:cubicBezTo>
                    <a:pt x="74095" y="202836"/>
                    <a:pt x="50827" y="261006"/>
                    <a:pt x="33376" y="320053"/>
                  </a:cubicBezTo>
                  <a:cubicBezTo>
                    <a:pt x="16767" y="379065"/>
                    <a:pt x="5095" y="440607"/>
                    <a:pt x="1803" y="502104"/>
                  </a:cubicBezTo>
                  <a:cubicBezTo>
                    <a:pt x="-2369" y="563603"/>
                    <a:pt x="157" y="625949"/>
                    <a:pt x="15121" y="686643"/>
                  </a:cubicBezTo>
                  <a:cubicBezTo>
                    <a:pt x="34179" y="626750"/>
                    <a:pt x="49144" y="569420"/>
                    <a:pt x="64107" y="512057"/>
                  </a:cubicBezTo>
                  <a:close/>
                </a:path>
              </a:pathLst>
            </a:custGeom>
            <a:grpFill/>
            <a:ln w="9797" cap="flat">
              <a:noFill/>
              <a:prstDash val="solid"/>
              <a:miter/>
            </a:ln>
          </p:spPr>
          <p:txBody>
            <a:bodyPr rtlCol="0" anchor="ctr"/>
            <a:lstStyle/>
            <a:p>
              <a:endParaRPr lang="en-US" dirty="0"/>
            </a:p>
          </p:txBody>
        </p:sp>
      </p:grpSp>
      <p:sp>
        <p:nvSpPr>
          <p:cNvPr id="3" name="Freeform: Shape 2">
            <a:extLst>
              <a:ext uri="{FF2B5EF4-FFF2-40B4-BE49-F238E27FC236}">
                <a16:creationId xmlns:a16="http://schemas.microsoft.com/office/drawing/2014/main" id="{760FDE7F-5002-9D65-9B9D-5B378AD53F61}"/>
              </a:ext>
            </a:extLst>
          </p:cNvPr>
          <p:cNvSpPr/>
          <p:nvPr/>
        </p:nvSpPr>
        <p:spPr>
          <a:xfrm>
            <a:off x="634673" y="1774672"/>
            <a:ext cx="1653953" cy="4518952"/>
          </a:xfrm>
          <a:custGeom>
            <a:avLst/>
            <a:gdLst>
              <a:gd name="connsiteX0" fmla="*/ 889930 w 1697069"/>
              <a:gd name="connsiteY0" fmla="*/ 0 h 4631946"/>
              <a:gd name="connsiteX1" fmla="*/ 1266273 w 1697069"/>
              <a:gd name="connsiteY1" fmla="*/ 0 h 4631946"/>
              <a:gd name="connsiteX2" fmla="*/ 1697069 w 1697069"/>
              <a:gd name="connsiteY2" fmla="*/ 422570 h 4631946"/>
              <a:gd name="connsiteX3" fmla="*/ 1697069 w 1697069"/>
              <a:gd name="connsiteY3" fmla="*/ 429621 h 4631946"/>
              <a:gd name="connsiteX4" fmla="*/ 1274761 w 1697069"/>
              <a:gd name="connsiteY4" fmla="*/ 844618 h 4631946"/>
              <a:gd name="connsiteX5" fmla="*/ 850885 w 1697069"/>
              <a:gd name="connsiteY5" fmla="*/ 844618 h 4631946"/>
              <a:gd name="connsiteX6" fmla="*/ 850885 w 1697069"/>
              <a:gd name="connsiteY6" fmla="*/ 845922 h 4631946"/>
              <a:gd name="connsiteX7" fmla="*/ 422309 w 1697069"/>
              <a:gd name="connsiteY7" fmla="*/ 845922 h 4631946"/>
              <a:gd name="connsiteX8" fmla="*/ 88275 w 1697069"/>
              <a:gd name="connsiteY8" fmla="*/ 1206595 h 4631946"/>
              <a:gd name="connsiteX9" fmla="*/ 429099 w 1697069"/>
              <a:gd name="connsiteY9" fmla="*/ 1515557 h 4631946"/>
              <a:gd name="connsiteX10" fmla="*/ 846184 w 1697069"/>
              <a:gd name="connsiteY10" fmla="*/ 1515557 h 4631946"/>
              <a:gd name="connsiteX11" fmla="*/ 846184 w 1697069"/>
              <a:gd name="connsiteY11" fmla="*/ 1514513 h 4631946"/>
              <a:gd name="connsiteX12" fmla="*/ 1274630 w 1697069"/>
              <a:gd name="connsiteY12" fmla="*/ 1514513 h 4631946"/>
              <a:gd name="connsiteX13" fmla="*/ 1697069 w 1697069"/>
              <a:gd name="connsiteY13" fmla="*/ 1936822 h 4631946"/>
              <a:gd name="connsiteX14" fmla="*/ 1274630 w 1697069"/>
              <a:gd name="connsiteY14" fmla="*/ 2359131 h 4631946"/>
              <a:gd name="connsiteX15" fmla="*/ 850885 w 1697069"/>
              <a:gd name="connsiteY15" fmla="*/ 2359131 h 4631946"/>
              <a:gd name="connsiteX16" fmla="*/ 850885 w 1697069"/>
              <a:gd name="connsiteY16" fmla="*/ 2359522 h 4631946"/>
              <a:gd name="connsiteX17" fmla="*/ 422309 w 1697069"/>
              <a:gd name="connsiteY17" fmla="*/ 2359522 h 4631946"/>
              <a:gd name="connsiteX18" fmla="*/ 87361 w 1697069"/>
              <a:gd name="connsiteY18" fmla="*/ 2694340 h 4631946"/>
              <a:gd name="connsiteX19" fmla="*/ 422309 w 1697069"/>
              <a:gd name="connsiteY19" fmla="*/ 3029288 h 4631946"/>
              <a:gd name="connsiteX20" fmla="*/ 846184 w 1697069"/>
              <a:gd name="connsiteY20" fmla="*/ 3029288 h 4631946"/>
              <a:gd name="connsiteX21" fmla="*/ 846184 w 1697069"/>
              <a:gd name="connsiteY21" fmla="*/ 3028896 h 4631946"/>
              <a:gd name="connsiteX22" fmla="*/ 1274630 w 1697069"/>
              <a:gd name="connsiteY22" fmla="*/ 3028896 h 4631946"/>
              <a:gd name="connsiteX23" fmla="*/ 1697069 w 1697069"/>
              <a:gd name="connsiteY23" fmla="*/ 3451205 h 4631946"/>
              <a:gd name="connsiteX24" fmla="*/ 1274630 w 1697069"/>
              <a:gd name="connsiteY24" fmla="*/ 3873514 h 4631946"/>
              <a:gd name="connsiteX25" fmla="*/ 846184 w 1697069"/>
              <a:gd name="connsiteY25" fmla="*/ 3873514 h 4631946"/>
              <a:gd name="connsiteX26" fmla="*/ 846184 w 1697069"/>
              <a:gd name="connsiteY26" fmla="*/ 3873383 h 4631946"/>
              <a:gd name="connsiteX27" fmla="*/ 429491 w 1697069"/>
              <a:gd name="connsiteY27" fmla="*/ 3873383 h 4631946"/>
              <a:gd name="connsiteX28" fmla="*/ 87622 w 1697069"/>
              <a:gd name="connsiteY28" fmla="*/ 4198799 h 4631946"/>
              <a:gd name="connsiteX29" fmla="*/ 87491 w 1697069"/>
              <a:gd name="connsiteY29" fmla="*/ 4208984 h 4631946"/>
              <a:gd name="connsiteX30" fmla="*/ 422439 w 1697069"/>
              <a:gd name="connsiteY30" fmla="*/ 4544455 h 4631946"/>
              <a:gd name="connsiteX31" fmla="*/ 807270 w 1697069"/>
              <a:gd name="connsiteY31" fmla="*/ 4544455 h 4631946"/>
              <a:gd name="connsiteX32" fmla="*/ 850885 w 1697069"/>
              <a:gd name="connsiteY32" fmla="*/ 4588200 h 4631946"/>
              <a:gd name="connsiteX33" fmla="*/ 807270 w 1697069"/>
              <a:gd name="connsiteY33" fmla="*/ 4631946 h 4631946"/>
              <a:gd name="connsiteX34" fmla="*/ 430797 w 1697069"/>
              <a:gd name="connsiteY34" fmla="*/ 4631946 h 4631946"/>
              <a:gd name="connsiteX35" fmla="*/ 0 w 1697069"/>
              <a:gd name="connsiteY35" fmla="*/ 4208854 h 4631946"/>
              <a:gd name="connsiteX36" fmla="*/ 0 w 1697069"/>
              <a:gd name="connsiteY36" fmla="*/ 4201672 h 4631946"/>
              <a:gd name="connsiteX37" fmla="*/ 422309 w 1697069"/>
              <a:gd name="connsiteY37" fmla="*/ 3785892 h 4631946"/>
              <a:gd name="connsiteX38" fmla="*/ 851016 w 1697069"/>
              <a:gd name="connsiteY38" fmla="*/ 3785892 h 4631946"/>
              <a:gd name="connsiteX39" fmla="*/ 851016 w 1697069"/>
              <a:gd name="connsiteY39" fmla="*/ 3786153 h 4631946"/>
              <a:gd name="connsiteX40" fmla="*/ 1274630 w 1697069"/>
              <a:gd name="connsiteY40" fmla="*/ 3786153 h 4631946"/>
              <a:gd name="connsiteX41" fmla="*/ 1609578 w 1697069"/>
              <a:gd name="connsiteY41" fmla="*/ 3451205 h 4631946"/>
              <a:gd name="connsiteX42" fmla="*/ 1274630 w 1697069"/>
              <a:gd name="connsiteY42" fmla="*/ 3116257 h 4631946"/>
              <a:gd name="connsiteX43" fmla="*/ 850885 w 1697069"/>
              <a:gd name="connsiteY43" fmla="*/ 3116257 h 4631946"/>
              <a:gd name="connsiteX44" fmla="*/ 850885 w 1697069"/>
              <a:gd name="connsiteY44" fmla="*/ 3116779 h 4631946"/>
              <a:gd name="connsiteX45" fmla="*/ 422309 w 1697069"/>
              <a:gd name="connsiteY45" fmla="*/ 3116779 h 4631946"/>
              <a:gd name="connsiteX46" fmla="*/ 0 w 1697069"/>
              <a:gd name="connsiteY46" fmla="*/ 2694340 h 4631946"/>
              <a:gd name="connsiteX47" fmla="*/ 0 w 1697069"/>
              <a:gd name="connsiteY47" fmla="*/ 2694209 h 4631946"/>
              <a:gd name="connsiteX48" fmla="*/ 422309 w 1697069"/>
              <a:gd name="connsiteY48" fmla="*/ 2272031 h 4631946"/>
              <a:gd name="connsiteX49" fmla="*/ 846184 w 1697069"/>
              <a:gd name="connsiteY49" fmla="*/ 2272031 h 4631946"/>
              <a:gd name="connsiteX50" fmla="*/ 846184 w 1697069"/>
              <a:gd name="connsiteY50" fmla="*/ 2271770 h 4631946"/>
              <a:gd name="connsiteX51" fmla="*/ 1274630 w 1697069"/>
              <a:gd name="connsiteY51" fmla="*/ 2271770 h 4631946"/>
              <a:gd name="connsiteX52" fmla="*/ 1609578 w 1697069"/>
              <a:gd name="connsiteY52" fmla="*/ 1936822 h 4631946"/>
              <a:gd name="connsiteX53" fmla="*/ 1274630 w 1697069"/>
              <a:gd name="connsiteY53" fmla="*/ 1601874 h 4631946"/>
              <a:gd name="connsiteX54" fmla="*/ 850885 w 1697069"/>
              <a:gd name="connsiteY54" fmla="*/ 1601874 h 4631946"/>
              <a:gd name="connsiteX55" fmla="*/ 850885 w 1697069"/>
              <a:gd name="connsiteY55" fmla="*/ 1603049 h 4631946"/>
              <a:gd name="connsiteX56" fmla="*/ 422309 w 1697069"/>
              <a:gd name="connsiteY56" fmla="*/ 1603049 h 4631946"/>
              <a:gd name="connsiteX57" fmla="*/ 0 w 1697069"/>
              <a:gd name="connsiteY57" fmla="*/ 1180609 h 4631946"/>
              <a:gd name="connsiteX58" fmla="*/ 422309 w 1697069"/>
              <a:gd name="connsiteY58" fmla="*/ 758431 h 4631946"/>
              <a:gd name="connsiteX59" fmla="*/ 849580 w 1697069"/>
              <a:gd name="connsiteY59" fmla="*/ 758431 h 4631946"/>
              <a:gd name="connsiteX60" fmla="*/ 850754 w 1697069"/>
              <a:gd name="connsiteY60" fmla="*/ 757257 h 4631946"/>
              <a:gd name="connsiteX61" fmla="*/ 1267709 w 1697069"/>
              <a:gd name="connsiteY61" fmla="*/ 757257 h 4631946"/>
              <a:gd name="connsiteX62" fmla="*/ 1609709 w 1697069"/>
              <a:gd name="connsiteY62" fmla="*/ 432364 h 4631946"/>
              <a:gd name="connsiteX63" fmla="*/ 1609709 w 1697069"/>
              <a:gd name="connsiteY63" fmla="*/ 429360 h 4631946"/>
              <a:gd name="connsiteX64" fmla="*/ 1270190 w 1697069"/>
              <a:gd name="connsiteY64" fmla="*/ 87230 h 4631946"/>
              <a:gd name="connsiteX65" fmla="*/ 889930 w 1697069"/>
              <a:gd name="connsiteY65" fmla="*/ 87230 h 4631946"/>
              <a:gd name="connsiteX66" fmla="*/ 846184 w 1697069"/>
              <a:gd name="connsiteY66" fmla="*/ 43746 h 4631946"/>
              <a:gd name="connsiteX67" fmla="*/ 846184 w 1697069"/>
              <a:gd name="connsiteY67" fmla="*/ 43484 h 4631946"/>
              <a:gd name="connsiteX68" fmla="*/ 889930 w 1697069"/>
              <a:gd name="connsiteY68" fmla="*/ 0 h 4631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697069" h="4631946">
                <a:moveTo>
                  <a:pt x="889930" y="0"/>
                </a:moveTo>
                <a:lnTo>
                  <a:pt x="1266273" y="0"/>
                </a:lnTo>
                <a:cubicBezTo>
                  <a:pt x="1500279" y="0"/>
                  <a:pt x="1697069" y="189347"/>
                  <a:pt x="1697069" y="422570"/>
                </a:cubicBezTo>
                <a:cubicBezTo>
                  <a:pt x="1697069" y="424920"/>
                  <a:pt x="1697069" y="427271"/>
                  <a:pt x="1697069" y="429621"/>
                </a:cubicBezTo>
                <a:cubicBezTo>
                  <a:pt x="1693152" y="659058"/>
                  <a:pt x="1505241" y="844618"/>
                  <a:pt x="1274761" y="844618"/>
                </a:cubicBezTo>
                <a:lnTo>
                  <a:pt x="850885" y="844618"/>
                </a:lnTo>
                <a:lnTo>
                  <a:pt x="850885" y="845922"/>
                </a:lnTo>
                <a:lnTo>
                  <a:pt x="422309" y="845922"/>
                </a:lnTo>
                <a:cubicBezTo>
                  <a:pt x="229044" y="845922"/>
                  <a:pt x="73388" y="1010328"/>
                  <a:pt x="88275" y="1206595"/>
                </a:cubicBezTo>
                <a:cubicBezTo>
                  <a:pt x="101594" y="1382231"/>
                  <a:pt x="252941" y="1515557"/>
                  <a:pt x="429099" y="1515557"/>
                </a:cubicBezTo>
                <a:lnTo>
                  <a:pt x="846184" y="1515557"/>
                </a:lnTo>
                <a:lnTo>
                  <a:pt x="846184" y="1514513"/>
                </a:lnTo>
                <a:lnTo>
                  <a:pt x="1274630" y="1514513"/>
                </a:lnTo>
                <a:cubicBezTo>
                  <a:pt x="1507592" y="1514513"/>
                  <a:pt x="1697069" y="1703990"/>
                  <a:pt x="1697069" y="1936822"/>
                </a:cubicBezTo>
                <a:cubicBezTo>
                  <a:pt x="1697069" y="2169653"/>
                  <a:pt x="1507592" y="2359131"/>
                  <a:pt x="1274630" y="2359131"/>
                </a:cubicBezTo>
                <a:lnTo>
                  <a:pt x="850885" y="2359131"/>
                </a:lnTo>
                <a:lnTo>
                  <a:pt x="850885" y="2359522"/>
                </a:lnTo>
                <a:lnTo>
                  <a:pt x="422309" y="2359522"/>
                </a:lnTo>
                <a:cubicBezTo>
                  <a:pt x="237663" y="2359522"/>
                  <a:pt x="87361" y="2509694"/>
                  <a:pt x="87361" y="2694340"/>
                </a:cubicBezTo>
                <a:cubicBezTo>
                  <a:pt x="87361" y="2878986"/>
                  <a:pt x="237663" y="3029288"/>
                  <a:pt x="422309" y="3029288"/>
                </a:cubicBezTo>
                <a:lnTo>
                  <a:pt x="846184" y="3029288"/>
                </a:lnTo>
                <a:lnTo>
                  <a:pt x="846184" y="3028896"/>
                </a:lnTo>
                <a:lnTo>
                  <a:pt x="1274630" y="3028896"/>
                </a:lnTo>
                <a:cubicBezTo>
                  <a:pt x="1507592" y="3028896"/>
                  <a:pt x="1697069" y="3218374"/>
                  <a:pt x="1697069" y="3451205"/>
                </a:cubicBezTo>
                <a:cubicBezTo>
                  <a:pt x="1697069" y="3684036"/>
                  <a:pt x="1507592" y="3873514"/>
                  <a:pt x="1274630" y="3873514"/>
                </a:cubicBezTo>
                <a:lnTo>
                  <a:pt x="846184" y="3873514"/>
                </a:lnTo>
                <a:lnTo>
                  <a:pt x="846184" y="3873383"/>
                </a:lnTo>
                <a:lnTo>
                  <a:pt x="429491" y="3873383"/>
                </a:lnTo>
                <a:cubicBezTo>
                  <a:pt x="247326" y="3873383"/>
                  <a:pt x="92976" y="4016242"/>
                  <a:pt x="87622" y="4198799"/>
                </a:cubicBezTo>
                <a:cubicBezTo>
                  <a:pt x="87491" y="4202194"/>
                  <a:pt x="87491" y="4205589"/>
                  <a:pt x="87491" y="4208984"/>
                </a:cubicBezTo>
                <a:cubicBezTo>
                  <a:pt x="87491" y="4393891"/>
                  <a:pt x="237793" y="4544455"/>
                  <a:pt x="422439" y="4544455"/>
                </a:cubicBezTo>
                <a:lnTo>
                  <a:pt x="807270" y="4544455"/>
                </a:lnTo>
                <a:cubicBezTo>
                  <a:pt x="831298" y="4544455"/>
                  <a:pt x="850885" y="4564042"/>
                  <a:pt x="850885" y="4588200"/>
                </a:cubicBezTo>
                <a:cubicBezTo>
                  <a:pt x="850885" y="4612358"/>
                  <a:pt x="831298" y="4631946"/>
                  <a:pt x="807270" y="4631946"/>
                </a:cubicBezTo>
                <a:lnTo>
                  <a:pt x="430797" y="4631946"/>
                </a:lnTo>
                <a:cubicBezTo>
                  <a:pt x="196790" y="4631946"/>
                  <a:pt x="0" y="4442207"/>
                  <a:pt x="0" y="4208854"/>
                </a:cubicBezTo>
                <a:cubicBezTo>
                  <a:pt x="0" y="4206503"/>
                  <a:pt x="0" y="4204022"/>
                  <a:pt x="0" y="4201672"/>
                </a:cubicBezTo>
                <a:cubicBezTo>
                  <a:pt x="4048" y="3971583"/>
                  <a:pt x="191958" y="3785761"/>
                  <a:pt x="422309" y="3785892"/>
                </a:cubicBezTo>
                <a:lnTo>
                  <a:pt x="851016" y="3785892"/>
                </a:lnTo>
                <a:lnTo>
                  <a:pt x="851016" y="3786153"/>
                </a:lnTo>
                <a:lnTo>
                  <a:pt x="1274630" y="3786153"/>
                </a:lnTo>
                <a:cubicBezTo>
                  <a:pt x="1459406" y="3786153"/>
                  <a:pt x="1609578" y="3635981"/>
                  <a:pt x="1609578" y="3451205"/>
                </a:cubicBezTo>
                <a:cubicBezTo>
                  <a:pt x="1609578" y="3266428"/>
                  <a:pt x="1459406" y="3116257"/>
                  <a:pt x="1274630" y="3116257"/>
                </a:cubicBezTo>
                <a:lnTo>
                  <a:pt x="850885" y="3116257"/>
                </a:lnTo>
                <a:lnTo>
                  <a:pt x="850885" y="3116779"/>
                </a:lnTo>
                <a:lnTo>
                  <a:pt x="422309" y="3116779"/>
                </a:lnTo>
                <a:cubicBezTo>
                  <a:pt x="189477" y="3116779"/>
                  <a:pt x="0" y="2927302"/>
                  <a:pt x="0" y="2694340"/>
                </a:cubicBezTo>
                <a:lnTo>
                  <a:pt x="0" y="2694209"/>
                </a:lnTo>
                <a:cubicBezTo>
                  <a:pt x="0" y="2461378"/>
                  <a:pt x="189477" y="2272031"/>
                  <a:pt x="422309" y="2272031"/>
                </a:cubicBezTo>
                <a:lnTo>
                  <a:pt x="846184" y="2272031"/>
                </a:lnTo>
                <a:lnTo>
                  <a:pt x="846184" y="2271770"/>
                </a:lnTo>
                <a:lnTo>
                  <a:pt x="1274630" y="2271770"/>
                </a:lnTo>
                <a:cubicBezTo>
                  <a:pt x="1459406" y="2271770"/>
                  <a:pt x="1609578" y="2121598"/>
                  <a:pt x="1609578" y="1936822"/>
                </a:cubicBezTo>
                <a:cubicBezTo>
                  <a:pt x="1609578" y="1752045"/>
                  <a:pt x="1459406" y="1601874"/>
                  <a:pt x="1274630" y="1601874"/>
                </a:cubicBezTo>
                <a:lnTo>
                  <a:pt x="850885" y="1601874"/>
                </a:lnTo>
                <a:lnTo>
                  <a:pt x="850885" y="1603049"/>
                </a:lnTo>
                <a:lnTo>
                  <a:pt x="422309" y="1603049"/>
                </a:lnTo>
                <a:cubicBezTo>
                  <a:pt x="189477" y="1603049"/>
                  <a:pt x="0" y="1413571"/>
                  <a:pt x="0" y="1180609"/>
                </a:cubicBezTo>
                <a:cubicBezTo>
                  <a:pt x="0" y="947647"/>
                  <a:pt x="189477" y="758300"/>
                  <a:pt x="422309" y="758431"/>
                </a:cubicBezTo>
                <a:lnTo>
                  <a:pt x="849580" y="758431"/>
                </a:lnTo>
                <a:lnTo>
                  <a:pt x="850754" y="757257"/>
                </a:lnTo>
                <a:lnTo>
                  <a:pt x="1267709" y="757257"/>
                </a:lnTo>
                <a:cubicBezTo>
                  <a:pt x="1450135" y="757257"/>
                  <a:pt x="1604224" y="614528"/>
                  <a:pt x="1609709" y="432364"/>
                </a:cubicBezTo>
                <a:cubicBezTo>
                  <a:pt x="1609709" y="431319"/>
                  <a:pt x="1609709" y="430405"/>
                  <a:pt x="1609709" y="429360"/>
                </a:cubicBezTo>
                <a:cubicBezTo>
                  <a:pt x="1613496" y="240797"/>
                  <a:pt x="1458754" y="87230"/>
                  <a:pt x="1270190" y="87230"/>
                </a:cubicBezTo>
                <a:lnTo>
                  <a:pt x="889930" y="87230"/>
                </a:lnTo>
                <a:cubicBezTo>
                  <a:pt x="865772" y="87361"/>
                  <a:pt x="846184" y="67773"/>
                  <a:pt x="846184" y="43746"/>
                </a:cubicBezTo>
                <a:lnTo>
                  <a:pt x="846184" y="43484"/>
                </a:lnTo>
                <a:cubicBezTo>
                  <a:pt x="846184" y="19326"/>
                  <a:pt x="865772" y="0"/>
                  <a:pt x="889930" y="0"/>
                </a:cubicBezTo>
                <a:close/>
              </a:path>
            </a:pathLst>
          </a:cu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17" name="Freeform: Shape 16">
            <a:extLst>
              <a:ext uri="{FF2B5EF4-FFF2-40B4-BE49-F238E27FC236}">
                <a16:creationId xmlns:a16="http://schemas.microsoft.com/office/drawing/2014/main" id="{01B3E1AB-19B8-178A-343B-72DC2A85CD70}"/>
              </a:ext>
            </a:extLst>
          </p:cNvPr>
          <p:cNvSpPr>
            <a:spLocks noChangeAspect="1"/>
          </p:cNvSpPr>
          <p:nvPr/>
        </p:nvSpPr>
        <p:spPr>
          <a:xfrm>
            <a:off x="2146844" y="2106556"/>
            <a:ext cx="175383" cy="174925"/>
          </a:xfrm>
          <a:custGeom>
            <a:avLst/>
            <a:gdLst>
              <a:gd name="connsiteX0" fmla="*/ 0 w 600164"/>
              <a:gd name="connsiteY0" fmla="*/ 299299 h 598597"/>
              <a:gd name="connsiteX1" fmla="*/ 300082 w 600164"/>
              <a:gd name="connsiteY1" fmla="*/ 598597 h 598597"/>
              <a:gd name="connsiteX2" fmla="*/ 600164 w 600164"/>
              <a:gd name="connsiteY2" fmla="*/ 299299 h 598597"/>
              <a:gd name="connsiteX3" fmla="*/ 300082 w 600164"/>
              <a:gd name="connsiteY3" fmla="*/ 0 h 598597"/>
              <a:gd name="connsiteX4" fmla="*/ 0 w 600164"/>
              <a:gd name="connsiteY4" fmla="*/ 299299 h 598597"/>
              <a:gd name="connsiteX5" fmla="*/ 0 w 600164"/>
              <a:gd name="connsiteY5" fmla="*/ 299299 h 5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164" h="598597">
                <a:moveTo>
                  <a:pt x="0" y="299299"/>
                </a:moveTo>
                <a:cubicBezTo>
                  <a:pt x="0" y="464618"/>
                  <a:pt x="134371" y="598597"/>
                  <a:pt x="300082" y="598597"/>
                </a:cubicBezTo>
                <a:cubicBezTo>
                  <a:pt x="465793" y="598597"/>
                  <a:pt x="600164" y="464618"/>
                  <a:pt x="600164" y="299299"/>
                </a:cubicBezTo>
                <a:cubicBezTo>
                  <a:pt x="600164" y="133979"/>
                  <a:pt x="465793" y="0"/>
                  <a:pt x="300082" y="0"/>
                </a:cubicBezTo>
                <a:cubicBezTo>
                  <a:pt x="134371" y="0"/>
                  <a:pt x="0" y="133979"/>
                  <a:pt x="0" y="299299"/>
                </a:cubicBezTo>
                <a:lnTo>
                  <a:pt x="0" y="299299"/>
                </a:lnTo>
                <a:close/>
              </a:path>
            </a:pathLst>
          </a:custGeom>
          <a:solidFill>
            <a:srgbClr val="F2F2F3"/>
          </a:solidFill>
          <a:ln w="13042"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1B6BD414-3C35-35AF-D54A-E5A6992A244D}"/>
              </a:ext>
            </a:extLst>
          </p:cNvPr>
          <p:cNvSpPr>
            <a:spLocks noChangeAspect="1"/>
          </p:cNvSpPr>
          <p:nvPr/>
        </p:nvSpPr>
        <p:spPr>
          <a:xfrm>
            <a:off x="2180900" y="3588346"/>
            <a:ext cx="129869" cy="129530"/>
          </a:xfrm>
          <a:custGeom>
            <a:avLst/>
            <a:gdLst>
              <a:gd name="connsiteX0" fmla="*/ 0 w 600164"/>
              <a:gd name="connsiteY0" fmla="*/ 299299 h 598597"/>
              <a:gd name="connsiteX1" fmla="*/ 300082 w 600164"/>
              <a:gd name="connsiteY1" fmla="*/ 598597 h 598597"/>
              <a:gd name="connsiteX2" fmla="*/ 600164 w 600164"/>
              <a:gd name="connsiteY2" fmla="*/ 299299 h 598597"/>
              <a:gd name="connsiteX3" fmla="*/ 300082 w 600164"/>
              <a:gd name="connsiteY3" fmla="*/ 0 h 598597"/>
              <a:gd name="connsiteX4" fmla="*/ 0 w 600164"/>
              <a:gd name="connsiteY4" fmla="*/ 299299 h 598597"/>
              <a:gd name="connsiteX5" fmla="*/ 0 w 600164"/>
              <a:gd name="connsiteY5" fmla="*/ 299299 h 5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164" h="598597">
                <a:moveTo>
                  <a:pt x="0" y="299299"/>
                </a:moveTo>
                <a:cubicBezTo>
                  <a:pt x="0" y="464618"/>
                  <a:pt x="134371" y="598597"/>
                  <a:pt x="300082" y="598597"/>
                </a:cubicBezTo>
                <a:cubicBezTo>
                  <a:pt x="465793" y="598597"/>
                  <a:pt x="600164" y="464618"/>
                  <a:pt x="600164" y="299299"/>
                </a:cubicBezTo>
                <a:cubicBezTo>
                  <a:pt x="600164" y="133979"/>
                  <a:pt x="465793" y="0"/>
                  <a:pt x="300082" y="0"/>
                </a:cubicBezTo>
                <a:cubicBezTo>
                  <a:pt x="134371" y="0"/>
                  <a:pt x="0" y="133979"/>
                  <a:pt x="0" y="299299"/>
                </a:cubicBezTo>
                <a:lnTo>
                  <a:pt x="0" y="299299"/>
                </a:lnTo>
                <a:close/>
              </a:path>
            </a:pathLst>
          </a:custGeom>
          <a:solidFill>
            <a:srgbClr val="F2F2F3"/>
          </a:solidFill>
          <a:ln w="13042"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A15DDF23-3B7A-ECF2-EF2C-AAEF81DF8795}"/>
              </a:ext>
            </a:extLst>
          </p:cNvPr>
          <p:cNvSpPr>
            <a:spLocks noChangeAspect="1"/>
          </p:cNvSpPr>
          <p:nvPr/>
        </p:nvSpPr>
        <p:spPr>
          <a:xfrm>
            <a:off x="2186611" y="5096969"/>
            <a:ext cx="129869" cy="129530"/>
          </a:xfrm>
          <a:custGeom>
            <a:avLst/>
            <a:gdLst>
              <a:gd name="connsiteX0" fmla="*/ 0 w 600164"/>
              <a:gd name="connsiteY0" fmla="*/ 299299 h 598597"/>
              <a:gd name="connsiteX1" fmla="*/ 300082 w 600164"/>
              <a:gd name="connsiteY1" fmla="*/ 598597 h 598597"/>
              <a:gd name="connsiteX2" fmla="*/ 600164 w 600164"/>
              <a:gd name="connsiteY2" fmla="*/ 299299 h 598597"/>
              <a:gd name="connsiteX3" fmla="*/ 300082 w 600164"/>
              <a:gd name="connsiteY3" fmla="*/ 0 h 598597"/>
              <a:gd name="connsiteX4" fmla="*/ 0 w 600164"/>
              <a:gd name="connsiteY4" fmla="*/ 299299 h 598597"/>
              <a:gd name="connsiteX5" fmla="*/ 0 w 600164"/>
              <a:gd name="connsiteY5" fmla="*/ 299299 h 5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164" h="598597">
                <a:moveTo>
                  <a:pt x="0" y="299299"/>
                </a:moveTo>
                <a:cubicBezTo>
                  <a:pt x="0" y="464618"/>
                  <a:pt x="134371" y="598597"/>
                  <a:pt x="300082" y="598597"/>
                </a:cubicBezTo>
                <a:cubicBezTo>
                  <a:pt x="465793" y="598597"/>
                  <a:pt x="600164" y="464618"/>
                  <a:pt x="600164" y="299299"/>
                </a:cubicBezTo>
                <a:cubicBezTo>
                  <a:pt x="600164" y="133979"/>
                  <a:pt x="465793" y="0"/>
                  <a:pt x="300082" y="0"/>
                </a:cubicBezTo>
                <a:cubicBezTo>
                  <a:pt x="134371" y="0"/>
                  <a:pt x="0" y="133979"/>
                  <a:pt x="0" y="299299"/>
                </a:cubicBezTo>
                <a:lnTo>
                  <a:pt x="0" y="299299"/>
                </a:lnTo>
                <a:close/>
              </a:path>
            </a:pathLst>
          </a:custGeom>
          <a:solidFill>
            <a:srgbClr val="F2F2F3"/>
          </a:solidFill>
          <a:ln w="13042"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1862C868-76A3-C404-F7B1-B56C62CD3901}"/>
              </a:ext>
            </a:extLst>
          </p:cNvPr>
          <p:cNvSpPr>
            <a:spLocks noChangeAspect="1"/>
          </p:cNvSpPr>
          <p:nvPr/>
        </p:nvSpPr>
        <p:spPr>
          <a:xfrm>
            <a:off x="619895" y="2863003"/>
            <a:ext cx="129869" cy="129530"/>
          </a:xfrm>
          <a:custGeom>
            <a:avLst/>
            <a:gdLst>
              <a:gd name="connsiteX0" fmla="*/ 0 w 600164"/>
              <a:gd name="connsiteY0" fmla="*/ 299299 h 598597"/>
              <a:gd name="connsiteX1" fmla="*/ 300082 w 600164"/>
              <a:gd name="connsiteY1" fmla="*/ 598597 h 598597"/>
              <a:gd name="connsiteX2" fmla="*/ 600164 w 600164"/>
              <a:gd name="connsiteY2" fmla="*/ 299299 h 598597"/>
              <a:gd name="connsiteX3" fmla="*/ 300082 w 600164"/>
              <a:gd name="connsiteY3" fmla="*/ 0 h 598597"/>
              <a:gd name="connsiteX4" fmla="*/ 0 w 600164"/>
              <a:gd name="connsiteY4" fmla="*/ 299299 h 598597"/>
              <a:gd name="connsiteX5" fmla="*/ 0 w 600164"/>
              <a:gd name="connsiteY5" fmla="*/ 299299 h 5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164" h="598597">
                <a:moveTo>
                  <a:pt x="0" y="299299"/>
                </a:moveTo>
                <a:cubicBezTo>
                  <a:pt x="0" y="464618"/>
                  <a:pt x="134371" y="598597"/>
                  <a:pt x="300082" y="598597"/>
                </a:cubicBezTo>
                <a:cubicBezTo>
                  <a:pt x="465793" y="598597"/>
                  <a:pt x="600164" y="464618"/>
                  <a:pt x="600164" y="299299"/>
                </a:cubicBezTo>
                <a:cubicBezTo>
                  <a:pt x="600164" y="133979"/>
                  <a:pt x="465793" y="0"/>
                  <a:pt x="300082" y="0"/>
                </a:cubicBezTo>
                <a:cubicBezTo>
                  <a:pt x="134371" y="0"/>
                  <a:pt x="0" y="133979"/>
                  <a:pt x="0" y="299299"/>
                </a:cubicBezTo>
                <a:lnTo>
                  <a:pt x="0" y="299299"/>
                </a:lnTo>
                <a:close/>
              </a:path>
            </a:pathLst>
          </a:custGeom>
          <a:solidFill>
            <a:srgbClr val="F2F2F3"/>
          </a:solidFill>
          <a:ln w="13042"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280B1B00-5129-1670-B680-97AB68E73F8F}"/>
              </a:ext>
            </a:extLst>
          </p:cNvPr>
          <p:cNvSpPr>
            <a:spLocks noChangeAspect="1"/>
          </p:cNvSpPr>
          <p:nvPr/>
        </p:nvSpPr>
        <p:spPr>
          <a:xfrm>
            <a:off x="619895" y="4361411"/>
            <a:ext cx="129869" cy="129530"/>
          </a:xfrm>
          <a:custGeom>
            <a:avLst/>
            <a:gdLst>
              <a:gd name="connsiteX0" fmla="*/ 0 w 600164"/>
              <a:gd name="connsiteY0" fmla="*/ 299299 h 598597"/>
              <a:gd name="connsiteX1" fmla="*/ 300082 w 600164"/>
              <a:gd name="connsiteY1" fmla="*/ 598597 h 598597"/>
              <a:gd name="connsiteX2" fmla="*/ 600164 w 600164"/>
              <a:gd name="connsiteY2" fmla="*/ 299299 h 598597"/>
              <a:gd name="connsiteX3" fmla="*/ 300082 w 600164"/>
              <a:gd name="connsiteY3" fmla="*/ 0 h 598597"/>
              <a:gd name="connsiteX4" fmla="*/ 0 w 600164"/>
              <a:gd name="connsiteY4" fmla="*/ 299299 h 598597"/>
              <a:gd name="connsiteX5" fmla="*/ 0 w 600164"/>
              <a:gd name="connsiteY5" fmla="*/ 299299 h 5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164" h="598597">
                <a:moveTo>
                  <a:pt x="0" y="299299"/>
                </a:moveTo>
                <a:cubicBezTo>
                  <a:pt x="0" y="464618"/>
                  <a:pt x="134371" y="598597"/>
                  <a:pt x="300082" y="598597"/>
                </a:cubicBezTo>
                <a:cubicBezTo>
                  <a:pt x="465793" y="598597"/>
                  <a:pt x="600164" y="464618"/>
                  <a:pt x="600164" y="299299"/>
                </a:cubicBezTo>
                <a:cubicBezTo>
                  <a:pt x="600164" y="133979"/>
                  <a:pt x="465793" y="0"/>
                  <a:pt x="300082" y="0"/>
                </a:cubicBezTo>
                <a:cubicBezTo>
                  <a:pt x="134371" y="0"/>
                  <a:pt x="0" y="133979"/>
                  <a:pt x="0" y="299299"/>
                </a:cubicBezTo>
                <a:lnTo>
                  <a:pt x="0" y="299299"/>
                </a:lnTo>
                <a:close/>
              </a:path>
            </a:pathLst>
          </a:custGeom>
          <a:solidFill>
            <a:srgbClr val="F2F2F3"/>
          </a:solidFill>
          <a:ln w="13042"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18760404-EC4E-E653-8879-4BBBACA74B8B}"/>
              </a:ext>
            </a:extLst>
          </p:cNvPr>
          <p:cNvSpPr>
            <a:spLocks noChangeAspect="1"/>
          </p:cNvSpPr>
          <p:nvPr/>
        </p:nvSpPr>
        <p:spPr>
          <a:xfrm>
            <a:off x="619894" y="5832531"/>
            <a:ext cx="129869" cy="129530"/>
          </a:xfrm>
          <a:custGeom>
            <a:avLst/>
            <a:gdLst>
              <a:gd name="connsiteX0" fmla="*/ 0 w 600164"/>
              <a:gd name="connsiteY0" fmla="*/ 299299 h 598597"/>
              <a:gd name="connsiteX1" fmla="*/ 300082 w 600164"/>
              <a:gd name="connsiteY1" fmla="*/ 598597 h 598597"/>
              <a:gd name="connsiteX2" fmla="*/ 600164 w 600164"/>
              <a:gd name="connsiteY2" fmla="*/ 299299 h 598597"/>
              <a:gd name="connsiteX3" fmla="*/ 300082 w 600164"/>
              <a:gd name="connsiteY3" fmla="*/ 0 h 598597"/>
              <a:gd name="connsiteX4" fmla="*/ 0 w 600164"/>
              <a:gd name="connsiteY4" fmla="*/ 299299 h 598597"/>
              <a:gd name="connsiteX5" fmla="*/ 0 w 600164"/>
              <a:gd name="connsiteY5" fmla="*/ 299299 h 5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164" h="598597">
                <a:moveTo>
                  <a:pt x="0" y="299299"/>
                </a:moveTo>
                <a:cubicBezTo>
                  <a:pt x="0" y="464618"/>
                  <a:pt x="134371" y="598597"/>
                  <a:pt x="300082" y="598597"/>
                </a:cubicBezTo>
                <a:cubicBezTo>
                  <a:pt x="465793" y="598597"/>
                  <a:pt x="600164" y="464618"/>
                  <a:pt x="600164" y="299299"/>
                </a:cubicBezTo>
                <a:cubicBezTo>
                  <a:pt x="600164" y="133979"/>
                  <a:pt x="465793" y="0"/>
                  <a:pt x="300082" y="0"/>
                </a:cubicBezTo>
                <a:cubicBezTo>
                  <a:pt x="134371" y="0"/>
                  <a:pt x="0" y="133979"/>
                  <a:pt x="0" y="299299"/>
                </a:cubicBezTo>
                <a:lnTo>
                  <a:pt x="0" y="299299"/>
                </a:lnTo>
                <a:close/>
              </a:path>
            </a:pathLst>
          </a:custGeom>
          <a:solidFill>
            <a:srgbClr val="F2F2F3"/>
          </a:solidFill>
          <a:ln w="13042" cap="flat">
            <a:noFill/>
            <a:prstDash val="solid"/>
            <a:miter/>
          </a:ln>
        </p:spPr>
        <p:txBody>
          <a:bodyPr rtlCol="0" anchor="ctr"/>
          <a:lstStyle/>
          <a:p>
            <a:endParaRPr lang="en-US" dirty="0"/>
          </a:p>
        </p:txBody>
      </p:sp>
      <p:pic>
        <p:nvPicPr>
          <p:cNvPr id="107" name="Graphic 106">
            <a:extLst>
              <a:ext uri="{FF2B5EF4-FFF2-40B4-BE49-F238E27FC236}">
                <a16:creationId xmlns:a16="http://schemas.microsoft.com/office/drawing/2014/main" id="{85A8DE37-4609-7DE0-EC2C-2A6894A8BA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3330" y="2639626"/>
            <a:ext cx="556901" cy="576287"/>
          </a:xfrm>
          <a:prstGeom prst="rect">
            <a:avLst/>
          </a:prstGeom>
        </p:spPr>
      </p:pic>
      <p:pic>
        <p:nvPicPr>
          <p:cNvPr id="109" name="Graphic 108">
            <a:extLst>
              <a:ext uri="{FF2B5EF4-FFF2-40B4-BE49-F238E27FC236}">
                <a16:creationId xmlns:a16="http://schemas.microsoft.com/office/drawing/2014/main" id="{9D1BC568-F8D2-12F9-9DF7-813B7AF70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65002" y="3400210"/>
            <a:ext cx="477490" cy="476029"/>
          </a:xfrm>
          <a:prstGeom prst="rect">
            <a:avLst/>
          </a:prstGeom>
        </p:spPr>
      </p:pic>
      <p:pic>
        <p:nvPicPr>
          <p:cNvPr id="111" name="Graphic 110">
            <a:extLst>
              <a:ext uri="{FF2B5EF4-FFF2-40B4-BE49-F238E27FC236}">
                <a16:creationId xmlns:a16="http://schemas.microsoft.com/office/drawing/2014/main" id="{9FEEE921-9BE5-0579-3145-871404896D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330" y="4155336"/>
            <a:ext cx="663801" cy="507389"/>
          </a:xfrm>
          <a:prstGeom prst="rect">
            <a:avLst/>
          </a:prstGeom>
        </p:spPr>
      </p:pic>
      <p:pic>
        <p:nvPicPr>
          <p:cNvPr id="115" name="Graphic 114">
            <a:extLst>
              <a:ext uri="{FF2B5EF4-FFF2-40B4-BE49-F238E27FC236}">
                <a16:creationId xmlns:a16="http://schemas.microsoft.com/office/drawing/2014/main" id="{73A5C54E-1D31-AF53-B268-7D3ACF0B074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7085" y="5599874"/>
            <a:ext cx="548529" cy="507389"/>
          </a:xfrm>
          <a:prstGeom prst="rect">
            <a:avLst/>
          </a:prstGeom>
        </p:spPr>
      </p:pic>
      <p:pic>
        <p:nvPicPr>
          <p:cNvPr id="117" name="Graphic 116">
            <a:extLst>
              <a:ext uri="{FF2B5EF4-FFF2-40B4-BE49-F238E27FC236}">
                <a16:creationId xmlns:a16="http://schemas.microsoft.com/office/drawing/2014/main" id="{1DBC5C1F-2455-8E51-165E-AF59F681BE5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465831" y="4870647"/>
            <a:ext cx="610605" cy="495970"/>
          </a:xfrm>
          <a:prstGeom prst="rect">
            <a:avLst/>
          </a:prstGeom>
        </p:spPr>
      </p:pic>
      <p:sp>
        <p:nvSpPr>
          <p:cNvPr id="13" name="Footer Placeholder 24">
            <a:extLst>
              <a:ext uri="{FF2B5EF4-FFF2-40B4-BE49-F238E27FC236}">
                <a16:creationId xmlns:a16="http://schemas.microsoft.com/office/drawing/2014/main" id="{CF230A42-2E45-5DBE-2234-B6D3607208CC}"/>
              </a:ext>
            </a:extLst>
          </p:cNvPr>
          <p:cNvSpPr txBox="1">
            <a:spLocks/>
          </p:cNvSpPr>
          <p:nvPr/>
        </p:nvSpPr>
        <p:spPr>
          <a:xfrm>
            <a:off x="550863" y="6466953"/>
            <a:ext cx="4729614" cy="13716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i="1" dirty="0"/>
              <a:t>Sources: </a:t>
            </a:r>
            <a:r>
              <a:rPr lang="en-US" sz="1000" i="1" dirty="0"/>
              <a:t>Data Science Process Alliance “What is CRISP DM? (2022)”</a:t>
            </a:r>
          </a:p>
        </p:txBody>
      </p:sp>
    </p:spTree>
    <p:extLst>
      <p:ext uri="{BB962C8B-B14F-4D97-AF65-F5344CB8AC3E}">
        <p14:creationId xmlns:p14="http://schemas.microsoft.com/office/powerpoint/2010/main" val="777246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76C08431-8617-22E1-201F-515EC4B52A21}"/>
              </a:ext>
            </a:extLst>
          </p:cNvPr>
          <p:cNvGraphicFramePr>
            <a:graphicFrameLocks noChangeAspect="1"/>
          </p:cNvGraphicFramePr>
          <p:nvPr>
            <p:custDataLst>
              <p:tags r:id="rId1"/>
            </p:custDataLst>
            <p:extLst>
              <p:ext uri="{D42A27DB-BD31-4B8C-83A1-F6EECF244321}">
                <p14:modId xmlns:p14="http://schemas.microsoft.com/office/powerpoint/2010/main" val="279917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2" name="Object 41" hidden="1">
                        <a:extLst>
                          <a:ext uri="{FF2B5EF4-FFF2-40B4-BE49-F238E27FC236}">
                            <a16:creationId xmlns:a16="http://schemas.microsoft.com/office/drawing/2014/main" id="{76C08431-8617-22E1-201F-515EC4B52A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4">
            <a:extLst>
              <a:ext uri="{FF2B5EF4-FFF2-40B4-BE49-F238E27FC236}">
                <a16:creationId xmlns:a16="http://schemas.microsoft.com/office/drawing/2014/main" id="{101E7F64-4BF6-0DCB-CC0C-5205CEC9B689}"/>
              </a:ext>
            </a:extLst>
          </p:cNvPr>
          <p:cNvSpPr txBox="1">
            <a:spLocks/>
          </p:cNvSpPr>
          <p:nvPr/>
        </p:nvSpPr>
        <p:spPr>
          <a:xfrm>
            <a:off x="550863" y="6466953"/>
            <a:ext cx="4729614" cy="13716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i="1" dirty="0"/>
              <a:t>Sources: </a:t>
            </a:r>
            <a:r>
              <a:rPr lang="en-US" sz="1000" i="1" dirty="0"/>
              <a:t>Press search</a:t>
            </a:r>
          </a:p>
        </p:txBody>
      </p:sp>
      <p:sp>
        <p:nvSpPr>
          <p:cNvPr id="2" name="Title 1">
            <a:extLst>
              <a:ext uri="{FF2B5EF4-FFF2-40B4-BE49-F238E27FC236}">
                <a16:creationId xmlns:a16="http://schemas.microsoft.com/office/drawing/2014/main" id="{2905BCA3-31A6-3A5F-998A-AAB1B0E3F19C}"/>
              </a:ext>
            </a:extLst>
          </p:cNvPr>
          <p:cNvSpPr>
            <a:spLocks noGrp="1"/>
          </p:cNvSpPr>
          <p:nvPr>
            <p:ph type="title"/>
          </p:nvPr>
        </p:nvSpPr>
        <p:spPr>
          <a:xfrm>
            <a:off x="531813" y="560588"/>
            <a:ext cx="11089972" cy="332399"/>
          </a:xfrm>
        </p:spPr>
        <p:txBody>
          <a:bodyPr vert="horz"/>
          <a:lstStyle/>
          <a:p>
            <a:r>
              <a:rPr lang="en-US" sz="2400" dirty="0"/>
              <a:t>Businesses leverage data analytics for various purposes </a:t>
            </a:r>
          </a:p>
        </p:txBody>
      </p:sp>
      <p:sp>
        <p:nvSpPr>
          <p:cNvPr id="6" name="Google Shape;605;p36">
            <a:extLst>
              <a:ext uri="{FF2B5EF4-FFF2-40B4-BE49-F238E27FC236}">
                <a16:creationId xmlns:a16="http://schemas.microsoft.com/office/drawing/2014/main" id="{2AD48BB7-97C6-B405-87FE-BBF44271C993}"/>
              </a:ext>
            </a:extLst>
          </p:cNvPr>
          <p:cNvSpPr/>
          <p:nvPr/>
        </p:nvSpPr>
        <p:spPr>
          <a:xfrm>
            <a:off x="577850" y="5344101"/>
            <a:ext cx="82296" cy="731520"/>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16" name="Google Shape;493;p34">
            <a:extLst>
              <a:ext uri="{FF2B5EF4-FFF2-40B4-BE49-F238E27FC236}">
                <a16:creationId xmlns:a16="http://schemas.microsoft.com/office/drawing/2014/main" id="{38346FF8-CBEA-32EA-0F05-F5CB16AD2342}"/>
              </a:ext>
            </a:extLst>
          </p:cNvPr>
          <p:cNvSpPr txBox="1"/>
          <p:nvPr/>
        </p:nvSpPr>
        <p:spPr>
          <a:xfrm>
            <a:off x="1748538" y="5392333"/>
            <a:ext cx="3657600" cy="635056"/>
          </a:xfrm>
          <a:prstGeom prst="rect">
            <a:avLst/>
          </a:prstGeom>
          <a:noFill/>
          <a:ln>
            <a:noFill/>
          </a:ln>
        </p:spPr>
        <p:txBody>
          <a:bodyPr spcFirstLastPara="1" wrap="square" lIns="91425" tIns="0" rIns="91425" bIns="0" anchor="t" anchorCtr="0">
            <a:noAutofit/>
          </a:bodyPr>
          <a:lstStyle/>
          <a:p>
            <a:r>
              <a:rPr lang="en-US" sz="1600" b="1" dirty="0">
                <a:solidFill>
                  <a:schemeClr val="tx2"/>
                </a:solidFill>
              </a:rPr>
              <a:t>Recommendation engines</a:t>
            </a:r>
            <a:endParaRPr lang="en-US" sz="1600" dirty="0">
              <a:solidFill>
                <a:schemeClr val="tx2"/>
              </a:solidFill>
            </a:endParaRPr>
          </a:p>
          <a:p>
            <a:r>
              <a:rPr lang="en-US" sz="1200" dirty="0">
                <a:solidFill>
                  <a:schemeClr val="bg2">
                    <a:lumMod val="10000"/>
                  </a:schemeClr>
                </a:solidFill>
              </a:rPr>
              <a:t>Building detailed profiles of individual customers and tailoring products and services to their specific needs</a:t>
            </a:r>
            <a:endParaRPr lang="en-US" sz="1400" dirty="0">
              <a:solidFill>
                <a:schemeClr val="bg2">
                  <a:lumMod val="10000"/>
                </a:schemeClr>
              </a:solidFill>
            </a:endParaRPr>
          </a:p>
        </p:txBody>
      </p:sp>
      <p:sp>
        <p:nvSpPr>
          <p:cNvPr id="21" name="Google Shape;498;p34">
            <a:extLst>
              <a:ext uri="{FF2B5EF4-FFF2-40B4-BE49-F238E27FC236}">
                <a16:creationId xmlns:a16="http://schemas.microsoft.com/office/drawing/2014/main" id="{7852F8F1-F1F7-B925-9D4D-F65D4EEB4F3E}"/>
              </a:ext>
            </a:extLst>
          </p:cNvPr>
          <p:cNvSpPr txBox="1"/>
          <p:nvPr/>
        </p:nvSpPr>
        <p:spPr>
          <a:xfrm>
            <a:off x="7518648" y="5315257"/>
            <a:ext cx="3657600" cy="789209"/>
          </a:xfrm>
          <a:prstGeom prst="rect">
            <a:avLst/>
          </a:prstGeom>
          <a:noFill/>
          <a:ln>
            <a:noFill/>
          </a:ln>
        </p:spPr>
        <p:txBody>
          <a:bodyPr spcFirstLastPara="1" wrap="square" lIns="91425" tIns="0" rIns="91425" bIns="0" anchor="t" anchorCtr="0">
            <a:noAutofit/>
          </a:bodyPr>
          <a:lstStyle/>
          <a:p>
            <a:r>
              <a:rPr lang="en-US" sz="1600" b="1" dirty="0">
                <a:solidFill>
                  <a:schemeClr val="tx2"/>
                </a:solidFill>
              </a:rPr>
              <a:t>Autonomous systems</a:t>
            </a:r>
            <a:endParaRPr lang="en-US" sz="1600" dirty="0">
              <a:solidFill>
                <a:schemeClr val="tx2"/>
              </a:solidFill>
            </a:endParaRPr>
          </a:p>
          <a:p>
            <a:r>
              <a:rPr lang="en-US" sz="1200" dirty="0">
                <a:solidFill>
                  <a:schemeClr val="bg2">
                    <a:lumMod val="10000"/>
                  </a:schemeClr>
                </a:solidFill>
              </a:rPr>
              <a:t>Making the development of autonomous vehicles, AI-powered robotics, and other intelligent machines more feasible</a:t>
            </a:r>
            <a:endParaRPr lang="en-US" sz="1400" dirty="0">
              <a:solidFill>
                <a:schemeClr val="bg2">
                  <a:lumMod val="10000"/>
                </a:schemeClr>
              </a:solidFill>
            </a:endParaRPr>
          </a:p>
        </p:txBody>
      </p:sp>
      <p:sp>
        <p:nvSpPr>
          <p:cNvPr id="25" name="Google Shape;605;p36">
            <a:extLst>
              <a:ext uri="{FF2B5EF4-FFF2-40B4-BE49-F238E27FC236}">
                <a16:creationId xmlns:a16="http://schemas.microsoft.com/office/drawing/2014/main" id="{0597357A-4593-5B97-632C-60C66E413C00}"/>
              </a:ext>
            </a:extLst>
          </p:cNvPr>
          <p:cNvSpPr/>
          <p:nvPr/>
        </p:nvSpPr>
        <p:spPr>
          <a:xfrm>
            <a:off x="6240463" y="5344101"/>
            <a:ext cx="82296" cy="731520"/>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7" name="Google Shape;607;p36">
            <a:extLst>
              <a:ext uri="{FF2B5EF4-FFF2-40B4-BE49-F238E27FC236}">
                <a16:creationId xmlns:a16="http://schemas.microsoft.com/office/drawing/2014/main" id="{D2E79DF4-8C05-73B7-4AFE-FF8C0FC517EB}"/>
              </a:ext>
            </a:extLst>
          </p:cNvPr>
          <p:cNvSpPr/>
          <p:nvPr/>
        </p:nvSpPr>
        <p:spPr>
          <a:xfrm>
            <a:off x="577850" y="1971459"/>
            <a:ext cx="82296" cy="731520"/>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13" name="Google Shape;434;p34">
            <a:extLst>
              <a:ext uri="{FF2B5EF4-FFF2-40B4-BE49-F238E27FC236}">
                <a16:creationId xmlns:a16="http://schemas.microsoft.com/office/drawing/2014/main" id="{861FEFF8-92E8-FAAE-71A6-6387EA1E8A06}"/>
              </a:ext>
            </a:extLst>
          </p:cNvPr>
          <p:cNvSpPr txBox="1"/>
          <p:nvPr/>
        </p:nvSpPr>
        <p:spPr>
          <a:xfrm>
            <a:off x="1748538" y="2038317"/>
            <a:ext cx="3657600" cy="597804"/>
          </a:xfrm>
          <a:prstGeom prst="rect">
            <a:avLst/>
          </a:prstGeom>
          <a:noFill/>
          <a:ln>
            <a:noFill/>
          </a:ln>
        </p:spPr>
        <p:txBody>
          <a:bodyPr spcFirstLastPara="1" wrap="square" lIns="91425" tIns="0" rIns="91425" bIns="0" anchor="t" anchorCtr="0">
            <a:noAutofit/>
          </a:bodyPr>
          <a:lstStyle/>
          <a:p>
            <a:r>
              <a:rPr lang="en-US" sz="1600" b="1" dirty="0">
                <a:solidFill>
                  <a:schemeClr val="tx2"/>
                </a:solidFill>
              </a:rPr>
              <a:t>Anomaly detection</a:t>
            </a:r>
            <a:endParaRPr lang="en-US" sz="1600" dirty="0">
              <a:solidFill>
                <a:schemeClr val="tx2"/>
              </a:solidFill>
            </a:endParaRPr>
          </a:p>
          <a:p>
            <a:r>
              <a:rPr lang="en-US" sz="1200" dirty="0">
                <a:solidFill>
                  <a:schemeClr val="bg2">
                    <a:lumMod val="10000"/>
                  </a:schemeClr>
                </a:solidFill>
              </a:rPr>
              <a:t>Spotting anomalies in data sets for fraud detection and cybersecurity</a:t>
            </a:r>
            <a:endParaRPr lang="en-US" sz="1400" dirty="0">
              <a:solidFill>
                <a:schemeClr val="bg2">
                  <a:lumMod val="10000"/>
                </a:schemeClr>
              </a:solidFill>
            </a:endParaRPr>
          </a:p>
        </p:txBody>
      </p:sp>
      <p:sp>
        <p:nvSpPr>
          <p:cNvPr id="18" name="Google Shape;444;p34">
            <a:extLst>
              <a:ext uri="{FF2B5EF4-FFF2-40B4-BE49-F238E27FC236}">
                <a16:creationId xmlns:a16="http://schemas.microsoft.com/office/drawing/2014/main" id="{C34DE201-B4C5-A8D0-479B-B2D78BCD7DB7}"/>
              </a:ext>
            </a:extLst>
          </p:cNvPr>
          <p:cNvSpPr txBox="1"/>
          <p:nvPr/>
        </p:nvSpPr>
        <p:spPr>
          <a:xfrm>
            <a:off x="7518648" y="1945888"/>
            <a:ext cx="3657600" cy="782663"/>
          </a:xfrm>
          <a:prstGeom prst="rect">
            <a:avLst/>
          </a:prstGeom>
          <a:noFill/>
          <a:ln>
            <a:noFill/>
          </a:ln>
        </p:spPr>
        <p:txBody>
          <a:bodyPr spcFirstLastPara="1" wrap="square" lIns="91425" tIns="0" rIns="91425" bIns="0" anchor="t" anchorCtr="0">
            <a:noAutofit/>
          </a:bodyPr>
          <a:lstStyle/>
          <a:p>
            <a:r>
              <a:rPr lang="en-US" sz="1600" b="1" dirty="0">
                <a:solidFill>
                  <a:schemeClr val="tx2"/>
                </a:solidFill>
              </a:rPr>
              <a:t>Classification &amp; categorization</a:t>
            </a:r>
            <a:endParaRPr lang="en-US" sz="1600" dirty="0">
              <a:solidFill>
                <a:schemeClr val="tx2"/>
              </a:solidFill>
            </a:endParaRPr>
          </a:p>
          <a:p>
            <a:r>
              <a:rPr lang="en-US" sz="1200" dirty="0">
                <a:solidFill>
                  <a:schemeClr val="bg2">
                    <a:lumMod val="10000"/>
                  </a:schemeClr>
                </a:solidFill>
              </a:rPr>
              <a:t>Sorting through large amounts of data and categorizing or classifying it based on learned characteristics, which is especially useful with unstructured data</a:t>
            </a:r>
            <a:endParaRPr lang="en-US" sz="1400" dirty="0">
              <a:solidFill>
                <a:schemeClr val="bg2">
                  <a:lumMod val="10000"/>
                </a:schemeClr>
              </a:solidFill>
            </a:endParaRPr>
          </a:p>
        </p:txBody>
      </p:sp>
      <p:sp>
        <p:nvSpPr>
          <p:cNvPr id="26" name="Google Shape;607;p36">
            <a:extLst>
              <a:ext uri="{FF2B5EF4-FFF2-40B4-BE49-F238E27FC236}">
                <a16:creationId xmlns:a16="http://schemas.microsoft.com/office/drawing/2014/main" id="{8B9250D3-B540-623A-1758-FD79CFDE0612}"/>
              </a:ext>
            </a:extLst>
          </p:cNvPr>
          <p:cNvSpPr/>
          <p:nvPr/>
        </p:nvSpPr>
        <p:spPr>
          <a:xfrm>
            <a:off x="6240463" y="1971459"/>
            <a:ext cx="82296" cy="731520"/>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4" name="Google Shape;603;p36">
            <a:extLst>
              <a:ext uri="{FF2B5EF4-FFF2-40B4-BE49-F238E27FC236}">
                <a16:creationId xmlns:a16="http://schemas.microsoft.com/office/drawing/2014/main" id="{023F8D7D-9734-BD1B-3C96-21DC2F19FCDC}"/>
              </a:ext>
            </a:extLst>
          </p:cNvPr>
          <p:cNvSpPr/>
          <p:nvPr/>
        </p:nvSpPr>
        <p:spPr>
          <a:xfrm>
            <a:off x="577850" y="3087377"/>
            <a:ext cx="82296" cy="731520"/>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14" name="Google Shape;439;p34">
            <a:extLst>
              <a:ext uri="{FF2B5EF4-FFF2-40B4-BE49-F238E27FC236}">
                <a16:creationId xmlns:a16="http://schemas.microsoft.com/office/drawing/2014/main" id="{80F70926-E33A-9A52-B2EC-92624E12B4CD}"/>
              </a:ext>
            </a:extLst>
          </p:cNvPr>
          <p:cNvSpPr txBox="1"/>
          <p:nvPr/>
        </p:nvSpPr>
        <p:spPr>
          <a:xfrm>
            <a:off x="1748538" y="3027597"/>
            <a:ext cx="3657600" cy="851081"/>
          </a:xfrm>
          <a:prstGeom prst="rect">
            <a:avLst/>
          </a:prstGeom>
          <a:noFill/>
          <a:ln>
            <a:noFill/>
          </a:ln>
        </p:spPr>
        <p:txBody>
          <a:bodyPr spcFirstLastPara="1" wrap="square" lIns="91425" tIns="0" rIns="91425" bIns="0" anchor="t" anchorCtr="0">
            <a:noAutofit/>
          </a:bodyPr>
          <a:lstStyle/>
          <a:p>
            <a:r>
              <a:rPr lang="en-US" sz="1600" b="1" dirty="0">
                <a:solidFill>
                  <a:schemeClr val="tx2"/>
                </a:solidFill>
              </a:rPr>
              <a:t>Pattern recognition</a:t>
            </a:r>
            <a:endParaRPr lang="en-US" sz="1600" dirty="0">
              <a:solidFill>
                <a:schemeClr val="tx2"/>
              </a:solidFill>
            </a:endParaRPr>
          </a:p>
          <a:p>
            <a:r>
              <a:rPr lang="en-US" sz="1200" dirty="0">
                <a:solidFill>
                  <a:schemeClr val="bg2">
                    <a:lumMod val="10000"/>
                  </a:schemeClr>
                </a:solidFill>
              </a:rPr>
              <a:t>Identifying customer purchasing behavior patterns helps develop relevant marketing strategies and ensure supply chain reliability</a:t>
            </a:r>
            <a:endParaRPr lang="en-US" sz="1400" dirty="0">
              <a:solidFill>
                <a:schemeClr val="bg2">
                  <a:lumMod val="10000"/>
                </a:schemeClr>
              </a:solidFill>
            </a:endParaRPr>
          </a:p>
        </p:txBody>
      </p:sp>
      <p:sp>
        <p:nvSpPr>
          <p:cNvPr id="19" name="Google Shape;449;p34">
            <a:extLst>
              <a:ext uri="{FF2B5EF4-FFF2-40B4-BE49-F238E27FC236}">
                <a16:creationId xmlns:a16="http://schemas.microsoft.com/office/drawing/2014/main" id="{E695EF6C-A931-FE3A-B559-7F29F4587B17}"/>
              </a:ext>
            </a:extLst>
          </p:cNvPr>
          <p:cNvSpPr txBox="1"/>
          <p:nvPr/>
        </p:nvSpPr>
        <p:spPr>
          <a:xfrm>
            <a:off x="7518648" y="3154235"/>
            <a:ext cx="3657600" cy="597804"/>
          </a:xfrm>
          <a:prstGeom prst="rect">
            <a:avLst/>
          </a:prstGeom>
          <a:noFill/>
          <a:ln>
            <a:noFill/>
          </a:ln>
        </p:spPr>
        <p:txBody>
          <a:bodyPr spcFirstLastPara="1" wrap="square" lIns="91425" tIns="0" rIns="91425" bIns="0" anchor="t" anchorCtr="0">
            <a:noAutofit/>
          </a:bodyPr>
          <a:lstStyle/>
          <a:p>
            <a:r>
              <a:rPr lang="en-US" sz="1600" b="1" dirty="0">
                <a:solidFill>
                  <a:schemeClr val="tx2"/>
                </a:solidFill>
              </a:rPr>
              <a:t>Sentiment &amp; behavioral analysis</a:t>
            </a:r>
            <a:endParaRPr lang="en-US" sz="1600" dirty="0">
              <a:solidFill>
                <a:schemeClr val="tx2"/>
              </a:solidFill>
            </a:endParaRPr>
          </a:p>
          <a:p>
            <a:r>
              <a:rPr lang="en-US" sz="1200" dirty="0">
                <a:solidFill>
                  <a:schemeClr val="bg2">
                    <a:lumMod val="10000"/>
                  </a:schemeClr>
                </a:solidFill>
              </a:rPr>
              <a:t>Categorizing customer sentiment and behavior and tracking how they change over time</a:t>
            </a:r>
            <a:endParaRPr lang="en-US" sz="1400" dirty="0">
              <a:solidFill>
                <a:schemeClr val="bg2">
                  <a:lumMod val="10000"/>
                </a:schemeClr>
              </a:solidFill>
            </a:endParaRPr>
          </a:p>
        </p:txBody>
      </p:sp>
      <p:sp>
        <p:nvSpPr>
          <p:cNvPr id="23" name="Google Shape;603;p36">
            <a:extLst>
              <a:ext uri="{FF2B5EF4-FFF2-40B4-BE49-F238E27FC236}">
                <a16:creationId xmlns:a16="http://schemas.microsoft.com/office/drawing/2014/main" id="{BB91BD2B-A4AE-9C7D-DE87-B4545CC562AB}"/>
              </a:ext>
            </a:extLst>
          </p:cNvPr>
          <p:cNvSpPr/>
          <p:nvPr/>
        </p:nvSpPr>
        <p:spPr>
          <a:xfrm>
            <a:off x="6240463" y="3087377"/>
            <a:ext cx="82296" cy="731520"/>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5" name="Google Shape;604;p36">
            <a:extLst>
              <a:ext uri="{FF2B5EF4-FFF2-40B4-BE49-F238E27FC236}">
                <a16:creationId xmlns:a16="http://schemas.microsoft.com/office/drawing/2014/main" id="{76884656-E78C-EE48-F59C-BC1499A2D6A7}"/>
              </a:ext>
            </a:extLst>
          </p:cNvPr>
          <p:cNvSpPr/>
          <p:nvPr/>
        </p:nvSpPr>
        <p:spPr>
          <a:xfrm>
            <a:off x="577850" y="4231208"/>
            <a:ext cx="82296" cy="731520"/>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15" name="Google Shape;483;p34">
            <a:extLst>
              <a:ext uri="{FF2B5EF4-FFF2-40B4-BE49-F238E27FC236}">
                <a16:creationId xmlns:a16="http://schemas.microsoft.com/office/drawing/2014/main" id="{8E512632-9CC4-74B0-58F1-80649BD3CB2B}"/>
              </a:ext>
            </a:extLst>
          </p:cNvPr>
          <p:cNvSpPr txBox="1"/>
          <p:nvPr/>
        </p:nvSpPr>
        <p:spPr>
          <a:xfrm>
            <a:off x="1748538" y="4177724"/>
            <a:ext cx="3657600" cy="838488"/>
          </a:xfrm>
          <a:prstGeom prst="rect">
            <a:avLst/>
          </a:prstGeom>
          <a:noFill/>
          <a:ln>
            <a:noFill/>
          </a:ln>
        </p:spPr>
        <p:txBody>
          <a:bodyPr spcFirstLastPara="1" wrap="square" lIns="91425" tIns="0" rIns="91425" bIns="0" anchor="t" anchorCtr="0">
            <a:noAutofit/>
          </a:bodyPr>
          <a:lstStyle/>
          <a:p>
            <a:pPr>
              <a:buClr>
                <a:srgbClr val="000000"/>
              </a:buClr>
              <a:defRPr/>
            </a:pPr>
            <a:r>
              <a:rPr lang="en-US" sz="1600" b="1" dirty="0">
                <a:solidFill>
                  <a:schemeClr val="tx2"/>
                </a:solidFill>
              </a:rPr>
              <a:t>Predictive modeling</a:t>
            </a:r>
            <a:endParaRPr kumimoji="0" lang="en-US" sz="1600" b="0" i="0" u="none" strike="noStrike" kern="0" cap="none" spc="0" normalizeH="0" baseline="0" noProof="0" dirty="0">
              <a:ln>
                <a:noFill/>
              </a:ln>
              <a:solidFill>
                <a:schemeClr val="tx2"/>
              </a:solidFill>
              <a:effectLst/>
              <a:uLnTx/>
              <a:uFillTx/>
              <a:ea typeface="Roboto"/>
              <a:cs typeface="Roboto"/>
              <a:sym typeface="Roboto"/>
            </a:endParaRPr>
          </a:p>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ea typeface="Roboto"/>
                <a:cs typeface="Roboto"/>
                <a:sym typeface="Roboto"/>
              </a:rPr>
              <a:t>Applying machine learning </a:t>
            </a:r>
            <a:r>
              <a:rPr lang="en-US" sz="1200" dirty="0"/>
              <a:t>and other algorithmic approaches </a:t>
            </a:r>
            <a:r>
              <a:rPr kumimoji="0" lang="en-US" sz="1200" b="0" i="0" u="none" strike="noStrike" kern="0" cap="none" spc="0" normalizeH="0" baseline="0" noProof="0" dirty="0">
                <a:ln>
                  <a:noFill/>
                </a:ln>
                <a:solidFill>
                  <a:srgbClr val="000000"/>
                </a:solidFill>
                <a:effectLst/>
                <a:uLnTx/>
                <a:uFillTx/>
                <a:ea typeface="Roboto"/>
                <a:cs typeface="Roboto"/>
                <a:sym typeface="Roboto"/>
              </a:rPr>
              <a:t>to large data sets to predict market trends and customer behavior</a:t>
            </a:r>
          </a:p>
        </p:txBody>
      </p:sp>
      <p:sp>
        <p:nvSpPr>
          <p:cNvPr id="20" name="Google Shape;488;p34">
            <a:extLst>
              <a:ext uri="{FF2B5EF4-FFF2-40B4-BE49-F238E27FC236}">
                <a16:creationId xmlns:a16="http://schemas.microsoft.com/office/drawing/2014/main" id="{ACB4611C-62C0-2FA7-964A-910FA961F20F}"/>
              </a:ext>
            </a:extLst>
          </p:cNvPr>
          <p:cNvSpPr txBox="1"/>
          <p:nvPr/>
        </p:nvSpPr>
        <p:spPr>
          <a:xfrm>
            <a:off x="7518648" y="4298066"/>
            <a:ext cx="3657600" cy="597804"/>
          </a:xfrm>
          <a:prstGeom prst="rect">
            <a:avLst/>
          </a:prstGeom>
          <a:noFill/>
          <a:ln>
            <a:noFill/>
          </a:ln>
        </p:spPr>
        <p:txBody>
          <a:bodyPr spcFirstLastPara="1" wrap="square" lIns="91425" tIns="0" rIns="91425" bIns="0" anchor="t" anchorCtr="0">
            <a:noAutofit/>
          </a:bodyPr>
          <a:lstStyle/>
          <a:p>
            <a:r>
              <a:rPr lang="en-US" sz="1600" b="1" dirty="0">
                <a:solidFill>
                  <a:schemeClr val="tx2"/>
                </a:solidFill>
              </a:rPr>
              <a:t>Conversational systems</a:t>
            </a:r>
            <a:endParaRPr lang="en-US" sz="1600" dirty="0">
              <a:solidFill>
                <a:schemeClr val="tx2"/>
              </a:solidFill>
            </a:endParaRPr>
          </a:p>
          <a:p>
            <a:r>
              <a:rPr lang="en-US" sz="1200" dirty="0">
                <a:solidFill>
                  <a:schemeClr val="bg2">
                    <a:lumMod val="10000"/>
                  </a:schemeClr>
                </a:solidFill>
              </a:rPr>
              <a:t>Training systems on large amounts of texts to derive conversational patterns from the data</a:t>
            </a:r>
            <a:endParaRPr lang="en-US" sz="1400" dirty="0">
              <a:solidFill>
                <a:schemeClr val="bg2">
                  <a:lumMod val="10000"/>
                </a:schemeClr>
              </a:solidFill>
            </a:endParaRPr>
          </a:p>
        </p:txBody>
      </p:sp>
      <p:sp>
        <p:nvSpPr>
          <p:cNvPr id="24" name="Google Shape;604;p36">
            <a:extLst>
              <a:ext uri="{FF2B5EF4-FFF2-40B4-BE49-F238E27FC236}">
                <a16:creationId xmlns:a16="http://schemas.microsoft.com/office/drawing/2014/main" id="{B58952CA-56D8-1382-189F-C86618E9085E}"/>
              </a:ext>
            </a:extLst>
          </p:cNvPr>
          <p:cNvSpPr/>
          <p:nvPr/>
        </p:nvSpPr>
        <p:spPr>
          <a:xfrm>
            <a:off x="6240463" y="4231208"/>
            <a:ext cx="82296" cy="731520"/>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951711EA-8DFC-8261-5A49-67FBED18B710}"/>
              </a:ext>
            </a:extLst>
          </p:cNvPr>
          <p:cNvGrpSpPr/>
          <p:nvPr/>
        </p:nvGrpSpPr>
        <p:grpSpPr>
          <a:xfrm>
            <a:off x="798238" y="3087377"/>
            <a:ext cx="731520" cy="731520"/>
            <a:chOff x="798238" y="3087377"/>
            <a:chExt cx="731520" cy="731520"/>
          </a:xfrm>
        </p:grpSpPr>
        <p:sp>
          <p:nvSpPr>
            <p:cNvPr id="44" name="Google Shape;518;p34">
              <a:extLst>
                <a:ext uri="{FF2B5EF4-FFF2-40B4-BE49-F238E27FC236}">
                  <a16:creationId xmlns:a16="http://schemas.microsoft.com/office/drawing/2014/main" id="{87542937-4067-6EB1-F5D8-EF104BF65A66}"/>
                </a:ext>
              </a:extLst>
            </p:cNvPr>
            <p:cNvSpPr>
              <a:spLocks noChangeAspect="1"/>
            </p:cNvSpPr>
            <p:nvPr/>
          </p:nvSpPr>
          <p:spPr>
            <a:xfrm>
              <a:off x="798238" y="3087377"/>
              <a:ext cx="731520" cy="731520"/>
            </a:xfrm>
            <a:custGeom>
              <a:avLst/>
              <a:gdLst/>
              <a:ahLst/>
              <a:cxnLst/>
              <a:rect l="l" t="t" r="r" b="b"/>
              <a:pathLst>
                <a:path w="209017" h="209017" extrusionOk="0">
                  <a:moveTo>
                    <a:pt x="104508" y="0"/>
                  </a:moveTo>
                  <a:cubicBezTo>
                    <a:pt x="46781" y="0"/>
                    <a:pt x="0" y="46781"/>
                    <a:pt x="0" y="104508"/>
                  </a:cubicBezTo>
                  <a:cubicBezTo>
                    <a:pt x="0" y="132211"/>
                    <a:pt x="11007" y="158805"/>
                    <a:pt x="30599" y="178397"/>
                  </a:cubicBezTo>
                  <a:cubicBezTo>
                    <a:pt x="50211" y="197988"/>
                    <a:pt x="76784" y="209016"/>
                    <a:pt x="104508" y="209016"/>
                  </a:cubicBezTo>
                  <a:cubicBezTo>
                    <a:pt x="132211" y="209016"/>
                    <a:pt x="158805" y="197988"/>
                    <a:pt x="178397" y="178397"/>
                  </a:cubicBezTo>
                  <a:cubicBezTo>
                    <a:pt x="197988" y="158805"/>
                    <a:pt x="209016" y="132211"/>
                    <a:pt x="209016" y="104508"/>
                  </a:cubicBezTo>
                  <a:cubicBezTo>
                    <a:pt x="209016" y="76784"/>
                    <a:pt x="197988" y="50211"/>
                    <a:pt x="178397" y="30599"/>
                  </a:cubicBezTo>
                  <a:cubicBezTo>
                    <a:pt x="158805" y="11007"/>
                    <a:pt x="132211" y="0"/>
                    <a:pt x="104508" y="0"/>
                  </a:cubicBezTo>
                  <a:close/>
                </a:path>
              </a:pathLst>
            </a:custGeom>
            <a:solidFill>
              <a:srgbClr val="F2F2F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151" name="Group 150">
              <a:extLst>
                <a:ext uri="{FF2B5EF4-FFF2-40B4-BE49-F238E27FC236}">
                  <a16:creationId xmlns:a16="http://schemas.microsoft.com/office/drawing/2014/main" id="{D56C7087-9012-8BAA-2AB2-A22BB7207435}"/>
                </a:ext>
              </a:extLst>
            </p:cNvPr>
            <p:cNvGrpSpPr/>
            <p:nvPr/>
          </p:nvGrpSpPr>
          <p:grpSpPr>
            <a:xfrm>
              <a:off x="932727" y="3221864"/>
              <a:ext cx="462542" cy="462546"/>
              <a:chOff x="4043071" y="695800"/>
              <a:chExt cx="4111421" cy="4111461"/>
            </a:xfrm>
            <a:solidFill>
              <a:schemeClr val="tx1"/>
            </a:solidFill>
          </p:grpSpPr>
          <p:sp>
            <p:nvSpPr>
              <p:cNvPr id="22" name="Freeform: Shape 21">
                <a:extLst>
                  <a:ext uri="{FF2B5EF4-FFF2-40B4-BE49-F238E27FC236}">
                    <a16:creationId xmlns:a16="http://schemas.microsoft.com/office/drawing/2014/main" id="{BA8A5735-C362-3402-9755-469BD03A30EE}"/>
                  </a:ext>
                </a:extLst>
              </p:cNvPr>
              <p:cNvSpPr/>
              <p:nvPr/>
            </p:nvSpPr>
            <p:spPr>
              <a:xfrm>
                <a:off x="4554893" y="1206555"/>
                <a:ext cx="1072750" cy="1072749"/>
              </a:xfrm>
              <a:custGeom>
                <a:avLst/>
                <a:gdLst>
                  <a:gd name="connsiteX0" fmla="*/ 64677 w 1072750"/>
                  <a:gd name="connsiteY0" fmla="*/ 1072750 h 1072749"/>
                  <a:gd name="connsiteX1" fmla="*/ 0 w 1072750"/>
                  <a:gd name="connsiteY1" fmla="*/ 1008073 h 1072749"/>
                  <a:gd name="connsiteX2" fmla="*/ 0 w 1072750"/>
                  <a:gd name="connsiteY2" fmla="*/ 64677 h 1072749"/>
                  <a:gd name="connsiteX3" fmla="*/ 64677 w 1072750"/>
                  <a:gd name="connsiteY3" fmla="*/ 0 h 1072749"/>
                  <a:gd name="connsiteX4" fmla="*/ 1008073 w 1072750"/>
                  <a:gd name="connsiteY4" fmla="*/ 0 h 1072749"/>
                  <a:gd name="connsiteX5" fmla="*/ 1072750 w 1072750"/>
                  <a:gd name="connsiteY5" fmla="*/ 64677 h 1072749"/>
                  <a:gd name="connsiteX6" fmla="*/ 1008073 w 1072750"/>
                  <a:gd name="connsiteY6" fmla="*/ 129354 h 1072749"/>
                  <a:gd name="connsiteX7" fmla="*/ 129358 w 1072750"/>
                  <a:gd name="connsiteY7" fmla="*/ 129354 h 1072749"/>
                  <a:gd name="connsiteX8" fmla="*/ 129358 w 1072750"/>
                  <a:gd name="connsiteY8" fmla="*/ 1008069 h 1072749"/>
                  <a:gd name="connsiteX9" fmla="*/ 64681 w 1072750"/>
                  <a:gd name="connsiteY9" fmla="*/ 1072746 h 107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750" h="1072749">
                    <a:moveTo>
                      <a:pt x="64677" y="1072750"/>
                    </a:moveTo>
                    <a:cubicBezTo>
                      <a:pt x="29009" y="1072750"/>
                      <a:pt x="0" y="1043742"/>
                      <a:pt x="0" y="1008073"/>
                    </a:cubicBezTo>
                    <a:lnTo>
                      <a:pt x="0" y="64677"/>
                    </a:lnTo>
                    <a:cubicBezTo>
                      <a:pt x="0" y="29009"/>
                      <a:pt x="29008" y="0"/>
                      <a:pt x="64677" y="0"/>
                    </a:cubicBezTo>
                    <a:lnTo>
                      <a:pt x="1008073" y="0"/>
                    </a:lnTo>
                    <a:cubicBezTo>
                      <a:pt x="1043741" y="0"/>
                      <a:pt x="1072750" y="29008"/>
                      <a:pt x="1072750" y="64677"/>
                    </a:cubicBezTo>
                    <a:cubicBezTo>
                      <a:pt x="1072750" y="100344"/>
                      <a:pt x="1043742" y="129354"/>
                      <a:pt x="1008073" y="129354"/>
                    </a:cubicBezTo>
                    <a:lnTo>
                      <a:pt x="129358" y="129354"/>
                    </a:lnTo>
                    <a:lnTo>
                      <a:pt x="129358" y="1008069"/>
                    </a:lnTo>
                    <a:cubicBezTo>
                      <a:pt x="129358" y="1043737"/>
                      <a:pt x="100349" y="1072746"/>
                      <a:pt x="64681" y="1072746"/>
                    </a:cubicBezTo>
                    <a:close/>
                  </a:path>
                </a:pathLst>
              </a:custGeom>
              <a:grpFill/>
              <a:ln w="9797"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BE5E34DC-AD08-58A6-145C-5383B0D76D20}"/>
                  </a:ext>
                </a:extLst>
              </p:cNvPr>
              <p:cNvSpPr/>
              <p:nvPr/>
            </p:nvSpPr>
            <p:spPr>
              <a:xfrm>
                <a:off x="4554864" y="3221533"/>
                <a:ext cx="1072745" cy="1072750"/>
              </a:xfrm>
              <a:custGeom>
                <a:avLst/>
                <a:gdLst>
                  <a:gd name="connsiteX0" fmla="*/ 1008073 w 1072745"/>
                  <a:gd name="connsiteY0" fmla="*/ 1072750 h 1072750"/>
                  <a:gd name="connsiteX1" fmla="*/ 64677 w 1072745"/>
                  <a:gd name="connsiteY1" fmla="*/ 1072750 h 1072750"/>
                  <a:gd name="connsiteX2" fmla="*/ 0 w 1072745"/>
                  <a:gd name="connsiteY2" fmla="*/ 1008073 h 1072750"/>
                  <a:gd name="connsiteX3" fmla="*/ 0 w 1072745"/>
                  <a:gd name="connsiteY3" fmla="*/ 64677 h 1072750"/>
                  <a:gd name="connsiteX4" fmla="*/ 64677 w 1072745"/>
                  <a:gd name="connsiteY4" fmla="*/ 0 h 1072750"/>
                  <a:gd name="connsiteX5" fmla="*/ 129354 w 1072745"/>
                  <a:gd name="connsiteY5" fmla="*/ 64677 h 1072750"/>
                  <a:gd name="connsiteX6" fmla="*/ 129354 w 1072745"/>
                  <a:gd name="connsiteY6" fmla="*/ 943392 h 1072750"/>
                  <a:gd name="connsiteX7" fmla="*/ 1008069 w 1072745"/>
                  <a:gd name="connsiteY7" fmla="*/ 943392 h 1072750"/>
                  <a:gd name="connsiteX8" fmla="*/ 1072746 w 1072745"/>
                  <a:gd name="connsiteY8" fmla="*/ 1008069 h 1072750"/>
                  <a:gd name="connsiteX9" fmla="*/ 1008069 w 1072745"/>
                  <a:gd name="connsiteY9" fmla="*/ 1072746 h 107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745" h="1072750">
                    <a:moveTo>
                      <a:pt x="1008073" y="1072750"/>
                    </a:moveTo>
                    <a:lnTo>
                      <a:pt x="64677" y="1072750"/>
                    </a:lnTo>
                    <a:cubicBezTo>
                      <a:pt x="29009" y="1072750"/>
                      <a:pt x="0" y="1043742"/>
                      <a:pt x="0" y="1008073"/>
                    </a:cubicBezTo>
                    <a:lnTo>
                      <a:pt x="0" y="64677"/>
                    </a:lnTo>
                    <a:cubicBezTo>
                      <a:pt x="0" y="29009"/>
                      <a:pt x="29008" y="0"/>
                      <a:pt x="64677" y="0"/>
                    </a:cubicBezTo>
                    <a:cubicBezTo>
                      <a:pt x="100345" y="0"/>
                      <a:pt x="129354" y="29008"/>
                      <a:pt x="129354" y="64677"/>
                    </a:cubicBezTo>
                    <a:lnTo>
                      <a:pt x="129354" y="943392"/>
                    </a:lnTo>
                    <a:lnTo>
                      <a:pt x="1008069" y="943392"/>
                    </a:lnTo>
                    <a:cubicBezTo>
                      <a:pt x="1043737" y="943392"/>
                      <a:pt x="1072746" y="972401"/>
                      <a:pt x="1072746" y="1008069"/>
                    </a:cubicBezTo>
                    <a:cubicBezTo>
                      <a:pt x="1071636" y="1044885"/>
                      <a:pt x="1043737" y="1072746"/>
                      <a:pt x="1008069" y="1072746"/>
                    </a:cubicBezTo>
                    <a:close/>
                  </a:path>
                </a:pathLst>
              </a:custGeom>
              <a:grpFill/>
              <a:ln w="9797"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795A39FC-7DCB-18F3-F7B1-35B9E7C3F54C}"/>
                  </a:ext>
                </a:extLst>
              </p:cNvPr>
              <p:cNvSpPr/>
              <p:nvPr/>
            </p:nvSpPr>
            <p:spPr>
              <a:xfrm>
                <a:off x="6569944" y="1206559"/>
                <a:ext cx="1072750" cy="1072749"/>
              </a:xfrm>
              <a:custGeom>
                <a:avLst/>
                <a:gdLst>
                  <a:gd name="connsiteX0" fmla="*/ 1008069 w 1072750"/>
                  <a:gd name="connsiteY0" fmla="*/ 1072746 h 1072749"/>
                  <a:gd name="connsiteX1" fmla="*/ 943392 w 1072750"/>
                  <a:gd name="connsiteY1" fmla="*/ 1008069 h 1072749"/>
                  <a:gd name="connsiteX2" fmla="*/ 943392 w 1072750"/>
                  <a:gd name="connsiteY2" fmla="*/ 129354 h 1072749"/>
                  <a:gd name="connsiteX3" fmla="*/ 64677 w 1072750"/>
                  <a:gd name="connsiteY3" fmla="*/ 129354 h 1072749"/>
                  <a:gd name="connsiteX4" fmla="*/ 0 w 1072750"/>
                  <a:gd name="connsiteY4" fmla="*/ 64677 h 1072749"/>
                  <a:gd name="connsiteX5" fmla="*/ 64677 w 1072750"/>
                  <a:gd name="connsiteY5" fmla="*/ 0 h 1072749"/>
                  <a:gd name="connsiteX6" fmla="*/ 1008073 w 1072750"/>
                  <a:gd name="connsiteY6" fmla="*/ 0 h 1072749"/>
                  <a:gd name="connsiteX7" fmla="*/ 1072750 w 1072750"/>
                  <a:gd name="connsiteY7" fmla="*/ 64677 h 1072749"/>
                  <a:gd name="connsiteX8" fmla="*/ 1072750 w 1072750"/>
                  <a:gd name="connsiteY8" fmla="*/ 1008073 h 1072749"/>
                  <a:gd name="connsiteX9" fmla="*/ 1008073 w 1072750"/>
                  <a:gd name="connsiteY9" fmla="*/ 1072750 h 107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750" h="1072749">
                    <a:moveTo>
                      <a:pt x="1008069" y="1072746"/>
                    </a:moveTo>
                    <a:cubicBezTo>
                      <a:pt x="972402" y="1072746"/>
                      <a:pt x="943392" y="1043738"/>
                      <a:pt x="943392" y="1008069"/>
                    </a:cubicBezTo>
                    <a:lnTo>
                      <a:pt x="943392" y="129354"/>
                    </a:lnTo>
                    <a:lnTo>
                      <a:pt x="64677" y="129354"/>
                    </a:lnTo>
                    <a:cubicBezTo>
                      <a:pt x="29009" y="129354"/>
                      <a:pt x="0" y="100345"/>
                      <a:pt x="0" y="64677"/>
                    </a:cubicBezTo>
                    <a:cubicBezTo>
                      <a:pt x="0" y="29009"/>
                      <a:pt x="29008" y="0"/>
                      <a:pt x="64677" y="0"/>
                    </a:cubicBezTo>
                    <a:lnTo>
                      <a:pt x="1008073" y="0"/>
                    </a:lnTo>
                    <a:cubicBezTo>
                      <a:pt x="1043741" y="0"/>
                      <a:pt x="1072750" y="29008"/>
                      <a:pt x="1072750" y="64677"/>
                    </a:cubicBezTo>
                    <a:lnTo>
                      <a:pt x="1072750" y="1008073"/>
                    </a:lnTo>
                    <a:cubicBezTo>
                      <a:pt x="1072750" y="1043741"/>
                      <a:pt x="1043742" y="1072750"/>
                      <a:pt x="1008073" y="1072750"/>
                    </a:cubicBezTo>
                    <a:close/>
                  </a:path>
                </a:pathLst>
              </a:custGeom>
              <a:grpFill/>
              <a:ln w="9797"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39FF2F42-468D-7709-B81F-F20006F69281}"/>
                  </a:ext>
                </a:extLst>
              </p:cNvPr>
              <p:cNvSpPr/>
              <p:nvPr/>
            </p:nvSpPr>
            <p:spPr>
              <a:xfrm>
                <a:off x="6569940" y="3221537"/>
                <a:ext cx="1072745" cy="1072750"/>
              </a:xfrm>
              <a:custGeom>
                <a:avLst/>
                <a:gdLst>
                  <a:gd name="connsiteX0" fmla="*/ 1008073 w 1072745"/>
                  <a:gd name="connsiteY0" fmla="*/ 1072746 h 1072750"/>
                  <a:gd name="connsiteX1" fmla="*/ 64677 w 1072745"/>
                  <a:gd name="connsiteY1" fmla="*/ 1072746 h 1072750"/>
                  <a:gd name="connsiteX2" fmla="*/ 0 w 1072745"/>
                  <a:gd name="connsiteY2" fmla="*/ 1008069 h 1072750"/>
                  <a:gd name="connsiteX3" fmla="*/ 64677 w 1072745"/>
                  <a:gd name="connsiteY3" fmla="*/ 943392 h 1072750"/>
                  <a:gd name="connsiteX4" fmla="*/ 943392 w 1072745"/>
                  <a:gd name="connsiteY4" fmla="*/ 943392 h 1072750"/>
                  <a:gd name="connsiteX5" fmla="*/ 943392 w 1072745"/>
                  <a:gd name="connsiteY5" fmla="*/ 64677 h 1072750"/>
                  <a:gd name="connsiteX6" fmla="*/ 1008069 w 1072745"/>
                  <a:gd name="connsiteY6" fmla="*/ 0 h 1072750"/>
                  <a:gd name="connsiteX7" fmla="*/ 1072746 w 1072745"/>
                  <a:gd name="connsiteY7" fmla="*/ 64677 h 1072750"/>
                  <a:gd name="connsiteX8" fmla="*/ 1072746 w 1072745"/>
                  <a:gd name="connsiteY8" fmla="*/ 1008073 h 1072750"/>
                  <a:gd name="connsiteX9" fmla="*/ 1008069 w 1072745"/>
                  <a:gd name="connsiteY9" fmla="*/ 1072750 h 107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745" h="1072750">
                    <a:moveTo>
                      <a:pt x="1008073" y="1072746"/>
                    </a:moveTo>
                    <a:lnTo>
                      <a:pt x="64677" y="1072746"/>
                    </a:lnTo>
                    <a:cubicBezTo>
                      <a:pt x="29009" y="1072746"/>
                      <a:pt x="0" y="1043738"/>
                      <a:pt x="0" y="1008069"/>
                    </a:cubicBezTo>
                    <a:cubicBezTo>
                      <a:pt x="0" y="972401"/>
                      <a:pt x="29008" y="943392"/>
                      <a:pt x="64677" y="943392"/>
                    </a:cubicBezTo>
                    <a:lnTo>
                      <a:pt x="943392" y="943392"/>
                    </a:lnTo>
                    <a:lnTo>
                      <a:pt x="943392" y="64677"/>
                    </a:lnTo>
                    <a:cubicBezTo>
                      <a:pt x="943392" y="29009"/>
                      <a:pt x="972401" y="0"/>
                      <a:pt x="1008069" y="0"/>
                    </a:cubicBezTo>
                    <a:cubicBezTo>
                      <a:pt x="1043738" y="0"/>
                      <a:pt x="1072746" y="29008"/>
                      <a:pt x="1072746" y="64677"/>
                    </a:cubicBezTo>
                    <a:lnTo>
                      <a:pt x="1072746" y="1008073"/>
                    </a:lnTo>
                    <a:cubicBezTo>
                      <a:pt x="1072746" y="1044889"/>
                      <a:pt x="1043738" y="1072750"/>
                      <a:pt x="1008069" y="1072750"/>
                    </a:cubicBezTo>
                    <a:close/>
                  </a:path>
                </a:pathLst>
              </a:custGeom>
              <a:grpFill/>
              <a:ln w="9797"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02E943AF-AF2F-984B-092C-13AC99DB6697}"/>
                  </a:ext>
                </a:extLst>
              </p:cNvPr>
              <p:cNvSpPr/>
              <p:nvPr/>
            </p:nvSpPr>
            <p:spPr>
              <a:xfrm>
                <a:off x="6034654" y="4166086"/>
                <a:ext cx="129353" cy="641175"/>
              </a:xfrm>
              <a:custGeom>
                <a:avLst/>
                <a:gdLst>
                  <a:gd name="connsiteX0" fmla="*/ 64677 w 129353"/>
                  <a:gd name="connsiteY0" fmla="*/ 641176 h 641175"/>
                  <a:gd name="connsiteX1" fmla="*/ 0 w 129353"/>
                  <a:gd name="connsiteY1" fmla="*/ 576499 h 641175"/>
                  <a:gd name="connsiteX2" fmla="*/ 0 w 129353"/>
                  <a:gd name="connsiteY2" fmla="*/ 64677 h 641175"/>
                  <a:gd name="connsiteX3" fmla="*/ 64677 w 129353"/>
                  <a:gd name="connsiteY3" fmla="*/ 0 h 641175"/>
                  <a:gd name="connsiteX4" fmla="*/ 129354 w 129353"/>
                  <a:gd name="connsiteY4" fmla="*/ 64677 h 641175"/>
                  <a:gd name="connsiteX5" fmla="*/ 129354 w 129353"/>
                  <a:gd name="connsiteY5" fmla="*/ 576499 h 641175"/>
                  <a:gd name="connsiteX6" fmla="*/ 64677 w 129353"/>
                  <a:gd name="connsiteY6" fmla="*/ 641176 h 64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353" h="641175">
                    <a:moveTo>
                      <a:pt x="64677" y="641176"/>
                    </a:moveTo>
                    <a:cubicBezTo>
                      <a:pt x="29009" y="641176"/>
                      <a:pt x="0" y="612167"/>
                      <a:pt x="0" y="576499"/>
                    </a:cubicBezTo>
                    <a:lnTo>
                      <a:pt x="0" y="64677"/>
                    </a:lnTo>
                    <a:cubicBezTo>
                      <a:pt x="0" y="29009"/>
                      <a:pt x="29008" y="0"/>
                      <a:pt x="64677" y="0"/>
                    </a:cubicBezTo>
                    <a:cubicBezTo>
                      <a:pt x="100345" y="0"/>
                      <a:pt x="129354" y="29008"/>
                      <a:pt x="129354" y="64677"/>
                    </a:cubicBezTo>
                    <a:lnTo>
                      <a:pt x="129354" y="576499"/>
                    </a:lnTo>
                    <a:cubicBezTo>
                      <a:pt x="128244" y="612167"/>
                      <a:pt x="100383" y="641176"/>
                      <a:pt x="64677" y="641176"/>
                    </a:cubicBezTo>
                    <a:close/>
                  </a:path>
                </a:pathLst>
              </a:custGeom>
              <a:grpFill/>
              <a:ln w="9797"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97706276-8429-AB24-2574-0EBE3CD510A8}"/>
                  </a:ext>
                </a:extLst>
              </p:cNvPr>
              <p:cNvSpPr/>
              <p:nvPr/>
            </p:nvSpPr>
            <p:spPr>
              <a:xfrm>
                <a:off x="7513317" y="2686345"/>
                <a:ext cx="641175" cy="129353"/>
              </a:xfrm>
              <a:custGeom>
                <a:avLst/>
                <a:gdLst>
                  <a:gd name="connsiteX0" fmla="*/ 576499 w 641175"/>
                  <a:gd name="connsiteY0" fmla="*/ 129354 h 129353"/>
                  <a:gd name="connsiteX1" fmla="*/ 64677 w 641175"/>
                  <a:gd name="connsiteY1" fmla="*/ 129354 h 129353"/>
                  <a:gd name="connsiteX2" fmla="*/ 0 w 641175"/>
                  <a:gd name="connsiteY2" fmla="*/ 64677 h 129353"/>
                  <a:gd name="connsiteX3" fmla="*/ 64677 w 641175"/>
                  <a:gd name="connsiteY3" fmla="*/ 0 h 129353"/>
                  <a:gd name="connsiteX4" fmla="*/ 576499 w 641175"/>
                  <a:gd name="connsiteY4" fmla="*/ 0 h 129353"/>
                  <a:gd name="connsiteX5" fmla="*/ 641176 w 641175"/>
                  <a:gd name="connsiteY5" fmla="*/ 64677 h 129353"/>
                  <a:gd name="connsiteX6" fmla="*/ 576499 w 641175"/>
                  <a:gd name="connsiteY6" fmla="*/ 129354 h 12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175" h="129353">
                    <a:moveTo>
                      <a:pt x="576499" y="129354"/>
                    </a:moveTo>
                    <a:lnTo>
                      <a:pt x="64677" y="129354"/>
                    </a:lnTo>
                    <a:cubicBezTo>
                      <a:pt x="29009" y="129354"/>
                      <a:pt x="0" y="100345"/>
                      <a:pt x="0" y="64677"/>
                    </a:cubicBezTo>
                    <a:cubicBezTo>
                      <a:pt x="0" y="29008"/>
                      <a:pt x="29008" y="0"/>
                      <a:pt x="64677" y="0"/>
                    </a:cubicBezTo>
                    <a:lnTo>
                      <a:pt x="576499" y="0"/>
                    </a:lnTo>
                    <a:cubicBezTo>
                      <a:pt x="612166" y="0"/>
                      <a:pt x="641176" y="29008"/>
                      <a:pt x="641176" y="64677"/>
                    </a:cubicBezTo>
                    <a:cubicBezTo>
                      <a:pt x="641176" y="100345"/>
                      <a:pt x="612206" y="129354"/>
                      <a:pt x="576499" y="129354"/>
                    </a:cubicBezTo>
                    <a:close/>
                  </a:path>
                </a:pathLst>
              </a:custGeom>
              <a:grpFill/>
              <a:ln w="9797"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8B3E6AAC-80BD-AFCA-2CBC-678FFC3CAF0B}"/>
                  </a:ext>
                </a:extLst>
              </p:cNvPr>
              <p:cNvSpPr/>
              <p:nvPr/>
            </p:nvSpPr>
            <p:spPr>
              <a:xfrm>
                <a:off x="6034654" y="695800"/>
                <a:ext cx="129353" cy="641215"/>
              </a:xfrm>
              <a:custGeom>
                <a:avLst/>
                <a:gdLst>
                  <a:gd name="connsiteX0" fmla="*/ 64677 w 129353"/>
                  <a:gd name="connsiteY0" fmla="*/ 641215 h 641215"/>
                  <a:gd name="connsiteX1" fmla="*/ 0 w 129353"/>
                  <a:gd name="connsiteY1" fmla="*/ 576538 h 641215"/>
                  <a:gd name="connsiteX2" fmla="*/ 0 w 129353"/>
                  <a:gd name="connsiteY2" fmla="*/ 64677 h 641215"/>
                  <a:gd name="connsiteX3" fmla="*/ 64677 w 129353"/>
                  <a:gd name="connsiteY3" fmla="*/ 0 h 641215"/>
                  <a:gd name="connsiteX4" fmla="*/ 129354 w 129353"/>
                  <a:gd name="connsiteY4" fmla="*/ 64677 h 641215"/>
                  <a:gd name="connsiteX5" fmla="*/ 129354 w 129353"/>
                  <a:gd name="connsiteY5" fmla="*/ 576499 h 641215"/>
                  <a:gd name="connsiteX6" fmla="*/ 64677 w 129353"/>
                  <a:gd name="connsiteY6" fmla="*/ 641214 h 64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353" h="641215">
                    <a:moveTo>
                      <a:pt x="64677" y="641215"/>
                    </a:moveTo>
                    <a:cubicBezTo>
                      <a:pt x="29009" y="641215"/>
                      <a:pt x="0" y="612207"/>
                      <a:pt x="0" y="576538"/>
                    </a:cubicBezTo>
                    <a:lnTo>
                      <a:pt x="0" y="64677"/>
                    </a:lnTo>
                    <a:cubicBezTo>
                      <a:pt x="0" y="29009"/>
                      <a:pt x="29008" y="0"/>
                      <a:pt x="64677" y="0"/>
                    </a:cubicBezTo>
                    <a:cubicBezTo>
                      <a:pt x="100345" y="0"/>
                      <a:pt x="129354" y="29008"/>
                      <a:pt x="129354" y="64677"/>
                    </a:cubicBezTo>
                    <a:lnTo>
                      <a:pt x="129354" y="576499"/>
                    </a:lnTo>
                    <a:cubicBezTo>
                      <a:pt x="128244" y="612205"/>
                      <a:pt x="100383" y="641214"/>
                      <a:pt x="64677" y="641214"/>
                    </a:cubicBezTo>
                    <a:close/>
                  </a:path>
                </a:pathLst>
              </a:custGeom>
              <a:grpFill/>
              <a:ln w="9797"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9FF808EA-A81C-166B-BF7D-56CF79824933}"/>
                  </a:ext>
                </a:extLst>
              </p:cNvPr>
              <p:cNvSpPr/>
              <p:nvPr/>
            </p:nvSpPr>
            <p:spPr>
              <a:xfrm>
                <a:off x="4043071" y="2686345"/>
                <a:ext cx="641175" cy="129353"/>
              </a:xfrm>
              <a:custGeom>
                <a:avLst/>
                <a:gdLst>
                  <a:gd name="connsiteX0" fmla="*/ 576499 w 641175"/>
                  <a:gd name="connsiteY0" fmla="*/ 129354 h 129353"/>
                  <a:gd name="connsiteX1" fmla="*/ 64677 w 641175"/>
                  <a:gd name="connsiteY1" fmla="*/ 129354 h 129353"/>
                  <a:gd name="connsiteX2" fmla="*/ 0 w 641175"/>
                  <a:gd name="connsiteY2" fmla="*/ 64677 h 129353"/>
                  <a:gd name="connsiteX3" fmla="*/ 64677 w 641175"/>
                  <a:gd name="connsiteY3" fmla="*/ 0 h 129353"/>
                  <a:gd name="connsiteX4" fmla="*/ 576499 w 641175"/>
                  <a:gd name="connsiteY4" fmla="*/ 0 h 129353"/>
                  <a:gd name="connsiteX5" fmla="*/ 641176 w 641175"/>
                  <a:gd name="connsiteY5" fmla="*/ 64677 h 129353"/>
                  <a:gd name="connsiteX6" fmla="*/ 576499 w 641175"/>
                  <a:gd name="connsiteY6" fmla="*/ 129354 h 12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175" h="129353">
                    <a:moveTo>
                      <a:pt x="576499" y="129354"/>
                    </a:moveTo>
                    <a:lnTo>
                      <a:pt x="64677" y="129354"/>
                    </a:lnTo>
                    <a:cubicBezTo>
                      <a:pt x="29009" y="129354"/>
                      <a:pt x="0" y="100345"/>
                      <a:pt x="0" y="64677"/>
                    </a:cubicBezTo>
                    <a:cubicBezTo>
                      <a:pt x="0" y="29008"/>
                      <a:pt x="29008" y="0"/>
                      <a:pt x="64677" y="0"/>
                    </a:cubicBezTo>
                    <a:lnTo>
                      <a:pt x="576499" y="0"/>
                    </a:lnTo>
                    <a:cubicBezTo>
                      <a:pt x="612167" y="0"/>
                      <a:pt x="641176" y="29008"/>
                      <a:pt x="641176" y="64677"/>
                    </a:cubicBezTo>
                    <a:cubicBezTo>
                      <a:pt x="641176" y="100345"/>
                      <a:pt x="612168" y="129354"/>
                      <a:pt x="576499" y="129354"/>
                    </a:cubicBezTo>
                    <a:close/>
                  </a:path>
                </a:pathLst>
              </a:custGeom>
              <a:grpFill/>
              <a:ln w="9797"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74EFCEBC-F7B5-63F3-AE8E-58C5AEBCA0EA}"/>
                  </a:ext>
                </a:extLst>
              </p:cNvPr>
              <p:cNvSpPr/>
              <p:nvPr/>
            </p:nvSpPr>
            <p:spPr>
              <a:xfrm>
                <a:off x="5026606" y="1652629"/>
                <a:ext cx="488438" cy="488438"/>
              </a:xfrm>
              <a:custGeom>
                <a:avLst/>
                <a:gdLst>
                  <a:gd name="connsiteX0" fmla="*/ 423762 w 488438"/>
                  <a:gd name="connsiteY0" fmla="*/ 488438 h 488438"/>
                  <a:gd name="connsiteX1" fmla="*/ 64677 w 488438"/>
                  <a:gd name="connsiteY1" fmla="*/ 488438 h 488438"/>
                  <a:gd name="connsiteX2" fmla="*/ 0 w 488438"/>
                  <a:gd name="connsiteY2" fmla="*/ 423762 h 488438"/>
                  <a:gd name="connsiteX3" fmla="*/ 0 w 488438"/>
                  <a:gd name="connsiteY3" fmla="*/ 64677 h 488438"/>
                  <a:gd name="connsiteX4" fmla="*/ 64677 w 488438"/>
                  <a:gd name="connsiteY4" fmla="*/ 0 h 488438"/>
                  <a:gd name="connsiteX5" fmla="*/ 423762 w 488438"/>
                  <a:gd name="connsiteY5" fmla="*/ 0 h 488438"/>
                  <a:gd name="connsiteX6" fmla="*/ 488438 w 488438"/>
                  <a:gd name="connsiteY6" fmla="*/ 64677 h 488438"/>
                  <a:gd name="connsiteX7" fmla="*/ 488438 w 488438"/>
                  <a:gd name="connsiteY7" fmla="*/ 423762 h 488438"/>
                  <a:gd name="connsiteX8" fmla="*/ 423762 w 488438"/>
                  <a:gd name="connsiteY8" fmla="*/ 488438 h 488438"/>
                  <a:gd name="connsiteX9" fmla="*/ 129348 w 488438"/>
                  <a:gd name="connsiteY9" fmla="*/ 360194 h 488438"/>
                  <a:gd name="connsiteX10" fmla="*/ 359042 w 488438"/>
                  <a:gd name="connsiteY10" fmla="*/ 360194 h 488438"/>
                  <a:gd name="connsiteX11" fmla="*/ 359042 w 488438"/>
                  <a:gd name="connsiteY11" fmla="*/ 130500 h 488438"/>
                  <a:gd name="connsiteX12" fmla="*/ 129348 w 488438"/>
                  <a:gd name="connsiteY12" fmla="*/ 130500 h 48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438" h="488438">
                    <a:moveTo>
                      <a:pt x="423762" y="488438"/>
                    </a:moveTo>
                    <a:lnTo>
                      <a:pt x="64677" y="488438"/>
                    </a:lnTo>
                    <a:cubicBezTo>
                      <a:pt x="29009" y="488438"/>
                      <a:pt x="0" y="459430"/>
                      <a:pt x="0" y="423762"/>
                    </a:cubicBezTo>
                    <a:lnTo>
                      <a:pt x="0" y="64677"/>
                    </a:lnTo>
                    <a:cubicBezTo>
                      <a:pt x="0" y="29009"/>
                      <a:pt x="29008" y="0"/>
                      <a:pt x="64677" y="0"/>
                    </a:cubicBezTo>
                    <a:lnTo>
                      <a:pt x="423762" y="0"/>
                    </a:lnTo>
                    <a:cubicBezTo>
                      <a:pt x="459429" y="0"/>
                      <a:pt x="488438" y="29008"/>
                      <a:pt x="488438" y="64677"/>
                    </a:cubicBezTo>
                    <a:lnTo>
                      <a:pt x="488438" y="423762"/>
                    </a:lnTo>
                    <a:cubicBezTo>
                      <a:pt x="487329" y="460577"/>
                      <a:pt x="458320" y="488438"/>
                      <a:pt x="423762" y="488438"/>
                    </a:cubicBezTo>
                    <a:close/>
                    <a:moveTo>
                      <a:pt x="129348" y="360194"/>
                    </a:moveTo>
                    <a:lnTo>
                      <a:pt x="359042" y="360194"/>
                    </a:lnTo>
                    <a:lnTo>
                      <a:pt x="359042" y="130500"/>
                    </a:lnTo>
                    <a:lnTo>
                      <a:pt x="129348" y="130500"/>
                    </a:lnTo>
                    <a:close/>
                  </a:path>
                </a:pathLst>
              </a:custGeom>
              <a:grpFill/>
              <a:ln w="9797"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081FD725-9CD9-2CFC-4EBF-8D6ED654869C}"/>
                  </a:ext>
                </a:extLst>
              </p:cNvPr>
              <p:cNvSpPr/>
              <p:nvPr/>
            </p:nvSpPr>
            <p:spPr>
              <a:xfrm>
                <a:off x="5853975" y="1652629"/>
                <a:ext cx="488438" cy="488438"/>
              </a:xfrm>
              <a:custGeom>
                <a:avLst/>
                <a:gdLst>
                  <a:gd name="connsiteX0" fmla="*/ 423762 w 488438"/>
                  <a:gd name="connsiteY0" fmla="*/ 488438 h 488438"/>
                  <a:gd name="connsiteX1" fmla="*/ 64677 w 488438"/>
                  <a:gd name="connsiteY1" fmla="*/ 488438 h 488438"/>
                  <a:gd name="connsiteX2" fmla="*/ 0 w 488438"/>
                  <a:gd name="connsiteY2" fmla="*/ 423762 h 488438"/>
                  <a:gd name="connsiteX3" fmla="*/ 0 w 488438"/>
                  <a:gd name="connsiteY3" fmla="*/ 64677 h 488438"/>
                  <a:gd name="connsiteX4" fmla="*/ 64677 w 488438"/>
                  <a:gd name="connsiteY4" fmla="*/ 0 h 488438"/>
                  <a:gd name="connsiteX5" fmla="*/ 423762 w 488438"/>
                  <a:gd name="connsiteY5" fmla="*/ 0 h 488438"/>
                  <a:gd name="connsiteX6" fmla="*/ 488439 w 488438"/>
                  <a:gd name="connsiteY6" fmla="*/ 64677 h 488438"/>
                  <a:gd name="connsiteX7" fmla="*/ 488439 w 488438"/>
                  <a:gd name="connsiteY7" fmla="*/ 423762 h 488438"/>
                  <a:gd name="connsiteX8" fmla="*/ 423762 w 488438"/>
                  <a:gd name="connsiteY8" fmla="*/ 488438 h 488438"/>
                  <a:gd name="connsiteX9" fmla="*/ 129348 w 488438"/>
                  <a:gd name="connsiteY9" fmla="*/ 360194 h 488438"/>
                  <a:gd name="connsiteX10" fmla="*/ 359042 w 488438"/>
                  <a:gd name="connsiteY10" fmla="*/ 360194 h 488438"/>
                  <a:gd name="connsiteX11" fmla="*/ 359042 w 488438"/>
                  <a:gd name="connsiteY11" fmla="*/ 130500 h 488438"/>
                  <a:gd name="connsiteX12" fmla="*/ 129348 w 488438"/>
                  <a:gd name="connsiteY12" fmla="*/ 130500 h 48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438" h="488438">
                    <a:moveTo>
                      <a:pt x="423762" y="488438"/>
                    </a:moveTo>
                    <a:lnTo>
                      <a:pt x="64677" y="488438"/>
                    </a:lnTo>
                    <a:cubicBezTo>
                      <a:pt x="29009" y="488438"/>
                      <a:pt x="0" y="459430"/>
                      <a:pt x="0" y="423762"/>
                    </a:cubicBezTo>
                    <a:lnTo>
                      <a:pt x="0" y="64677"/>
                    </a:lnTo>
                    <a:cubicBezTo>
                      <a:pt x="0" y="29009"/>
                      <a:pt x="29008" y="0"/>
                      <a:pt x="64677" y="0"/>
                    </a:cubicBezTo>
                    <a:lnTo>
                      <a:pt x="423762" y="0"/>
                    </a:lnTo>
                    <a:cubicBezTo>
                      <a:pt x="459429" y="0"/>
                      <a:pt x="488439" y="29008"/>
                      <a:pt x="488439" y="64677"/>
                    </a:cubicBezTo>
                    <a:lnTo>
                      <a:pt x="488439" y="423762"/>
                    </a:lnTo>
                    <a:cubicBezTo>
                      <a:pt x="488439" y="460577"/>
                      <a:pt x="459430" y="488438"/>
                      <a:pt x="423762" y="488438"/>
                    </a:cubicBezTo>
                    <a:close/>
                    <a:moveTo>
                      <a:pt x="129348" y="360194"/>
                    </a:moveTo>
                    <a:lnTo>
                      <a:pt x="359042" y="360194"/>
                    </a:lnTo>
                    <a:lnTo>
                      <a:pt x="359042" y="130500"/>
                    </a:lnTo>
                    <a:lnTo>
                      <a:pt x="129348" y="130500"/>
                    </a:lnTo>
                    <a:close/>
                  </a:path>
                </a:pathLst>
              </a:custGeom>
              <a:grpFill/>
              <a:ln w="9797"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22B9FD00-DCF5-43F0-3B09-C450ABDEC568}"/>
                  </a:ext>
                </a:extLst>
              </p:cNvPr>
              <p:cNvSpPr/>
              <p:nvPr/>
            </p:nvSpPr>
            <p:spPr>
              <a:xfrm>
                <a:off x="6682519" y="1652629"/>
                <a:ext cx="488438" cy="488438"/>
              </a:xfrm>
              <a:custGeom>
                <a:avLst/>
                <a:gdLst>
                  <a:gd name="connsiteX0" fmla="*/ 423762 w 488438"/>
                  <a:gd name="connsiteY0" fmla="*/ 488438 h 488438"/>
                  <a:gd name="connsiteX1" fmla="*/ 64677 w 488438"/>
                  <a:gd name="connsiteY1" fmla="*/ 488438 h 488438"/>
                  <a:gd name="connsiteX2" fmla="*/ 0 w 488438"/>
                  <a:gd name="connsiteY2" fmla="*/ 423762 h 488438"/>
                  <a:gd name="connsiteX3" fmla="*/ 0 w 488438"/>
                  <a:gd name="connsiteY3" fmla="*/ 64677 h 488438"/>
                  <a:gd name="connsiteX4" fmla="*/ 64677 w 488438"/>
                  <a:gd name="connsiteY4" fmla="*/ 0 h 488438"/>
                  <a:gd name="connsiteX5" fmla="*/ 423762 w 488438"/>
                  <a:gd name="connsiteY5" fmla="*/ 0 h 488438"/>
                  <a:gd name="connsiteX6" fmla="*/ 488438 w 488438"/>
                  <a:gd name="connsiteY6" fmla="*/ 64677 h 488438"/>
                  <a:gd name="connsiteX7" fmla="*/ 488438 w 488438"/>
                  <a:gd name="connsiteY7" fmla="*/ 423762 h 488438"/>
                  <a:gd name="connsiteX8" fmla="*/ 423762 w 488438"/>
                  <a:gd name="connsiteY8" fmla="*/ 488438 h 488438"/>
                  <a:gd name="connsiteX9" fmla="*/ 129387 w 488438"/>
                  <a:gd name="connsiteY9" fmla="*/ 360194 h 488438"/>
                  <a:gd name="connsiteX10" fmla="*/ 359081 w 488438"/>
                  <a:gd name="connsiteY10" fmla="*/ 360194 h 488438"/>
                  <a:gd name="connsiteX11" fmla="*/ 359081 w 488438"/>
                  <a:gd name="connsiteY11" fmla="*/ 130500 h 488438"/>
                  <a:gd name="connsiteX12" fmla="*/ 129387 w 488438"/>
                  <a:gd name="connsiteY12" fmla="*/ 130500 h 48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438" h="488438">
                    <a:moveTo>
                      <a:pt x="423762" y="488438"/>
                    </a:moveTo>
                    <a:lnTo>
                      <a:pt x="64677" y="488438"/>
                    </a:lnTo>
                    <a:cubicBezTo>
                      <a:pt x="29009" y="488438"/>
                      <a:pt x="0" y="459430"/>
                      <a:pt x="0" y="423762"/>
                    </a:cubicBezTo>
                    <a:lnTo>
                      <a:pt x="0" y="64677"/>
                    </a:lnTo>
                    <a:cubicBezTo>
                      <a:pt x="0" y="29009"/>
                      <a:pt x="29008" y="0"/>
                      <a:pt x="64677" y="0"/>
                    </a:cubicBezTo>
                    <a:lnTo>
                      <a:pt x="423762" y="0"/>
                    </a:lnTo>
                    <a:cubicBezTo>
                      <a:pt x="459429" y="0"/>
                      <a:pt x="488438" y="29008"/>
                      <a:pt x="488438" y="64677"/>
                    </a:cubicBezTo>
                    <a:lnTo>
                      <a:pt x="488438" y="423762"/>
                    </a:lnTo>
                    <a:cubicBezTo>
                      <a:pt x="488438" y="460577"/>
                      <a:pt x="459468" y="488438"/>
                      <a:pt x="423762" y="488438"/>
                    </a:cubicBezTo>
                    <a:close/>
                    <a:moveTo>
                      <a:pt x="129387" y="360194"/>
                    </a:moveTo>
                    <a:lnTo>
                      <a:pt x="359081" y="360194"/>
                    </a:lnTo>
                    <a:lnTo>
                      <a:pt x="359081" y="130500"/>
                    </a:lnTo>
                    <a:lnTo>
                      <a:pt x="129387" y="130500"/>
                    </a:lnTo>
                    <a:close/>
                  </a:path>
                </a:pathLst>
              </a:custGeom>
              <a:grpFill/>
              <a:ln w="9797"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E7083FA3-4708-5BB3-C0AA-2DF2F5F534BC}"/>
                  </a:ext>
                </a:extLst>
              </p:cNvPr>
              <p:cNvSpPr/>
              <p:nvPr/>
            </p:nvSpPr>
            <p:spPr>
              <a:xfrm>
                <a:off x="5026606" y="2506744"/>
                <a:ext cx="488438" cy="488438"/>
              </a:xfrm>
              <a:custGeom>
                <a:avLst/>
                <a:gdLst>
                  <a:gd name="connsiteX0" fmla="*/ 423762 w 488438"/>
                  <a:gd name="connsiteY0" fmla="*/ 488438 h 488438"/>
                  <a:gd name="connsiteX1" fmla="*/ 64677 w 488438"/>
                  <a:gd name="connsiteY1" fmla="*/ 488438 h 488438"/>
                  <a:gd name="connsiteX2" fmla="*/ 0 w 488438"/>
                  <a:gd name="connsiteY2" fmla="*/ 423762 h 488438"/>
                  <a:gd name="connsiteX3" fmla="*/ 0 w 488438"/>
                  <a:gd name="connsiteY3" fmla="*/ 64677 h 488438"/>
                  <a:gd name="connsiteX4" fmla="*/ 64677 w 488438"/>
                  <a:gd name="connsiteY4" fmla="*/ 0 h 488438"/>
                  <a:gd name="connsiteX5" fmla="*/ 423762 w 488438"/>
                  <a:gd name="connsiteY5" fmla="*/ 0 h 488438"/>
                  <a:gd name="connsiteX6" fmla="*/ 488438 w 488438"/>
                  <a:gd name="connsiteY6" fmla="*/ 64677 h 488438"/>
                  <a:gd name="connsiteX7" fmla="*/ 488438 w 488438"/>
                  <a:gd name="connsiteY7" fmla="*/ 423762 h 488438"/>
                  <a:gd name="connsiteX8" fmla="*/ 423762 w 488438"/>
                  <a:gd name="connsiteY8" fmla="*/ 488438 h 488438"/>
                  <a:gd name="connsiteX9" fmla="*/ 129348 w 488438"/>
                  <a:gd name="connsiteY9" fmla="*/ 360194 h 488438"/>
                  <a:gd name="connsiteX10" fmla="*/ 359042 w 488438"/>
                  <a:gd name="connsiteY10" fmla="*/ 360194 h 488438"/>
                  <a:gd name="connsiteX11" fmla="*/ 359042 w 488438"/>
                  <a:gd name="connsiteY11" fmla="*/ 130500 h 488438"/>
                  <a:gd name="connsiteX12" fmla="*/ 129348 w 488438"/>
                  <a:gd name="connsiteY12" fmla="*/ 130500 h 48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438" h="488438">
                    <a:moveTo>
                      <a:pt x="423762" y="488438"/>
                    </a:moveTo>
                    <a:lnTo>
                      <a:pt x="64677" y="488438"/>
                    </a:lnTo>
                    <a:cubicBezTo>
                      <a:pt x="29009" y="488438"/>
                      <a:pt x="0" y="459430"/>
                      <a:pt x="0" y="423762"/>
                    </a:cubicBezTo>
                    <a:lnTo>
                      <a:pt x="0" y="64677"/>
                    </a:lnTo>
                    <a:cubicBezTo>
                      <a:pt x="0" y="29009"/>
                      <a:pt x="29008" y="0"/>
                      <a:pt x="64677" y="0"/>
                    </a:cubicBezTo>
                    <a:lnTo>
                      <a:pt x="423762" y="0"/>
                    </a:lnTo>
                    <a:cubicBezTo>
                      <a:pt x="459429" y="0"/>
                      <a:pt x="488438" y="29008"/>
                      <a:pt x="488438" y="64677"/>
                    </a:cubicBezTo>
                    <a:lnTo>
                      <a:pt x="488438" y="423762"/>
                    </a:lnTo>
                    <a:cubicBezTo>
                      <a:pt x="487329" y="459467"/>
                      <a:pt x="458320" y="488438"/>
                      <a:pt x="423762" y="488438"/>
                    </a:cubicBezTo>
                    <a:close/>
                    <a:moveTo>
                      <a:pt x="129348" y="360194"/>
                    </a:moveTo>
                    <a:lnTo>
                      <a:pt x="359042" y="360194"/>
                    </a:lnTo>
                    <a:lnTo>
                      <a:pt x="359042" y="130500"/>
                    </a:lnTo>
                    <a:lnTo>
                      <a:pt x="129348" y="130500"/>
                    </a:lnTo>
                    <a:close/>
                  </a:path>
                </a:pathLst>
              </a:custGeom>
              <a:grpFill/>
              <a:ln w="9797"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F69F440E-618F-F68E-6DDE-ED39C74C427A}"/>
                  </a:ext>
                </a:extLst>
              </p:cNvPr>
              <p:cNvSpPr/>
              <p:nvPr/>
            </p:nvSpPr>
            <p:spPr>
              <a:xfrm>
                <a:off x="5853975" y="2506744"/>
                <a:ext cx="488438" cy="488438"/>
              </a:xfrm>
              <a:custGeom>
                <a:avLst/>
                <a:gdLst>
                  <a:gd name="connsiteX0" fmla="*/ 423762 w 488438"/>
                  <a:gd name="connsiteY0" fmla="*/ 488438 h 488438"/>
                  <a:gd name="connsiteX1" fmla="*/ 64677 w 488438"/>
                  <a:gd name="connsiteY1" fmla="*/ 488438 h 488438"/>
                  <a:gd name="connsiteX2" fmla="*/ 0 w 488438"/>
                  <a:gd name="connsiteY2" fmla="*/ 423762 h 488438"/>
                  <a:gd name="connsiteX3" fmla="*/ 0 w 488438"/>
                  <a:gd name="connsiteY3" fmla="*/ 64677 h 488438"/>
                  <a:gd name="connsiteX4" fmla="*/ 64677 w 488438"/>
                  <a:gd name="connsiteY4" fmla="*/ 0 h 488438"/>
                  <a:gd name="connsiteX5" fmla="*/ 423762 w 488438"/>
                  <a:gd name="connsiteY5" fmla="*/ 0 h 488438"/>
                  <a:gd name="connsiteX6" fmla="*/ 488439 w 488438"/>
                  <a:gd name="connsiteY6" fmla="*/ 64677 h 488438"/>
                  <a:gd name="connsiteX7" fmla="*/ 488439 w 488438"/>
                  <a:gd name="connsiteY7" fmla="*/ 423762 h 488438"/>
                  <a:gd name="connsiteX8" fmla="*/ 423762 w 488438"/>
                  <a:gd name="connsiteY8" fmla="*/ 488438 h 488438"/>
                  <a:gd name="connsiteX9" fmla="*/ 129348 w 488438"/>
                  <a:gd name="connsiteY9" fmla="*/ 360194 h 488438"/>
                  <a:gd name="connsiteX10" fmla="*/ 359042 w 488438"/>
                  <a:gd name="connsiteY10" fmla="*/ 360194 h 488438"/>
                  <a:gd name="connsiteX11" fmla="*/ 359042 w 488438"/>
                  <a:gd name="connsiteY11" fmla="*/ 130500 h 488438"/>
                  <a:gd name="connsiteX12" fmla="*/ 129348 w 488438"/>
                  <a:gd name="connsiteY12" fmla="*/ 130500 h 48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438" h="488438">
                    <a:moveTo>
                      <a:pt x="423762" y="488438"/>
                    </a:moveTo>
                    <a:lnTo>
                      <a:pt x="64677" y="488438"/>
                    </a:lnTo>
                    <a:cubicBezTo>
                      <a:pt x="29009" y="488438"/>
                      <a:pt x="0" y="459430"/>
                      <a:pt x="0" y="423762"/>
                    </a:cubicBezTo>
                    <a:lnTo>
                      <a:pt x="0" y="64677"/>
                    </a:lnTo>
                    <a:cubicBezTo>
                      <a:pt x="0" y="29009"/>
                      <a:pt x="29008" y="0"/>
                      <a:pt x="64677" y="0"/>
                    </a:cubicBezTo>
                    <a:lnTo>
                      <a:pt x="423762" y="0"/>
                    </a:lnTo>
                    <a:cubicBezTo>
                      <a:pt x="459429" y="0"/>
                      <a:pt x="488439" y="29008"/>
                      <a:pt x="488439" y="64677"/>
                    </a:cubicBezTo>
                    <a:lnTo>
                      <a:pt x="488439" y="423762"/>
                    </a:lnTo>
                    <a:cubicBezTo>
                      <a:pt x="488439" y="459467"/>
                      <a:pt x="459430" y="488438"/>
                      <a:pt x="423762" y="488438"/>
                    </a:cubicBezTo>
                    <a:close/>
                    <a:moveTo>
                      <a:pt x="129348" y="360194"/>
                    </a:moveTo>
                    <a:lnTo>
                      <a:pt x="359042" y="360194"/>
                    </a:lnTo>
                    <a:lnTo>
                      <a:pt x="359042" y="130500"/>
                    </a:lnTo>
                    <a:lnTo>
                      <a:pt x="129348" y="130500"/>
                    </a:lnTo>
                    <a:close/>
                  </a:path>
                </a:pathLst>
              </a:custGeom>
              <a:grpFill/>
              <a:ln w="9797"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A5762822-F477-9D07-3EC7-6DE9B073B081}"/>
                  </a:ext>
                </a:extLst>
              </p:cNvPr>
              <p:cNvSpPr/>
              <p:nvPr/>
            </p:nvSpPr>
            <p:spPr>
              <a:xfrm>
                <a:off x="6682519" y="2506744"/>
                <a:ext cx="488438" cy="488438"/>
              </a:xfrm>
              <a:custGeom>
                <a:avLst/>
                <a:gdLst>
                  <a:gd name="connsiteX0" fmla="*/ 423762 w 488438"/>
                  <a:gd name="connsiteY0" fmla="*/ 488438 h 488438"/>
                  <a:gd name="connsiteX1" fmla="*/ 64677 w 488438"/>
                  <a:gd name="connsiteY1" fmla="*/ 488438 h 488438"/>
                  <a:gd name="connsiteX2" fmla="*/ 0 w 488438"/>
                  <a:gd name="connsiteY2" fmla="*/ 423762 h 488438"/>
                  <a:gd name="connsiteX3" fmla="*/ 0 w 488438"/>
                  <a:gd name="connsiteY3" fmla="*/ 64677 h 488438"/>
                  <a:gd name="connsiteX4" fmla="*/ 64677 w 488438"/>
                  <a:gd name="connsiteY4" fmla="*/ 0 h 488438"/>
                  <a:gd name="connsiteX5" fmla="*/ 423762 w 488438"/>
                  <a:gd name="connsiteY5" fmla="*/ 0 h 488438"/>
                  <a:gd name="connsiteX6" fmla="*/ 488438 w 488438"/>
                  <a:gd name="connsiteY6" fmla="*/ 64677 h 488438"/>
                  <a:gd name="connsiteX7" fmla="*/ 488438 w 488438"/>
                  <a:gd name="connsiteY7" fmla="*/ 423762 h 488438"/>
                  <a:gd name="connsiteX8" fmla="*/ 423762 w 488438"/>
                  <a:gd name="connsiteY8" fmla="*/ 488438 h 488438"/>
                  <a:gd name="connsiteX9" fmla="*/ 129387 w 488438"/>
                  <a:gd name="connsiteY9" fmla="*/ 360194 h 488438"/>
                  <a:gd name="connsiteX10" fmla="*/ 359081 w 488438"/>
                  <a:gd name="connsiteY10" fmla="*/ 360194 h 488438"/>
                  <a:gd name="connsiteX11" fmla="*/ 359081 w 488438"/>
                  <a:gd name="connsiteY11" fmla="*/ 130500 h 488438"/>
                  <a:gd name="connsiteX12" fmla="*/ 129387 w 488438"/>
                  <a:gd name="connsiteY12" fmla="*/ 130500 h 48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438" h="488438">
                    <a:moveTo>
                      <a:pt x="423762" y="488438"/>
                    </a:moveTo>
                    <a:lnTo>
                      <a:pt x="64677" y="488438"/>
                    </a:lnTo>
                    <a:cubicBezTo>
                      <a:pt x="29009" y="488438"/>
                      <a:pt x="0" y="459430"/>
                      <a:pt x="0" y="423762"/>
                    </a:cubicBezTo>
                    <a:lnTo>
                      <a:pt x="0" y="64677"/>
                    </a:lnTo>
                    <a:cubicBezTo>
                      <a:pt x="0" y="29009"/>
                      <a:pt x="29008" y="0"/>
                      <a:pt x="64677" y="0"/>
                    </a:cubicBezTo>
                    <a:lnTo>
                      <a:pt x="423762" y="0"/>
                    </a:lnTo>
                    <a:cubicBezTo>
                      <a:pt x="459429" y="0"/>
                      <a:pt x="488438" y="29008"/>
                      <a:pt x="488438" y="64677"/>
                    </a:cubicBezTo>
                    <a:lnTo>
                      <a:pt x="488438" y="423762"/>
                    </a:lnTo>
                    <a:cubicBezTo>
                      <a:pt x="488438" y="459467"/>
                      <a:pt x="459468" y="488438"/>
                      <a:pt x="423762" y="488438"/>
                    </a:cubicBezTo>
                    <a:close/>
                    <a:moveTo>
                      <a:pt x="129387" y="360194"/>
                    </a:moveTo>
                    <a:lnTo>
                      <a:pt x="359081" y="360194"/>
                    </a:lnTo>
                    <a:lnTo>
                      <a:pt x="359081" y="130500"/>
                    </a:lnTo>
                    <a:lnTo>
                      <a:pt x="129387" y="130500"/>
                    </a:lnTo>
                    <a:close/>
                  </a:path>
                </a:pathLst>
              </a:custGeom>
              <a:grpFill/>
              <a:ln w="9797"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32BC10AE-85F6-3F7B-A35D-0DB04A625676}"/>
                  </a:ext>
                </a:extLst>
              </p:cNvPr>
              <p:cNvSpPr/>
              <p:nvPr/>
            </p:nvSpPr>
            <p:spPr>
              <a:xfrm>
                <a:off x="5026606" y="3359879"/>
                <a:ext cx="488438" cy="488438"/>
              </a:xfrm>
              <a:custGeom>
                <a:avLst/>
                <a:gdLst>
                  <a:gd name="connsiteX0" fmla="*/ 423762 w 488438"/>
                  <a:gd name="connsiteY0" fmla="*/ 488438 h 488438"/>
                  <a:gd name="connsiteX1" fmla="*/ 64677 w 488438"/>
                  <a:gd name="connsiteY1" fmla="*/ 488438 h 488438"/>
                  <a:gd name="connsiteX2" fmla="*/ 0 w 488438"/>
                  <a:gd name="connsiteY2" fmla="*/ 423762 h 488438"/>
                  <a:gd name="connsiteX3" fmla="*/ 0 w 488438"/>
                  <a:gd name="connsiteY3" fmla="*/ 64677 h 488438"/>
                  <a:gd name="connsiteX4" fmla="*/ 64677 w 488438"/>
                  <a:gd name="connsiteY4" fmla="*/ 0 h 488438"/>
                  <a:gd name="connsiteX5" fmla="*/ 423762 w 488438"/>
                  <a:gd name="connsiteY5" fmla="*/ 0 h 488438"/>
                  <a:gd name="connsiteX6" fmla="*/ 488438 w 488438"/>
                  <a:gd name="connsiteY6" fmla="*/ 64677 h 488438"/>
                  <a:gd name="connsiteX7" fmla="*/ 488438 w 488438"/>
                  <a:gd name="connsiteY7" fmla="*/ 423762 h 488438"/>
                  <a:gd name="connsiteX8" fmla="*/ 423762 w 488438"/>
                  <a:gd name="connsiteY8" fmla="*/ 488438 h 488438"/>
                  <a:gd name="connsiteX9" fmla="*/ 129348 w 488438"/>
                  <a:gd name="connsiteY9" fmla="*/ 360194 h 488438"/>
                  <a:gd name="connsiteX10" fmla="*/ 359042 w 488438"/>
                  <a:gd name="connsiteY10" fmla="*/ 360194 h 488438"/>
                  <a:gd name="connsiteX11" fmla="*/ 359080 w 488438"/>
                  <a:gd name="connsiteY11" fmla="*/ 130500 h 488438"/>
                  <a:gd name="connsiteX12" fmla="*/ 129386 w 488438"/>
                  <a:gd name="connsiteY12" fmla="*/ 130500 h 48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438" h="488438">
                    <a:moveTo>
                      <a:pt x="423762" y="488438"/>
                    </a:moveTo>
                    <a:lnTo>
                      <a:pt x="64677" y="488438"/>
                    </a:lnTo>
                    <a:cubicBezTo>
                      <a:pt x="29009" y="488438"/>
                      <a:pt x="0" y="459430"/>
                      <a:pt x="0" y="423762"/>
                    </a:cubicBezTo>
                    <a:lnTo>
                      <a:pt x="0" y="64677"/>
                    </a:lnTo>
                    <a:cubicBezTo>
                      <a:pt x="0" y="29009"/>
                      <a:pt x="29008" y="0"/>
                      <a:pt x="64677" y="0"/>
                    </a:cubicBezTo>
                    <a:lnTo>
                      <a:pt x="423762" y="0"/>
                    </a:lnTo>
                    <a:cubicBezTo>
                      <a:pt x="459429" y="0"/>
                      <a:pt x="488438" y="29008"/>
                      <a:pt x="488438" y="64677"/>
                    </a:cubicBezTo>
                    <a:lnTo>
                      <a:pt x="488438" y="423762"/>
                    </a:lnTo>
                    <a:cubicBezTo>
                      <a:pt x="487329" y="459429"/>
                      <a:pt x="458320" y="488438"/>
                      <a:pt x="423762" y="488438"/>
                    </a:cubicBezTo>
                    <a:close/>
                    <a:moveTo>
                      <a:pt x="129348" y="360194"/>
                    </a:moveTo>
                    <a:lnTo>
                      <a:pt x="359042" y="360194"/>
                    </a:lnTo>
                    <a:lnTo>
                      <a:pt x="359080" y="130500"/>
                    </a:lnTo>
                    <a:lnTo>
                      <a:pt x="129386" y="130500"/>
                    </a:lnTo>
                    <a:close/>
                  </a:path>
                </a:pathLst>
              </a:custGeom>
              <a:grpFill/>
              <a:ln w="9797"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56D567A0-841B-9E2E-21A2-E5CD4B3D9083}"/>
                  </a:ext>
                </a:extLst>
              </p:cNvPr>
              <p:cNvSpPr/>
              <p:nvPr/>
            </p:nvSpPr>
            <p:spPr>
              <a:xfrm>
                <a:off x="5853975" y="3359879"/>
                <a:ext cx="488438" cy="488438"/>
              </a:xfrm>
              <a:custGeom>
                <a:avLst/>
                <a:gdLst>
                  <a:gd name="connsiteX0" fmla="*/ 423762 w 488438"/>
                  <a:gd name="connsiteY0" fmla="*/ 488438 h 488438"/>
                  <a:gd name="connsiteX1" fmla="*/ 64677 w 488438"/>
                  <a:gd name="connsiteY1" fmla="*/ 488438 h 488438"/>
                  <a:gd name="connsiteX2" fmla="*/ 0 w 488438"/>
                  <a:gd name="connsiteY2" fmla="*/ 423762 h 488438"/>
                  <a:gd name="connsiteX3" fmla="*/ 0 w 488438"/>
                  <a:gd name="connsiteY3" fmla="*/ 64677 h 488438"/>
                  <a:gd name="connsiteX4" fmla="*/ 64677 w 488438"/>
                  <a:gd name="connsiteY4" fmla="*/ 0 h 488438"/>
                  <a:gd name="connsiteX5" fmla="*/ 423762 w 488438"/>
                  <a:gd name="connsiteY5" fmla="*/ 0 h 488438"/>
                  <a:gd name="connsiteX6" fmla="*/ 488439 w 488438"/>
                  <a:gd name="connsiteY6" fmla="*/ 64677 h 488438"/>
                  <a:gd name="connsiteX7" fmla="*/ 488439 w 488438"/>
                  <a:gd name="connsiteY7" fmla="*/ 423762 h 488438"/>
                  <a:gd name="connsiteX8" fmla="*/ 423762 w 488438"/>
                  <a:gd name="connsiteY8" fmla="*/ 488438 h 488438"/>
                  <a:gd name="connsiteX9" fmla="*/ 129348 w 488438"/>
                  <a:gd name="connsiteY9" fmla="*/ 360194 h 488438"/>
                  <a:gd name="connsiteX10" fmla="*/ 359042 w 488438"/>
                  <a:gd name="connsiteY10" fmla="*/ 360194 h 488438"/>
                  <a:gd name="connsiteX11" fmla="*/ 359080 w 488438"/>
                  <a:gd name="connsiteY11" fmla="*/ 130500 h 488438"/>
                  <a:gd name="connsiteX12" fmla="*/ 129386 w 488438"/>
                  <a:gd name="connsiteY12" fmla="*/ 130500 h 48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438" h="488438">
                    <a:moveTo>
                      <a:pt x="423762" y="488438"/>
                    </a:moveTo>
                    <a:lnTo>
                      <a:pt x="64677" y="488438"/>
                    </a:lnTo>
                    <a:cubicBezTo>
                      <a:pt x="29009" y="488438"/>
                      <a:pt x="0" y="459430"/>
                      <a:pt x="0" y="423762"/>
                    </a:cubicBezTo>
                    <a:lnTo>
                      <a:pt x="0" y="64677"/>
                    </a:lnTo>
                    <a:cubicBezTo>
                      <a:pt x="0" y="29009"/>
                      <a:pt x="29008" y="0"/>
                      <a:pt x="64677" y="0"/>
                    </a:cubicBezTo>
                    <a:lnTo>
                      <a:pt x="423762" y="0"/>
                    </a:lnTo>
                    <a:cubicBezTo>
                      <a:pt x="459429" y="0"/>
                      <a:pt x="488439" y="29008"/>
                      <a:pt x="488439" y="64677"/>
                    </a:cubicBezTo>
                    <a:lnTo>
                      <a:pt x="488439" y="423762"/>
                    </a:lnTo>
                    <a:cubicBezTo>
                      <a:pt x="488439" y="459429"/>
                      <a:pt x="459430" y="488438"/>
                      <a:pt x="423762" y="488438"/>
                    </a:cubicBezTo>
                    <a:close/>
                    <a:moveTo>
                      <a:pt x="129348" y="360194"/>
                    </a:moveTo>
                    <a:lnTo>
                      <a:pt x="359042" y="360194"/>
                    </a:lnTo>
                    <a:lnTo>
                      <a:pt x="359080" y="130500"/>
                    </a:lnTo>
                    <a:lnTo>
                      <a:pt x="129386" y="130500"/>
                    </a:lnTo>
                    <a:close/>
                  </a:path>
                </a:pathLst>
              </a:custGeom>
              <a:grpFill/>
              <a:ln w="9797"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3F5F3134-E908-AF1F-B770-B5B3396F0AD1}"/>
                  </a:ext>
                </a:extLst>
              </p:cNvPr>
              <p:cNvSpPr/>
              <p:nvPr/>
            </p:nvSpPr>
            <p:spPr>
              <a:xfrm>
                <a:off x="6682519" y="3359879"/>
                <a:ext cx="488438" cy="488438"/>
              </a:xfrm>
              <a:custGeom>
                <a:avLst/>
                <a:gdLst>
                  <a:gd name="connsiteX0" fmla="*/ 423762 w 488438"/>
                  <a:gd name="connsiteY0" fmla="*/ 488438 h 488438"/>
                  <a:gd name="connsiteX1" fmla="*/ 64677 w 488438"/>
                  <a:gd name="connsiteY1" fmla="*/ 488438 h 488438"/>
                  <a:gd name="connsiteX2" fmla="*/ 0 w 488438"/>
                  <a:gd name="connsiteY2" fmla="*/ 423762 h 488438"/>
                  <a:gd name="connsiteX3" fmla="*/ 0 w 488438"/>
                  <a:gd name="connsiteY3" fmla="*/ 64677 h 488438"/>
                  <a:gd name="connsiteX4" fmla="*/ 64677 w 488438"/>
                  <a:gd name="connsiteY4" fmla="*/ 0 h 488438"/>
                  <a:gd name="connsiteX5" fmla="*/ 423762 w 488438"/>
                  <a:gd name="connsiteY5" fmla="*/ 0 h 488438"/>
                  <a:gd name="connsiteX6" fmla="*/ 488438 w 488438"/>
                  <a:gd name="connsiteY6" fmla="*/ 64677 h 488438"/>
                  <a:gd name="connsiteX7" fmla="*/ 488438 w 488438"/>
                  <a:gd name="connsiteY7" fmla="*/ 423762 h 488438"/>
                  <a:gd name="connsiteX8" fmla="*/ 423762 w 488438"/>
                  <a:gd name="connsiteY8" fmla="*/ 488438 h 488438"/>
                  <a:gd name="connsiteX9" fmla="*/ 129387 w 488438"/>
                  <a:gd name="connsiteY9" fmla="*/ 360194 h 488438"/>
                  <a:gd name="connsiteX10" fmla="*/ 359081 w 488438"/>
                  <a:gd name="connsiteY10" fmla="*/ 360194 h 488438"/>
                  <a:gd name="connsiteX11" fmla="*/ 359081 w 488438"/>
                  <a:gd name="connsiteY11" fmla="*/ 130500 h 488438"/>
                  <a:gd name="connsiteX12" fmla="*/ 129387 w 488438"/>
                  <a:gd name="connsiteY12" fmla="*/ 130500 h 48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438" h="488438">
                    <a:moveTo>
                      <a:pt x="423762" y="488438"/>
                    </a:moveTo>
                    <a:lnTo>
                      <a:pt x="64677" y="488438"/>
                    </a:lnTo>
                    <a:cubicBezTo>
                      <a:pt x="29009" y="488438"/>
                      <a:pt x="0" y="459430"/>
                      <a:pt x="0" y="423762"/>
                    </a:cubicBezTo>
                    <a:lnTo>
                      <a:pt x="0" y="64677"/>
                    </a:lnTo>
                    <a:cubicBezTo>
                      <a:pt x="0" y="29009"/>
                      <a:pt x="29008" y="0"/>
                      <a:pt x="64677" y="0"/>
                    </a:cubicBezTo>
                    <a:lnTo>
                      <a:pt x="423762" y="0"/>
                    </a:lnTo>
                    <a:cubicBezTo>
                      <a:pt x="459429" y="0"/>
                      <a:pt x="488438" y="29008"/>
                      <a:pt x="488438" y="64677"/>
                    </a:cubicBezTo>
                    <a:lnTo>
                      <a:pt x="488438" y="423762"/>
                    </a:lnTo>
                    <a:cubicBezTo>
                      <a:pt x="488438" y="459429"/>
                      <a:pt x="459468" y="488438"/>
                      <a:pt x="423762" y="488438"/>
                    </a:cubicBezTo>
                    <a:close/>
                    <a:moveTo>
                      <a:pt x="129387" y="360194"/>
                    </a:moveTo>
                    <a:lnTo>
                      <a:pt x="359081" y="360194"/>
                    </a:lnTo>
                    <a:lnTo>
                      <a:pt x="359081" y="130500"/>
                    </a:lnTo>
                    <a:lnTo>
                      <a:pt x="129387" y="130500"/>
                    </a:lnTo>
                    <a:close/>
                  </a:path>
                </a:pathLst>
              </a:custGeom>
              <a:grpFill/>
              <a:ln w="9797"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E6527752-8C47-2C88-7756-7F53FC8A00D5}"/>
                  </a:ext>
                </a:extLst>
              </p:cNvPr>
              <p:cNvSpPr/>
              <p:nvPr/>
            </p:nvSpPr>
            <p:spPr>
              <a:xfrm>
                <a:off x="5206791" y="1832872"/>
                <a:ext cx="956495" cy="982826"/>
              </a:xfrm>
              <a:custGeom>
                <a:avLst/>
                <a:gdLst>
                  <a:gd name="connsiteX0" fmla="*/ 892539 w 956495"/>
                  <a:gd name="connsiteY0" fmla="*/ 982827 h 982826"/>
                  <a:gd name="connsiteX1" fmla="*/ 846806 w 956495"/>
                  <a:gd name="connsiteY1" fmla="*/ 962773 h 982826"/>
                  <a:gd name="connsiteX2" fmla="*/ 18262 w 956495"/>
                  <a:gd name="connsiteY2" fmla="*/ 108580 h 982826"/>
                  <a:gd name="connsiteX3" fmla="*/ 19372 w 956495"/>
                  <a:gd name="connsiteY3" fmla="*/ 18262 h 982826"/>
                  <a:gd name="connsiteX4" fmla="*/ 109690 w 956495"/>
                  <a:gd name="connsiteY4" fmla="*/ 19372 h 982826"/>
                  <a:gd name="connsiteX5" fmla="*/ 938234 w 956495"/>
                  <a:gd name="connsiteY5" fmla="*/ 873565 h 982826"/>
                  <a:gd name="connsiteX6" fmla="*/ 937124 w 956495"/>
                  <a:gd name="connsiteY6" fmla="*/ 963883 h 982826"/>
                  <a:gd name="connsiteX7" fmla="*/ 892539 w 956495"/>
                  <a:gd name="connsiteY7" fmla="*/ 982827 h 98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6495" h="982826">
                    <a:moveTo>
                      <a:pt x="892539" y="982827"/>
                    </a:moveTo>
                    <a:cubicBezTo>
                      <a:pt x="875815" y="982827"/>
                      <a:pt x="859091" y="976130"/>
                      <a:pt x="846806" y="962773"/>
                    </a:cubicBezTo>
                    <a:lnTo>
                      <a:pt x="18262" y="108580"/>
                    </a:lnTo>
                    <a:cubicBezTo>
                      <a:pt x="-6269" y="82939"/>
                      <a:pt x="-6269" y="42794"/>
                      <a:pt x="19372" y="18262"/>
                    </a:cubicBezTo>
                    <a:cubicBezTo>
                      <a:pt x="45013" y="-6269"/>
                      <a:pt x="85158" y="-6269"/>
                      <a:pt x="109690" y="19372"/>
                    </a:cubicBezTo>
                    <a:lnTo>
                      <a:pt x="938234" y="873565"/>
                    </a:lnTo>
                    <a:cubicBezTo>
                      <a:pt x="962765" y="899206"/>
                      <a:pt x="962765" y="939351"/>
                      <a:pt x="937124" y="963883"/>
                    </a:cubicBezTo>
                    <a:cubicBezTo>
                      <a:pt x="924878" y="976129"/>
                      <a:pt x="908154" y="982827"/>
                      <a:pt x="892539" y="982827"/>
                    </a:cubicBezTo>
                    <a:close/>
                  </a:path>
                </a:pathLst>
              </a:custGeom>
              <a:grpFill/>
              <a:ln w="9797"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2594F475-EE23-4163-B1BA-A7389838765B}"/>
                  </a:ext>
                </a:extLst>
              </p:cNvPr>
              <p:cNvSpPr/>
              <p:nvPr/>
            </p:nvSpPr>
            <p:spPr>
              <a:xfrm>
                <a:off x="6035336" y="1833982"/>
                <a:ext cx="956496" cy="981717"/>
              </a:xfrm>
              <a:custGeom>
                <a:avLst/>
                <a:gdLst>
                  <a:gd name="connsiteX0" fmla="*/ 63995 w 956496"/>
                  <a:gd name="connsiteY0" fmla="*/ 981717 h 981717"/>
                  <a:gd name="connsiteX1" fmla="*/ 19372 w 956496"/>
                  <a:gd name="connsiteY1" fmla="*/ 963883 h 981717"/>
                  <a:gd name="connsiteX2" fmla="*/ 18262 w 956496"/>
                  <a:gd name="connsiteY2" fmla="*/ 873565 h 981717"/>
                  <a:gd name="connsiteX3" fmla="*/ 846807 w 956496"/>
                  <a:gd name="connsiteY3" fmla="*/ 19372 h 981717"/>
                  <a:gd name="connsiteX4" fmla="*/ 937124 w 956496"/>
                  <a:gd name="connsiteY4" fmla="*/ 18262 h 981717"/>
                  <a:gd name="connsiteX5" fmla="*/ 938234 w 956496"/>
                  <a:gd name="connsiteY5" fmla="*/ 108580 h 981717"/>
                  <a:gd name="connsiteX6" fmla="*/ 109690 w 956496"/>
                  <a:gd name="connsiteY6" fmla="*/ 962773 h 981717"/>
                  <a:gd name="connsiteX7" fmla="*/ 63995 w 956496"/>
                  <a:gd name="connsiteY7" fmla="*/ 981717 h 98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6496" h="981717">
                    <a:moveTo>
                      <a:pt x="63995" y="981717"/>
                    </a:moveTo>
                    <a:cubicBezTo>
                      <a:pt x="48380" y="981717"/>
                      <a:pt x="31657" y="975020"/>
                      <a:pt x="19372" y="963883"/>
                    </a:cubicBezTo>
                    <a:cubicBezTo>
                      <a:pt x="-6269" y="939352"/>
                      <a:pt x="-6269" y="898097"/>
                      <a:pt x="18262" y="873565"/>
                    </a:cubicBezTo>
                    <a:lnTo>
                      <a:pt x="846807" y="19372"/>
                    </a:lnTo>
                    <a:cubicBezTo>
                      <a:pt x="871337" y="-6269"/>
                      <a:pt x="912592" y="-6269"/>
                      <a:pt x="937124" y="18262"/>
                    </a:cubicBezTo>
                    <a:cubicBezTo>
                      <a:pt x="962766" y="42793"/>
                      <a:pt x="962766" y="84048"/>
                      <a:pt x="938234" y="108580"/>
                    </a:cubicBezTo>
                    <a:lnTo>
                      <a:pt x="109690" y="962773"/>
                    </a:lnTo>
                    <a:cubicBezTo>
                      <a:pt x="97482" y="975020"/>
                      <a:pt x="80720" y="981717"/>
                      <a:pt x="63995" y="981717"/>
                    </a:cubicBezTo>
                    <a:close/>
                  </a:path>
                </a:pathLst>
              </a:custGeom>
              <a:grpFill/>
              <a:ln w="9797"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986A8AF9-63CD-4DB5-0E2F-1362EE658B97}"/>
                  </a:ext>
                </a:extLst>
              </p:cNvPr>
              <p:cNvSpPr/>
              <p:nvPr/>
            </p:nvSpPr>
            <p:spPr>
              <a:xfrm>
                <a:off x="6862120" y="1833307"/>
                <a:ext cx="129353" cy="1836603"/>
              </a:xfrm>
              <a:custGeom>
                <a:avLst/>
                <a:gdLst>
                  <a:gd name="connsiteX0" fmla="*/ 64677 w 129353"/>
                  <a:gd name="connsiteY0" fmla="*/ 1836604 h 1836603"/>
                  <a:gd name="connsiteX1" fmla="*/ 0 w 129353"/>
                  <a:gd name="connsiteY1" fmla="*/ 1771927 h 1836603"/>
                  <a:gd name="connsiteX2" fmla="*/ 0 w 129353"/>
                  <a:gd name="connsiteY2" fmla="*/ 64677 h 1836603"/>
                  <a:gd name="connsiteX3" fmla="*/ 64677 w 129353"/>
                  <a:gd name="connsiteY3" fmla="*/ 0 h 1836603"/>
                  <a:gd name="connsiteX4" fmla="*/ 129354 w 129353"/>
                  <a:gd name="connsiteY4" fmla="*/ 64677 h 1836603"/>
                  <a:gd name="connsiteX5" fmla="*/ 129354 w 129353"/>
                  <a:gd name="connsiteY5" fmla="*/ 1771927 h 1836603"/>
                  <a:gd name="connsiteX6" fmla="*/ 64677 w 129353"/>
                  <a:gd name="connsiteY6" fmla="*/ 1836604 h 183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353" h="1836603">
                    <a:moveTo>
                      <a:pt x="64677" y="1836604"/>
                    </a:moveTo>
                    <a:cubicBezTo>
                      <a:pt x="29009" y="1836604"/>
                      <a:pt x="0" y="1807595"/>
                      <a:pt x="0" y="1771927"/>
                    </a:cubicBezTo>
                    <a:lnTo>
                      <a:pt x="0" y="64677"/>
                    </a:lnTo>
                    <a:cubicBezTo>
                      <a:pt x="0" y="29009"/>
                      <a:pt x="29008" y="0"/>
                      <a:pt x="64677" y="0"/>
                    </a:cubicBezTo>
                    <a:cubicBezTo>
                      <a:pt x="100345" y="0"/>
                      <a:pt x="129354" y="29008"/>
                      <a:pt x="129354" y="64677"/>
                    </a:cubicBezTo>
                    <a:lnTo>
                      <a:pt x="129354" y="1771927"/>
                    </a:lnTo>
                    <a:cubicBezTo>
                      <a:pt x="129354" y="1807594"/>
                      <a:pt x="100345" y="1836604"/>
                      <a:pt x="64677" y="1836604"/>
                    </a:cubicBezTo>
                    <a:close/>
                  </a:path>
                </a:pathLst>
              </a:custGeom>
              <a:grpFill/>
              <a:ln w="9797" cap="flat">
                <a:noFill/>
                <a:prstDash val="solid"/>
                <a:miter/>
              </a:ln>
            </p:spPr>
            <p:txBody>
              <a:bodyPr rtlCol="0" anchor="ctr"/>
              <a:lstStyle/>
              <a:p>
                <a:endParaRPr lang="en-US" dirty="0"/>
              </a:p>
            </p:txBody>
          </p:sp>
        </p:grpSp>
      </p:grpSp>
      <p:grpSp>
        <p:nvGrpSpPr>
          <p:cNvPr id="8" name="Group 7">
            <a:extLst>
              <a:ext uri="{FF2B5EF4-FFF2-40B4-BE49-F238E27FC236}">
                <a16:creationId xmlns:a16="http://schemas.microsoft.com/office/drawing/2014/main" id="{EC7398D4-7E46-3DE1-7F1F-1011007D68BC}"/>
              </a:ext>
            </a:extLst>
          </p:cNvPr>
          <p:cNvGrpSpPr/>
          <p:nvPr/>
        </p:nvGrpSpPr>
        <p:grpSpPr>
          <a:xfrm>
            <a:off x="798239" y="1971459"/>
            <a:ext cx="731520" cy="731520"/>
            <a:chOff x="798239" y="1971459"/>
            <a:chExt cx="731520" cy="731520"/>
          </a:xfrm>
        </p:grpSpPr>
        <p:sp>
          <p:nvSpPr>
            <p:cNvPr id="43" name="Google Shape;518;p34">
              <a:extLst>
                <a:ext uri="{FF2B5EF4-FFF2-40B4-BE49-F238E27FC236}">
                  <a16:creationId xmlns:a16="http://schemas.microsoft.com/office/drawing/2014/main" id="{36E75D44-F9AD-B745-0859-3BC0CBC1D5E9}"/>
                </a:ext>
              </a:extLst>
            </p:cNvPr>
            <p:cNvSpPr>
              <a:spLocks noChangeAspect="1"/>
            </p:cNvSpPr>
            <p:nvPr/>
          </p:nvSpPr>
          <p:spPr>
            <a:xfrm>
              <a:off x="798239" y="1971459"/>
              <a:ext cx="731520" cy="731520"/>
            </a:xfrm>
            <a:custGeom>
              <a:avLst/>
              <a:gdLst/>
              <a:ahLst/>
              <a:cxnLst/>
              <a:rect l="l" t="t" r="r" b="b"/>
              <a:pathLst>
                <a:path w="209017" h="209017" extrusionOk="0">
                  <a:moveTo>
                    <a:pt x="104508" y="0"/>
                  </a:moveTo>
                  <a:cubicBezTo>
                    <a:pt x="46781" y="0"/>
                    <a:pt x="0" y="46781"/>
                    <a:pt x="0" y="104508"/>
                  </a:cubicBezTo>
                  <a:cubicBezTo>
                    <a:pt x="0" y="132211"/>
                    <a:pt x="11007" y="158805"/>
                    <a:pt x="30599" y="178397"/>
                  </a:cubicBezTo>
                  <a:cubicBezTo>
                    <a:pt x="50211" y="197988"/>
                    <a:pt x="76784" y="209016"/>
                    <a:pt x="104508" y="209016"/>
                  </a:cubicBezTo>
                  <a:cubicBezTo>
                    <a:pt x="132211" y="209016"/>
                    <a:pt x="158805" y="197988"/>
                    <a:pt x="178397" y="178397"/>
                  </a:cubicBezTo>
                  <a:cubicBezTo>
                    <a:pt x="197988" y="158805"/>
                    <a:pt x="209016" y="132211"/>
                    <a:pt x="209016" y="104508"/>
                  </a:cubicBezTo>
                  <a:cubicBezTo>
                    <a:pt x="209016" y="76784"/>
                    <a:pt x="197988" y="50211"/>
                    <a:pt x="178397" y="30599"/>
                  </a:cubicBezTo>
                  <a:cubicBezTo>
                    <a:pt x="158805" y="11007"/>
                    <a:pt x="132211" y="0"/>
                    <a:pt x="104508" y="0"/>
                  </a:cubicBezTo>
                  <a:close/>
                </a:path>
              </a:pathLst>
            </a:custGeom>
            <a:solidFill>
              <a:srgbClr val="F2F2F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52" name="Freeform: Shape 151">
              <a:extLst>
                <a:ext uri="{FF2B5EF4-FFF2-40B4-BE49-F238E27FC236}">
                  <a16:creationId xmlns:a16="http://schemas.microsoft.com/office/drawing/2014/main" id="{3FC22138-B095-D807-2A9B-8ACAB57754C6}"/>
                </a:ext>
              </a:extLst>
            </p:cNvPr>
            <p:cNvSpPr/>
            <p:nvPr/>
          </p:nvSpPr>
          <p:spPr>
            <a:xfrm>
              <a:off x="969943" y="2143166"/>
              <a:ext cx="388113" cy="388106"/>
            </a:xfrm>
            <a:custGeom>
              <a:avLst/>
              <a:gdLst>
                <a:gd name="connsiteX0" fmla="*/ 1540924 w 4937818"/>
                <a:gd name="connsiteY0" fmla="*/ 2034943 h 4937721"/>
                <a:gd name="connsiteX1" fmla="*/ 1482945 w 4937818"/>
                <a:gd name="connsiteY1" fmla="*/ 1976964 h 4937721"/>
                <a:gd name="connsiteX2" fmla="*/ 1482945 w 4937818"/>
                <a:gd name="connsiteY2" fmla="*/ 1474174 h 4937721"/>
                <a:gd name="connsiteX3" fmla="*/ 1985734 w 4937818"/>
                <a:gd name="connsiteY3" fmla="*/ 1474174 h 4937721"/>
                <a:gd name="connsiteX4" fmla="*/ 2043713 w 4937818"/>
                <a:gd name="connsiteY4" fmla="*/ 1532154 h 4937721"/>
                <a:gd name="connsiteX5" fmla="*/ 1985734 w 4937818"/>
                <a:gd name="connsiteY5" fmla="*/ 1590133 h 4937721"/>
                <a:gd name="connsiteX6" fmla="*/ 1598903 w 4937818"/>
                <a:gd name="connsiteY6" fmla="*/ 1590171 h 4937721"/>
                <a:gd name="connsiteX7" fmla="*/ 1598903 w 4937818"/>
                <a:gd name="connsiteY7" fmla="*/ 1976894 h 4937721"/>
                <a:gd name="connsiteX8" fmla="*/ 1540924 w 4937818"/>
                <a:gd name="connsiteY8" fmla="*/ 2034950 h 4937721"/>
                <a:gd name="connsiteX9" fmla="*/ 3455188 w 4937818"/>
                <a:gd name="connsiteY9" fmla="*/ 1976887 h 4937721"/>
                <a:gd name="connsiteX10" fmla="*/ 3455188 w 4937818"/>
                <a:gd name="connsiteY10" fmla="*/ 1474098 h 4937721"/>
                <a:gd name="connsiteX11" fmla="*/ 2952398 w 4937818"/>
                <a:gd name="connsiteY11" fmla="*/ 1474098 h 4937721"/>
                <a:gd name="connsiteX12" fmla="*/ 2894419 w 4937818"/>
                <a:gd name="connsiteY12" fmla="*/ 1532077 h 4937721"/>
                <a:gd name="connsiteX13" fmla="*/ 2952398 w 4937818"/>
                <a:gd name="connsiteY13" fmla="*/ 1590057 h 4937721"/>
                <a:gd name="connsiteX14" fmla="*/ 3339121 w 4937818"/>
                <a:gd name="connsiteY14" fmla="*/ 1590057 h 4937721"/>
                <a:gd name="connsiteX15" fmla="*/ 3339121 w 4937818"/>
                <a:gd name="connsiteY15" fmla="*/ 1976779 h 4937721"/>
                <a:gd name="connsiteX16" fmla="*/ 3397101 w 4937818"/>
                <a:gd name="connsiteY16" fmla="*/ 2034759 h 4937721"/>
                <a:gd name="connsiteX17" fmla="*/ 3455195 w 4937818"/>
                <a:gd name="connsiteY17" fmla="*/ 1976895 h 4937721"/>
                <a:gd name="connsiteX18" fmla="*/ 3455188 w 4937818"/>
                <a:gd name="connsiteY18" fmla="*/ 2943777 h 4937721"/>
                <a:gd name="connsiteX19" fmla="*/ 3397208 w 4937818"/>
                <a:gd name="connsiteY19" fmla="*/ 2885798 h 4937721"/>
                <a:gd name="connsiteX20" fmla="*/ 3339229 w 4937818"/>
                <a:gd name="connsiteY20" fmla="*/ 2943777 h 4937721"/>
                <a:gd name="connsiteX21" fmla="*/ 3339229 w 4937818"/>
                <a:gd name="connsiteY21" fmla="*/ 3330500 h 4937721"/>
                <a:gd name="connsiteX22" fmla="*/ 2952506 w 4937818"/>
                <a:gd name="connsiteY22" fmla="*/ 3330500 h 4937721"/>
                <a:gd name="connsiteX23" fmla="*/ 2894527 w 4937818"/>
                <a:gd name="connsiteY23" fmla="*/ 3388479 h 4937721"/>
                <a:gd name="connsiteX24" fmla="*/ 2952506 w 4937818"/>
                <a:gd name="connsiteY24" fmla="*/ 3446459 h 4937721"/>
                <a:gd name="connsiteX25" fmla="*/ 3455296 w 4937818"/>
                <a:gd name="connsiteY25" fmla="*/ 3446459 h 4937721"/>
                <a:gd name="connsiteX26" fmla="*/ 3455219 w 4937818"/>
                <a:gd name="connsiteY26" fmla="*/ 2943777 h 4937721"/>
                <a:gd name="connsiteX27" fmla="*/ 2043615 w 4937818"/>
                <a:gd name="connsiteY27" fmla="*/ 3388518 h 4937721"/>
                <a:gd name="connsiteX28" fmla="*/ 1985636 w 4937818"/>
                <a:gd name="connsiteY28" fmla="*/ 3330539 h 4937721"/>
                <a:gd name="connsiteX29" fmla="*/ 1598874 w 4937818"/>
                <a:gd name="connsiteY29" fmla="*/ 3330501 h 4937721"/>
                <a:gd name="connsiteX30" fmla="*/ 1598874 w 4937818"/>
                <a:gd name="connsiteY30" fmla="*/ 2943778 h 4937721"/>
                <a:gd name="connsiteX31" fmla="*/ 1540895 w 4937818"/>
                <a:gd name="connsiteY31" fmla="*/ 2885799 h 4937721"/>
                <a:gd name="connsiteX32" fmla="*/ 1482915 w 4937818"/>
                <a:gd name="connsiteY32" fmla="*/ 2943778 h 4937721"/>
                <a:gd name="connsiteX33" fmla="*/ 1482915 w 4937818"/>
                <a:gd name="connsiteY33" fmla="*/ 3446567 h 4937721"/>
                <a:gd name="connsiteX34" fmla="*/ 1985705 w 4937818"/>
                <a:gd name="connsiteY34" fmla="*/ 3446567 h 4937721"/>
                <a:gd name="connsiteX35" fmla="*/ 2043608 w 4937818"/>
                <a:gd name="connsiteY35" fmla="*/ 3388511 h 4937721"/>
                <a:gd name="connsiteX36" fmla="*/ 1199033 w 4937818"/>
                <a:gd name="connsiteY36" fmla="*/ 599468 h 4937721"/>
                <a:gd name="connsiteX37" fmla="*/ 599605 w 4937818"/>
                <a:gd name="connsiteY37" fmla="*/ 0 h 4937721"/>
                <a:gd name="connsiteX38" fmla="*/ 137 w 4937818"/>
                <a:gd name="connsiteY38" fmla="*/ 599468 h 4937721"/>
                <a:gd name="connsiteX39" fmla="*/ 599605 w 4937818"/>
                <a:gd name="connsiteY39" fmla="*/ 1198935 h 4937721"/>
                <a:gd name="connsiteX40" fmla="*/ 1199033 w 4937818"/>
                <a:gd name="connsiteY40" fmla="*/ 599468 h 4937721"/>
                <a:gd name="connsiteX41" fmla="*/ 1082996 w 4937818"/>
                <a:gd name="connsiteY41" fmla="*/ 599468 h 4937721"/>
                <a:gd name="connsiteX42" fmla="*/ 599605 w 4937818"/>
                <a:gd name="connsiteY42" fmla="*/ 1082859 h 4937721"/>
                <a:gd name="connsiteX43" fmla="*/ 116214 w 4937818"/>
                <a:gd name="connsiteY43" fmla="*/ 599468 h 4937721"/>
                <a:gd name="connsiteX44" fmla="*/ 599605 w 4937818"/>
                <a:gd name="connsiteY44" fmla="*/ 116077 h 4937721"/>
                <a:gd name="connsiteX45" fmla="*/ 1082996 w 4937818"/>
                <a:gd name="connsiteY45" fmla="*/ 599468 h 4937721"/>
                <a:gd name="connsiteX46" fmla="*/ 966958 w 4937818"/>
                <a:gd name="connsiteY46" fmla="*/ 599468 h 4937721"/>
                <a:gd name="connsiteX47" fmla="*/ 599605 w 4937818"/>
                <a:gd name="connsiteY47" fmla="*/ 232114 h 4937721"/>
                <a:gd name="connsiteX48" fmla="*/ 232251 w 4937818"/>
                <a:gd name="connsiteY48" fmla="*/ 599468 h 4937721"/>
                <a:gd name="connsiteX49" fmla="*/ 290231 w 4937818"/>
                <a:gd name="connsiteY49" fmla="*/ 657447 h 4937721"/>
                <a:gd name="connsiteX50" fmla="*/ 348210 w 4937818"/>
                <a:gd name="connsiteY50" fmla="*/ 599468 h 4937721"/>
                <a:gd name="connsiteX51" fmla="*/ 599605 w 4937818"/>
                <a:gd name="connsiteY51" fmla="*/ 348073 h 4937721"/>
                <a:gd name="connsiteX52" fmla="*/ 850999 w 4937818"/>
                <a:gd name="connsiteY52" fmla="*/ 599468 h 4937721"/>
                <a:gd name="connsiteX53" fmla="*/ 599605 w 4937818"/>
                <a:gd name="connsiteY53" fmla="*/ 850862 h 4937721"/>
                <a:gd name="connsiteX54" fmla="*/ 541625 w 4937818"/>
                <a:gd name="connsiteY54" fmla="*/ 908842 h 4937721"/>
                <a:gd name="connsiteX55" fmla="*/ 599605 w 4937818"/>
                <a:gd name="connsiteY55" fmla="*/ 966821 h 4937721"/>
                <a:gd name="connsiteX56" fmla="*/ 966958 w 4937818"/>
                <a:gd name="connsiteY56" fmla="*/ 599468 h 4937721"/>
                <a:gd name="connsiteX57" fmla="*/ 3068446 w 4937818"/>
                <a:gd name="connsiteY57" fmla="*/ 599468 h 4937721"/>
                <a:gd name="connsiteX58" fmla="*/ 2468978 w 4937818"/>
                <a:gd name="connsiteY58" fmla="*/ 0 h 4937721"/>
                <a:gd name="connsiteX59" fmla="*/ 1869510 w 4937818"/>
                <a:gd name="connsiteY59" fmla="*/ 599468 h 4937721"/>
                <a:gd name="connsiteX60" fmla="*/ 2468978 w 4937818"/>
                <a:gd name="connsiteY60" fmla="*/ 1198896 h 4937721"/>
                <a:gd name="connsiteX61" fmla="*/ 3068446 w 4937818"/>
                <a:gd name="connsiteY61" fmla="*/ 599468 h 4937721"/>
                <a:gd name="connsiteX62" fmla="*/ 2952369 w 4937818"/>
                <a:gd name="connsiteY62" fmla="*/ 599468 h 4937721"/>
                <a:gd name="connsiteX63" fmla="*/ 2468978 w 4937818"/>
                <a:gd name="connsiteY63" fmla="*/ 1082859 h 4937721"/>
                <a:gd name="connsiteX64" fmla="*/ 1985587 w 4937818"/>
                <a:gd name="connsiteY64" fmla="*/ 599468 h 4937721"/>
                <a:gd name="connsiteX65" fmla="*/ 2468978 w 4937818"/>
                <a:gd name="connsiteY65" fmla="*/ 116037 h 4937721"/>
                <a:gd name="connsiteX66" fmla="*/ 2952369 w 4937818"/>
                <a:gd name="connsiteY66" fmla="*/ 599468 h 4937721"/>
                <a:gd name="connsiteX67" fmla="*/ 2836332 w 4937818"/>
                <a:gd name="connsiteY67" fmla="*/ 599468 h 4937721"/>
                <a:gd name="connsiteX68" fmla="*/ 2468978 w 4937818"/>
                <a:gd name="connsiteY68" fmla="*/ 232114 h 4937721"/>
                <a:gd name="connsiteX69" fmla="*/ 2101625 w 4937818"/>
                <a:gd name="connsiteY69" fmla="*/ 599468 h 4937721"/>
                <a:gd name="connsiteX70" fmla="*/ 2159604 w 4937818"/>
                <a:gd name="connsiteY70" fmla="*/ 657447 h 4937721"/>
                <a:gd name="connsiteX71" fmla="*/ 2217583 w 4937818"/>
                <a:gd name="connsiteY71" fmla="*/ 599468 h 4937721"/>
                <a:gd name="connsiteX72" fmla="*/ 2468978 w 4937818"/>
                <a:gd name="connsiteY72" fmla="*/ 348073 h 4937721"/>
                <a:gd name="connsiteX73" fmla="*/ 2720373 w 4937818"/>
                <a:gd name="connsiteY73" fmla="*/ 599468 h 4937721"/>
                <a:gd name="connsiteX74" fmla="*/ 2468978 w 4937818"/>
                <a:gd name="connsiteY74" fmla="*/ 850823 h 4937721"/>
                <a:gd name="connsiteX75" fmla="*/ 2410999 w 4937818"/>
                <a:gd name="connsiteY75" fmla="*/ 908803 h 4937721"/>
                <a:gd name="connsiteX76" fmla="*/ 2468978 w 4937818"/>
                <a:gd name="connsiteY76" fmla="*/ 966782 h 4937721"/>
                <a:gd name="connsiteX77" fmla="*/ 2836332 w 4937818"/>
                <a:gd name="connsiteY77" fmla="*/ 599468 h 4937721"/>
                <a:gd name="connsiteX78" fmla="*/ 4937819 w 4937818"/>
                <a:gd name="connsiteY78" fmla="*/ 599468 h 4937721"/>
                <a:gd name="connsiteX79" fmla="*/ 4338351 w 4937818"/>
                <a:gd name="connsiteY79" fmla="*/ 0 h 4937721"/>
                <a:gd name="connsiteX80" fmla="*/ 3738923 w 4937818"/>
                <a:gd name="connsiteY80" fmla="*/ 599468 h 4937721"/>
                <a:gd name="connsiteX81" fmla="*/ 4338391 w 4937818"/>
                <a:gd name="connsiteY81" fmla="*/ 1198935 h 4937721"/>
                <a:gd name="connsiteX82" fmla="*/ 4937819 w 4937818"/>
                <a:gd name="connsiteY82" fmla="*/ 599468 h 4937721"/>
                <a:gd name="connsiteX83" fmla="*/ 4821782 w 4937818"/>
                <a:gd name="connsiteY83" fmla="*/ 599468 h 4937721"/>
                <a:gd name="connsiteX84" fmla="*/ 4338391 w 4937818"/>
                <a:gd name="connsiteY84" fmla="*/ 1082859 h 4937721"/>
                <a:gd name="connsiteX85" fmla="*/ 3854999 w 4937818"/>
                <a:gd name="connsiteY85" fmla="*/ 599468 h 4937721"/>
                <a:gd name="connsiteX86" fmla="*/ 4338391 w 4937818"/>
                <a:gd name="connsiteY86" fmla="*/ 116077 h 4937721"/>
                <a:gd name="connsiteX87" fmla="*/ 4821782 w 4937818"/>
                <a:gd name="connsiteY87" fmla="*/ 599468 h 4937721"/>
                <a:gd name="connsiteX88" fmla="*/ 4705784 w 4937818"/>
                <a:gd name="connsiteY88" fmla="*/ 599468 h 4937721"/>
                <a:gd name="connsiteX89" fmla="*/ 4338430 w 4937818"/>
                <a:gd name="connsiteY89" fmla="*/ 232114 h 4937721"/>
                <a:gd name="connsiteX90" fmla="*/ 3971076 w 4937818"/>
                <a:gd name="connsiteY90" fmla="*/ 599468 h 4937721"/>
                <a:gd name="connsiteX91" fmla="*/ 4029055 w 4937818"/>
                <a:gd name="connsiteY91" fmla="*/ 657447 h 4937721"/>
                <a:gd name="connsiteX92" fmla="*/ 4087035 w 4937818"/>
                <a:gd name="connsiteY92" fmla="*/ 599468 h 4937721"/>
                <a:gd name="connsiteX93" fmla="*/ 4338430 w 4937818"/>
                <a:gd name="connsiteY93" fmla="*/ 348073 h 4937721"/>
                <a:gd name="connsiteX94" fmla="*/ 4589825 w 4937818"/>
                <a:gd name="connsiteY94" fmla="*/ 599468 h 4937721"/>
                <a:gd name="connsiteX95" fmla="*/ 4338430 w 4937818"/>
                <a:gd name="connsiteY95" fmla="*/ 850862 h 4937721"/>
                <a:gd name="connsiteX96" fmla="*/ 4280451 w 4937818"/>
                <a:gd name="connsiteY96" fmla="*/ 908842 h 4937721"/>
                <a:gd name="connsiteX97" fmla="*/ 4338430 w 4937818"/>
                <a:gd name="connsiteY97" fmla="*/ 966821 h 4937721"/>
                <a:gd name="connsiteX98" fmla="*/ 4705784 w 4937818"/>
                <a:gd name="connsiteY98" fmla="*/ 599468 h 4937721"/>
                <a:gd name="connsiteX99" fmla="*/ 1198896 w 4937818"/>
                <a:gd name="connsiteY99" fmla="*/ 4338253 h 4937721"/>
                <a:gd name="connsiteX100" fmla="*/ 599428 w 4937818"/>
                <a:gd name="connsiteY100" fmla="*/ 3738786 h 4937721"/>
                <a:gd name="connsiteX101" fmla="*/ 0 w 4937818"/>
                <a:gd name="connsiteY101" fmla="*/ 4338253 h 4937721"/>
                <a:gd name="connsiteX102" fmla="*/ 599468 w 4937818"/>
                <a:gd name="connsiteY102" fmla="*/ 4937721 h 4937721"/>
                <a:gd name="connsiteX103" fmla="*/ 1198896 w 4937818"/>
                <a:gd name="connsiteY103" fmla="*/ 4338253 h 4937721"/>
                <a:gd name="connsiteX104" fmla="*/ 1082859 w 4937818"/>
                <a:gd name="connsiteY104" fmla="*/ 4338253 h 4937721"/>
                <a:gd name="connsiteX105" fmla="*/ 599468 w 4937818"/>
                <a:gd name="connsiteY105" fmla="*/ 4821644 h 4937721"/>
                <a:gd name="connsiteX106" fmla="*/ 116077 w 4937818"/>
                <a:gd name="connsiteY106" fmla="*/ 4338253 h 4937721"/>
                <a:gd name="connsiteX107" fmla="*/ 599468 w 4937818"/>
                <a:gd name="connsiteY107" fmla="*/ 3854862 h 4937721"/>
                <a:gd name="connsiteX108" fmla="*/ 1082859 w 4937818"/>
                <a:gd name="connsiteY108" fmla="*/ 4338253 h 4937721"/>
                <a:gd name="connsiteX109" fmla="*/ 966821 w 4937818"/>
                <a:gd name="connsiteY109" fmla="*/ 4338253 h 4937721"/>
                <a:gd name="connsiteX110" fmla="*/ 599468 w 4937818"/>
                <a:gd name="connsiteY110" fmla="*/ 3970900 h 4937721"/>
                <a:gd name="connsiteX111" fmla="*/ 232114 w 4937818"/>
                <a:gd name="connsiteY111" fmla="*/ 4338253 h 4937721"/>
                <a:gd name="connsiteX112" fmla="*/ 290093 w 4937818"/>
                <a:gd name="connsiteY112" fmla="*/ 4396233 h 4937721"/>
                <a:gd name="connsiteX113" fmla="*/ 348073 w 4937818"/>
                <a:gd name="connsiteY113" fmla="*/ 4338253 h 4937721"/>
                <a:gd name="connsiteX114" fmla="*/ 599468 w 4937818"/>
                <a:gd name="connsiteY114" fmla="*/ 4086859 h 4937721"/>
                <a:gd name="connsiteX115" fmla="*/ 850862 w 4937818"/>
                <a:gd name="connsiteY115" fmla="*/ 4338253 h 4937721"/>
                <a:gd name="connsiteX116" fmla="*/ 599468 w 4937818"/>
                <a:gd name="connsiteY116" fmla="*/ 4589648 h 4937721"/>
                <a:gd name="connsiteX117" fmla="*/ 541488 w 4937818"/>
                <a:gd name="connsiteY117" fmla="*/ 4647628 h 4937721"/>
                <a:gd name="connsiteX118" fmla="*/ 599468 w 4937818"/>
                <a:gd name="connsiteY118" fmla="*/ 4705607 h 4937721"/>
                <a:gd name="connsiteX119" fmla="*/ 966821 w 4937818"/>
                <a:gd name="connsiteY119" fmla="*/ 4338253 h 4937721"/>
                <a:gd name="connsiteX120" fmla="*/ 1198896 w 4937818"/>
                <a:gd name="connsiteY120" fmla="*/ 2468861 h 4937721"/>
                <a:gd name="connsiteX121" fmla="*/ 599428 w 4937818"/>
                <a:gd name="connsiteY121" fmla="*/ 1869393 h 4937721"/>
                <a:gd name="connsiteX122" fmla="*/ 0 w 4937818"/>
                <a:gd name="connsiteY122" fmla="*/ 2468861 h 4937721"/>
                <a:gd name="connsiteX123" fmla="*/ 599468 w 4937818"/>
                <a:gd name="connsiteY123" fmla="*/ 3068328 h 4937721"/>
                <a:gd name="connsiteX124" fmla="*/ 1198896 w 4937818"/>
                <a:gd name="connsiteY124" fmla="*/ 2468861 h 4937721"/>
                <a:gd name="connsiteX125" fmla="*/ 1082859 w 4937818"/>
                <a:gd name="connsiteY125" fmla="*/ 2468861 h 4937721"/>
                <a:gd name="connsiteX126" fmla="*/ 599468 w 4937818"/>
                <a:gd name="connsiteY126" fmla="*/ 2952252 h 4937721"/>
                <a:gd name="connsiteX127" fmla="*/ 116037 w 4937818"/>
                <a:gd name="connsiteY127" fmla="*/ 2468861 h 4937721"/>
                <a:gd name="connsiteX128" fmla="*/ 599428 w 4937818"/>
                <a:gd name="connsiteY128" fmla="*/ 1985470 h 4937721"/>
                <a:gd name="connsiteX129" fmla="*/ 1082859 w 4937818"/>
                <a:gd name="connsiteY129" fmla="*/ 2468861 h 4937721"/>
                <a:gd name="connsiteX130" fmla="*/ 966821 w 4937818"/>
                <a:gd name="connsiteY130" fmla="*/ 2468861 h 4937721"/>
                <a:gd name="connsiteX131" fmla="*/ 599468 w 4937818"/>
                <a:gd name="connsiteY131" fmla="*/ 2101507 h 4937721"/>
                <a:gd name="connsiteX132" fmla="*/ 232036 w 4937818"/>
                <a:gd name="connsiteY132" fmla="*/ 2468861 h 4937721"/>
                <a:gd name="connsiteX133" fmla="*/ 290015 w 4937818"/>
                <a:gd name="connsiteY133" fmla="*/ 2526840 h 4937721"/>
                <a:gd name="connsiteX134" fmla="*/ 347995 w 4937818"/>
                <a:gd name="connsiteY134" fmla="*/ 2468861 h 4937721"/>
                <a:gd name="connsiteX135" fmla="*/ 599389 w 4937818"/>
                <a:gd name="connsiteY135" fmla="*/ 2217466 h 4937721"/>
                <a:gd name="connsiteX136" fmla="*/ 850784 w 4937818"/>
                <a:gd name="connsiteY136" fmla="*/ 2468861 h 4937721"/>
                <a:gd name="connsiteX137" fmla="*/ 599389 w 4937818"/>
                <a:gd name="connsiteY137" fmla="*/ 2720255 h 4937721"/>
                <a:gd name="connsiteX138" fmla="*/ 541410 w 4937818"/>
                <a:gd name="connsiteY138" fmla="*/ 2778235 h 4937721"/>
                <a:gd name="connsiteX139" fmla="*/ 599389 w 4937818"/>
                <a:gd name="connsiteY139" fmla="*/ 2836214 h 4937721"/>
                <a:gd name="connsiteX140" fmla="*/ 966821 w 4937818"/>
                <a:gd name="connsiteY140" fmla="*/ 2468861 h 4937721"/>
                <a:gd name="connsiteX141" fmla="*/ 3068308 w 4937818"/>
                <a:gd name="connsiteY141" fmla="*/ 4338253 h 4937721"/>
                <a:gd name="connsiteX142" fmla="*/ 2468841 w 4937818"/>
                <a:gd name="connsiteY142" fmla="*/ 3738786 h 4937721"/>
                <a:gd name="connsiteX143" fmla="*/ 1869373 w 4937818"/>
                <a:gd name="connsiteY143" fmla="*/ 4338253 h 4937721"/>
                <a:gd name="connsiteX144" fmla="*/ 2468841 w 4937818"/>
                <a:gd name="connsiteY144" fmla="*/ 4937721 h 4937721"/>
                <a:gd name="connsiteX145" fmla="*/ 3068308 w 4937818"/>
                <a:gd name="connsiteY145" fmla="*/ 4338253 h 4937721"/>
                <a:gd name="connsiteX146" fmla="*/ 2952232 w 4937818"/>
                <a:gd name="connsiteY146" fmla="*/ 4338253 h 4937721"/>
                <a:gd name="connsiteX147" fmla="*/ 2468841 w 4937818"/>
                <a:gd name="connsiteY147" fmla="*/ 4821644 h 4937721"/>
                <a:gd name="connsiteX148" fmla="*/ 1985450 w 4937818"/>
                <a:gd name="connsiteY148" fmla="*/ 4338253 h 4937721"/>
                <a:gd name="connsiteX149" fmla="*/ 2468841 w 4937818"/>
                <a:gd name="connsiteY149" fmla="*/ 3854862 h 4937721"/>
                <a:gd name="connsiteX150" fmla="*/ 2952232 w 4937818"/>
                <a:gd name="connsiteY150" fmla="*/ 4338253 h 4937721"/>
                <a:gd name="connsiteX151" fmla="*/ 2836195 w 4937818"/>
                <a:gd name="connsiteY151" fmla="*/ 4338253 h 4937721"/>
                <a:gd name="connsiteX152" fmla="*/ 2468841 w 4937818"/>
                <a:gd name="connsiteY152" fmla="*/ 3970900 h 4937721"/>
                <a:gd name="connsiteX153" fmla="*/ 2101487 w 4937818"/>
                <a:gd name="connsiteY153" fmla="*/ 4338253 h 4937721"/>
                <a:gd name="connsiteX154" fmla="*/ 2159467 w 4937818"/>
                <a:gd name="connsiteY154" fmla="*/ 4396233 h 4937721"/>
                <a:gd name="connsiteX155" fmla="*/ 2217446 w 4937818"/>
                <a:gd name="connsiteY155" fmla="*/ 4338253 h 4937721"/>
                <a:gd name="connsiteX156" fmla="*/ 2468841 w 4937818"/>
                <a:gd name="connsiteY156" fmla="*/ 4086859 h 4937721"/>
                <a:gd name="connsiteX157" fmla="*/ 2720236 w 4937818"/>
                <a:gd name="connsiteY157" fmla="*/ 4338253 h 4937721"/>
                <a:gd name="connsiteX158" fmla="*/ 2468841 w 4937818"/>
                <a:gd name="connsiteY158" fmla="*/ 4589648 h 4937721"/>
                <a:gd name="connsiteX159" fmla="*/ 2410861 w 4937818"/>
                <a:gd name="connsiteY159" fmla="*/ 4647628 h 4937721"/>
                <a:gd name="connsiteX160" fmla="*/ 2468841 w 4937818"/>
                <a:gd name="connsiteY160" fmla="*/ 4705607 h 4937721"/>
                <a:gd name="connsiteX161" fmla="*/ 2836195 w 4937818"/>
                <a:gd name="connsiteY161" fmla="*/ 4338253 h 4937721"/>
                <a:gd name="connsiteX162" fmla="*/ 3068299 w 4937818"/>
                <a:gd name="connsiteY162" fmla="*/ 2468861 h 4937721"/>
                <a:gd name="connsiteX163" fmla="*/ 2468831 w 4937818"/>
                <a:gd name="connsiteY163" fmla="*/ 1869393 h 4937721"/>
                <a:gd name="connsiteX164" fmla="*/ 1869364 w 4937818"/>
                <a:gd name="connsiteY164" fmla="*/ 2468861 h 4937721"/>
                <a:gd name="connsiteX165" fmla="*/ 2468831 w 4937818"/>
                <a:gd name="connsiteY165" fmla="*/ 3068328 h 4937721"/>
                <a:gd name="connsiteX166" fmla="*/ 3068299 w 4937818"/>
                <a:gd name="connsiteY166" fmla="*/ 2468861 h 4937721"/>
                <a:gd name="connsiteX167" fmla="*/ 2952222 w 4937818"/>
                <a:gd name="connsiteY167" fmla="*/ 2468861 h 4937721"/>
                <a:gd name="connsiteX168" fmla="*/ 2468831 w 4937818"/>
                <a:gd name="connsiteY168" fmla="*/ 2952252 h 4937721"/>
                <a:gd name="connsiteX169" fmla="*/ 1985440 w 4937818"/>
                <a:gd name="connsiteY169" fmla="*/ 2468861 h 4937721"/>
                <a:gd name="connsiteX170" fmla="*/ 2468831 w 4937818"/>
                <a:gd name="connsiteY170" fmla="*/ 1985470 h 4937721"/>
                <a:gd name="connsiteX171" fmla="*/ 2952222 w 4937818"/>
                <a:gd name="connsiteY171" fmla="*/ 2468861 h 4937721"/>
                <a:gd name="connsiteX172" fmla="*/ 2753487 w 4937818"/>
                <a:gd name="connsiteY172" fmla="*/ 2468861 h 4937721"/>
                <a:gd name="connsiteX173" fmla="*/ 2468831 w 4937818"/>
                <a:gd name="connsiteY173" fmla="*/ 2184204 h 4937721"/>
                <a:gd name="connsiteX174" fmla="*/ 2184175 w 4937818"/>
                <a:gd name="connsiteY174" fmla="*/ 2468861 h 4937721"/>
                <a:gd name="connsiteX175" fmla="*/ 2468831 w 4937818"/>
                <a:gd name="connsiteY175" fmla="*/ 2753516 h 4937721"/>
                <a:gd name="connsiteX176" fmla="*/ 2753487 w 4937818"/>
                <a:gd name="connsiteY176" fmla="*/ 2468861 h 4937721"/>
                <a:gd name="connsiteX177" fmla="*/ 2637411 w 4937818"/>
                <a:gd name="connsiteY177" fmla="*/ 2468861 h 4937721"/>
                <a:gd name="connsiteX178" fmla="*/ 2468831 w 4937818"/>
                <a:gd name="connsiteY178" fmla="*/ 2637440 h 4937721"/>
                <a:gd name="connsiteX179" fmla="*/ 2300252 w 4937818"/>
                <a:gd name="connsiteY179" fmla="*/ 2468861 h 4937721"/>
                <a:gd name="connsiteX180" fmla="*/ 2468831 w 4937818"/>
                <a:gd name="connsiteY180" fmla="*/ 2300281 h 4937721"/>
                <a:gd name="connsiteX181" fmla="*/ 2637411 w 4937818"/>
                <a:gd name="connsiteY181" fmla="*/ 2468861 h 4937721"/>
                <a:gd name="connsiteX182" fmla="*/ 4937682 w 4937818"/>
                <a:gd name="connsiteY182" fmla="*/ 4338253 h 4937721"/>
                <a:gd name="connsiteX183" fmla="*/ 4338214 w 4937818"/>
                <a:gd name="connsiteY183" fmla="*/ 3738786 h 4937721"/>
                <a:gd name="connsiteX184" fmla="*/ 3738747 w 4937818"/>
                <a:gd name="connsiteY184" fmla="*/ 4338253 h 4937721"/>
                <a:gd name="connsiteX185" fmla="*/ 4338214 w 4937818"/>
                <a:gd name="connsiteY185" fmla="*/ 4937721 h 4937721"/>
                <a:gd name="connsiteX186" fmla="*/ 4937682 w 4937818"/>
                <a:gd name="connsiteY186" fmla="*/ 4338253 h 4937721"/>
                <a:gd name="connsiteX187" fmla="*/ 4821645 w 4937818"/>
                <a:gd name="connsiteY187" fmla="*/ 4338253 h 4937721"/>
                <a:gd name="connsiteX188" fmla="*/ 4338253 w 4937818"/>
                <a:gd name="connsiteY188" fmla="*/ 4821644 h 4937721"/>
                <a:gd name="connsiteX189" fmla="*/ 3854862 w 4937818"/>
                <a:gd name="connsiteY189" fmla="*/ 4338253 h 4937721"/>
                <a:gd name="connsiteX190" fmla="*/ 4338253 w 4937818"/>
                <a:gd name="connsiteY190" fmla="*/ 3854862 h 4937721"/>
                <a:gd name="connsiteX191" fmla="*/ 4821645 w 4937818"/>
                <a:gd name="connsiteY191" fmla="*/ 4338253 h 4937721"/>
                <a:gd name="connsiteX192" fmla="*/ 4705646 w 4937818"/>
                <a:gd name="connsiteY192" fmla="*/ 4338253 h 4937721"/>
                <a:gd name="connsiteX193" fmla="*/ 4338293 w 4937818"/>
                <a:gd name="connsiteY193" fmla="*/ 3970900 h 4937721"/>
                <a:gd name="connsiteX194" fmla="*/ 3970939 w 4937818"/>
                <a:gd name="connsiteY194" fmla="*/ 4338253 h 4937721"/>
                <a:gd name="connsiteX195" fmla="*/ 4028918 w 4937818"/>
                <a:gd name="connsiteY195" fmla="*/ 4396233 h 4937721"/>
                <a:gd name="connsiteX196" fmla="*/ 4086898 w 4937818"/>
                <a:gd name="connsiteY196" fmla="*/ 4338253 h 4937721"/>
                <a:gd name="connsiteX197" fmla="*/ 4338293 w 4937818"/>
                <a:gd name="connsiteY197" fmla="*/ 4086859 h 4937721"/>
                <a:gd name="connsiteX198" fmla="*/ 4589687 w 4937818"/>
                <a:gd name="connsiteY198" fmla="*/ 4338253 h 4937721"/>
                <a:gd name="connsiteX199" fmla="*/ 4338293 w 4937818"/>
                <a:gd name="connsiteY199" fmla="*/ 4589648 h 4937721"/>
                <a:gd name="connsiteX200" fmla="*/ 4280313 w 4937818"/>
                <a:gd name="connsiteY200" fmla="*/ 4647628 h 4937721"/>
                <a:gd name="connsiteX201" fmla="*/ 4338293 w 4937818"/>
                <a:gd name="connsiteY201" fmla="*/ 4705607 h 4937721"/>
                <a:gd name="connsiteX202" fmla="*/ 4705646 w 4937818"/>
                <a:gd name="connsiteY202" fmla="*/ 4338253 h 4937721"/>
                <a:gd name="connsiteX203" fmla="*/ 4937682 w 4937818"/>
                <a:gd name="connsiteY203" fmla="*/ 2468861 h 4937721"/>
                <a:gd name="connsiteX204" fmla="*/ 4338214 w 4937818"/>
                <a:gd name="connsiteY204" fmla="*/ 1869393 h 4937721"/>
                <a:gd name="connsiteX205" fmla="*/ 3738747 w 4937818"/>
                <a:gd name="connsiteY205" fmla="*/ 2468861 h 4937721"/>
                <a:gd name="connsiteX206" fmla="*/ 4338214 w 4937818"/>
                <a:gd name="connsiteY206" fmla="*/ 3068328 h 4937721"/>
                <a:gd name="connsiteX207" fmla="*/ 4937682 w 4937818"/>
                <a:gd name="connsiteY207" fmla="*/ 2468861 h 4937721"/>
                <a:gd name="connsiteX208" fmla="*/ 4821645 w 4937818"/>
                <a:gd name="connsiteY208" fmla="*/ 2468861 h 4937721"/>
                <a:gd name="connsiteX209" fmla="*/ 4338253 w 4937818"/>
                <a:gd name="connsiteY209" fmla="*/ 2952252 h 4937721"/>
                <a:gd name="connsiteX210" fmla="*/ 3854862 w 4937818"/>
                <a:gd name="connsiteY210" fmla="*/ 2468861 h 4937721"/>
                <a:gd name="connsiteX211" fmla="*/ 4338253 w 4937818"/>
                <a:gd name="connsiteY211" fmla="*/ 1985470 h 4937721"/>
                <a:gd name="connsiteX212" fmla="*/ 4821645 w 4937818"/>
                <a:gd name="connsiteY212" fmla="*/ 2468861 h 4937721"/>
                <a:gd name="connsiteX213" fmla="*/ 4705646 w 4937818"/>
                <a:gd name="connsiteY213" fmla="*/ 2468861 h 4937721"/>
                <a:gd name="connsiteX214" fmla="*/ 4338293 w 4937818"/>
                <a:gd name="connsiteY214" fmla="*/ 2101507 h 4937721"/>
                <a:gd name="connsiteX215" fmla="*/ 3970861 w 4937818"/>
                <a:gd name="connsiteY215" fmla="*/ 2468861 h 4937721"/>
                <a:gd name="connsiteX216" fmla="*/ 4028840 w 4937818"/>
                <a:gd name="connsiteY216" fmla="*/ 2526840 h 4937721"/>
                <a:gd name="connsiteX217" fmla="*/ 4086819 w 4937818"/>
                <a:gd name="connsiteY217" fmla="*/ 2468861 h 4937721"/>
                <a:gd name="connsiteX218" fmla="*/ 4338214 w 4937818"/>
                <a:gd name="connsiteY218" fmla="*/ 2217466 h 4937721"/>
                <a:gd name="connsiteX219" fmla="*/ 4589609 w 4937818"/>
                <a:gd name="connsiteY219" fmla="*/ 2468861 h 4937721"/>
                <a:gd name="connsiteX220" fmla="*/ 4338214 w 4937818"/>
                <a:gd name="connsiteY220" fmla="*/ 2720255 h 4937721"/>
                <a:gd name="connsiteX221" fmla="*/ 4280235 w 4937818"/>
                <a:gd name="connsiteY221" fmla="*/ 2778235 h 4937721"/>
                <a:gd name="connsiteX222" fmla="*/ 4338214 w 4937818"/>
                <a:gd name="connsiteY222" fmla="*/ 2836214 h 4937721"/>
                <a:gd name="connsiteX223" fmla="*/ 4705646 w 4937818"/>
                <a:gd name="connsiteY223" fmla="*/ 2468861 h 493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4937818" h="4937721">
                  <a:moveTo>
                    <a:pt x="1540924" y="2034943"/>
                  </a:moveTo>
                  <a:cubicBezTo>
                    <a:pt x="1508892" y="2034943"/>
                    <a:pt x="1482945" y="2008996"/>
                    <a:pt x="1482945" y="1976964"/>
                  </a:cubicBezTo>
                  <a:lnTo>
                    <a:pt x="1482945" y="1474174"/>
                  </a:lnTo>
                  <a:lnTo>
                    <a:pt x="1985734" y="1474174"/>
                  </a:lnTo>
                  <a:cubicBezTo>
                    <a:pt x="2017766" y="1474174"/>
                    <a:pt x="2043713" y="1500121"/>
                    <a:pt x="2043713" y="1532154"/>
                  </a:cubicBezTo>
                  <a:cubicBezTo>
                    <a:pt x="2043713" y="1564185"/>
                    <a:pt x="2017767" y="1590133"/>
                    <a:pt x="1985734" y="1590133"/>
                  </a:cubicBezTo>
                  <a:lnTo>
                    <a:pt x="1598903" y="1590171"/>
                  </a:lnTo>
                  <a:lnTo>
                    <a:pt x="1598903" y="1976894"/>
                  </a:lnTo>
                  <a:cubicBezTo>
                    <a:pt x="1598903" y="2008964"/>
                    <a:pt x="1572957" y="2034950"/>
                    <a:pt x="1540924" y="2034950"/>
                  </a:cubicBezTo>
                  <a:close/>
                  <a:moveTo>
                    <a:pt x="3455188" y="1976887"/>
                  </a:moveTo>
                  <a:lnTo>
                    <a:pt x="3455188" y="1474098"/>
                  </a:lnTo>
                  <a:lnTo>
                    <a:pt x="2952398" y="1474098"/>
                  </a:lnTo>
                  <a:cubicBezTo>
                    <a:pt x="2920367" y="1474098"/>
                    <a:pt x="2894419" y="1500045"/>
                    <a:pt x="2894419" y="1532077"/>
                  </a:cubicBezTo>
                  <a:cubicBezTo>
                    <a:pt x="2894419" y="1564110"/>
                    <a:pt x="2920366" y="1590057"/>
                    <a:pt x="2952398" y="1590057"/>
                  </a:cubicBezTo>
                  <a:lnTo>
                    <a:pt x="3339121" y="1590057"/>
                  </a:lnTo>
                  <a:lnTo>
                    <a:pt x="3339121" y="1976779"/>
                  </a:lnTo>
                  <a:cubicBezTo>
                    <a:pt x="3339121" y="2008811"/>
                    <a:pt x="3365068" y="2034759"/>
                    <a:pt x="3397101" y="2034759"/>
                  </a:cubicBezTo>
                  <a:cubicBezTo>
                    <a:pt x="3429171" y="2034835"/>
                    <a:pt x="3455195" y="2008965"/>
                    <a:pt x="3455195" y="1976895"/>
                  </a:cubicBezTo>
                  <a:close/>
                  <a:moveTo>
                    <a:pt x="3455188" y="2943777"/>
                  </a:moveTo>
                  <a:cubicBezTo>
                    <a:pt x="3455188" y="2911745"/>
                    <a:pt x="3429241" y="2885798"/>
                    <a:pt x="3397208" y="2885798"/>
                  </a:cubicBezTo>
                  <a:cubicBezTo>
                    <a:pt x="3365177" y="2885798"/>
                    <a:pt x="3339229" y="2911744"/>
                    <a:pt x="3339229" y="2943777"/>
                  </a:cubicBezTo>
                  <a:lnTo>
                    <a:pt x="3339229" y="3330500"/>
                  </a:lnTo>
                  <a:lnTo>
                    <a:pt x="2952506" y="3330500"/>
                  </a:lnTo>
                  <a:cubicBezTo>
                    <a:pt x="2920475" y="3330500"/>
                    <a:pt x="2894527" y="3356446"/>
                    <a:pt x="2894527" y="3388479"/>
                  </a:cubicBezTo>
                  <a:cubicBezTo>
                    <a:pt x="2894527" y="3420512"/>
                    <a:pt x="2920473" y="3446459"/>
                    <a:pt x="2952506" y="3446459"/>
                  </a:cubicBezTo>
                  <a:lnTo>
                    <a:pt x="3455296" y="3446459"/>
                  </a:lnTo>
                  <a:lnTo>
                    <a:pt x="3455219" y="2943777"/>
                  </a:lnTo>
                  <a:close/>
                  <a:moveTo>
                    <a:pt x="2043615" y="3388518"/>
                  </a:moveTo>
                  <a:cubicBezTo>
                    <a:pt x="2043615" y="3356487"/>
                    <a:pt x="2017669" y="3330539"/>
                    <a:pt x="1985636" y="3330539"/>
                  </a:cubicBezTo>
                  <a:lnTo>
                    <a:pt x="1598874" y="3330501"/>
                  </a:lnTo>
                  <a:lnTo>
                    <a:pt x="1598874" y="2943778"/>
                  </a:lnTo>
                  <a:cubicBezTo>
                    <a:pt x="1598874" y="2911746"/>
                    <a:pt x="1572927" y="2885799"/>
                    <a:pt x="1540895" y="2885799"/>
                  </a:cubicBezTo>
                  <a:cubicBezTo>
                    <a:pt x="1508862" y="2885799"/>
                    <a:pt x="1482915" y="2911745"/>
                    <a:pt x="1482915" y="2943778"/>
                  </a:cubicBezTo>
                  <a:lnTo>
                    <a:pt x="1482915" y="3446567"/>
                  </a:lnTo>
                  <a:lnTo>
                    <a:pt x="1985705" y="3446567"/>
                  </a:lnTo>
                  <a:cubicBezTo>
                    <a:pt x="2017660" y="3446491"/>
                    <a:pt x="2043608" y="3420544"/>
                    <a:pt x="2043608" y="3388511"/>
                  </a:cubicBezTo>
                  <a:close/>
                  <a:moveTo>
                    <a:pt x="1199033" y="599468"/>
                  </a:moveTo>
                  <a:cubicBezTo>
                    <a:pt x="1199033" y="268892"/>
                    <a:pt x="930111" y="0"/>
                    <a:pt x="599605" y="0"/>
                  </a:cubicBezTo>
                  <a:cubicBezTo>
                    <a:pt x="269098" y="0"/>
                    <a:pt x="137" y="268883"/>
                    <a:pt x="137" y="599468"/>
                  </a:cubicBezTo>
                  <a:cubicBezTo>
                    <a:pt x="137" y="930004"/>
                    <a:pt x="269020" y="1198935"/>
                    <a:pt x="599605" y="1198935"/>
                  </a:cubicBezTo>
                  <a:cubicBezTo>
                    <a:pt x="930141" y="1198897"/>
                    <a:pt x="1199033" y="929974"/>
                    <a:pt x="1199033" y="599468"/>
                  </a:cubicBezTo>
                  <a:close/>
                  <a:moveTo>
                    <a:pt x="1082996" y="599468"/>
                  </a:moveTo>
                  <a:cubicBezTo>
                    <a:pt x="1082996" y="866058"/>
                    <a:pt x="866116" y="1082859"/>
                    <a:pt x="599605" y="1082859"/>
                  </a:cubicBezTo>
                  <a:cubicBezTo>
                    <a:pt x="333093" y="1082859"/>
                    <a:pt x="116214" y="865979"/>
                    <a:pt x="116214" y="599468"/>
                  </a:cubicBezTo>
                  <a:cubicBezTo>
                    <a:pt x="116214" y="332956"/>
                    <a:pt x="333093" y="116077"/>
                    <a:pt x="599605" y="116077"/>
                  </a:cubicBezTo>
                  <a:cubicBezTo>
                    <a:pt x="866116" y="116038"/>
                    <a:pt x="1082996" y="332878"/>
                    <a:pt x="1082996" y="599468"/>
                  </a:cubicBezTo>
                  <a:close/>
                  <a:moveTo>
                    <a:pt x="966958" y="599468"/>
                  </a:moveTo>
                  <a:cubicBezTo>
                    <a:pt x="966958" y="396902"/>
                    <a:pt x="802131" y="232114"/>
                    <a:pt x="599605" y="232114"/>
                  </a:cubicBezTo>
                  <a:cubicBezTo>
                    <a:pt x="397039" y="232114"/>
                    <a:pt x="232251" y="396941"/>
                    <a:pt x="232251" y="599468"/>
                  </a:cubicBezTo>
                  <a:cubicBezTo>
                    <a:pt x="232251" y="631499"/>
                    <a:pt x="258198" y="657447"/>
                    <a:pt x="290231" y="657447"/>
                  </a:cubicBezTo>
                  <a:cubicBezTo>
                    <a:pt x="322263" y="657447"/>
                    <a:pt x="348210" y="631500"/>
                    <a:pt x="348210" y="599468"/>
                  </a:cubicBezTo>
                  <a:cubicBezTo>
                    <a:pt x="348210" y="460887"/>
                    <a:pt x="460956" y="348073"/>
                    <a:pt x="599605" y="348073"/>
                  </a:cubicBezTo>
                  <a:cubicBezTo>
                    <a:pt x="738254" y="348073"/>
                    <a:pt x="850999" y="460818"/>
                    <a:pt x="850999" y="599468"/>
                  </a:cubicBezTo>
                  <a:cubicBezTo>
                    <a:pt x="850999" y="738117"/>
                    <a:pt x="738254" y="850862"/>
                    <a:pt x="599605" y="850862"/>
                  </a:cubicBezTo>
                  <a:cubicBezTo>
                    <a:pt x="567573" y="850862"/>
                    <a:pt x="541625" y="876809"/>
                    <a:pt x="541625" y="908842"/>
                  </a:cubicBezTo>
                  <a:cubicBezTo>
                    <a:pt x="541625" y="940875"/>
                    <a:pt x="567572" y="966821"/>
                    <a:pt x="599605" y="966821"/>
                  </a:cubicBezTo>
                  <a:cubicBezTo>
                    <a:pt x="802131" y="966821"/>
                    <a:pt x="966958" y="801994"/>
                    <a:pt x="966958" y="599468"/>
                  </a:cubicBezTo>
                  <a:close/>
                  <a:moveTo>
                    <a:pt x="3068446" y="599468"/>
                  </a:moveTo>
                  <a:cubicBezTo>
                    <a:pt x="3068446" y="268892"/>
                    <a:pt x="2799485" y="0"/>
                    <a:pt x="2468978" y="0"/>
                  </a:cubicBezTo>
                  <a:cubicBezTo>
                    <a:pt x="2138471" y="0"/>
                    <a:pt x="1869510" y="268883"/>
                    <a:pt x="1869510" y="599468"/>
                  </a:cubicBezTo>
                  <a:cubicBezTo>
                    <a:pt x="1869510" y="930004"/>
                    <a:pt x="2138471" y="1198896"/>
                    <a:pt x="2468978" y="1198896"/>
                  </a:cubicBezTo>
                  <a:cubicBezTo>
                    <a:pt x="2799485" y="1198896"/>
                    <a:pt x="3068446" y="929974"/>
                    <a:pt x="3068446" y="599468"/>
                  </a:cubicBezTo>
                  <a:close/>
                  <a:moveTo>
                    <a:pt x="2952369" y="599468"/>
                  </a:moveTo>
                  <a:cubicBezTo>
                    <a:pt x="2952369" y="866058"/>
                    <a:pt x="2735490" y="1082859"/>
                    <a:pt x="2468978" y="1082859"/>
                  </a:cubicBezTo>
                  <a:cubicBezTo>
                    <a:pt x="2202466" y="1082859"/>
                    <a:pt x="1985587" y="865979"/>
                    <a:pt x="1985587" y="599468"/>
                  </a:cubicBezTo>
                  <a:cubicBezTo>
                    <a:pt x="1985587" y="332917"/>
                    <a:pt x="2202388" y="116037"/>
                    <a:pt x="2468978" y="116037"/>
                  </a:cubicBezTo>
                  <a:cubicBezTo>
                    <a:pt x="2735568" y="116037"/>
                    <a:pt x="2952369" y="332878"/>
                    <a:pt x="2952369" y="599468"/>
                  </a:cubicBezTo>
                  <a:close/>
                  <a:moveTo>
                    <a:pt x="2836332" y="599468"/>
                  </a:moveTo>
                  <a:cubicBezTo>
                    <a:pt x="2836332" y="396902"/>
                    <a:pt x="2671505" y="232114"/>
                    <a:pt x="2468978" y="232114"/>
                  </a:cubicBezTo>
                  <a:cubicBezTo>
                    <a:pt x="2266413" y="232114"/>
                    <a:pt x="2101625" y="396941"/>
                    <a:pt x="2101625" y="599468"/>
                  </a:cubicBezTo>
                  <a:cubicBezTo>
                    <a:pt x="2101625" y="631499"/>
                    <a:pt x="2127571" y="657447"/>
                    <a:pt x="2159604" y="657447"/>
                  </a:cubicBezTo>
                  <a:cubicBezTo>
                    <a:pt x="2191637" y="657447"/>
                    <a:pt x="2217583" y="631500"/>
                    <a:pt x="2217583" y="599468"/>
                  </a:cubicBezTo>
                  <a:cubicBezTo>
                    <a:pt x="2217583" y="460887"/>
                    <a:pt x="2330329" y="348073"/>
                    <a:pt x="2468978" y="348073"/>
                  </a:cubicBezTo>
                  <a:cubicBezTo>
                    <a:pt x="2607627" y="348073"/>
                    <a:pt x="2720373" y="460818"/>
                    <a:pt x="2720373" y="599468"/>
                  </a:cubicBezTo>
                  <a:cubicBezTo>
                    <a:pt x="2720373" y="738078"/>
                    <a:pt x="2607549" y="850823"/>
                    <a:pt x="2468978" y="850823"/>
                  </a:cubicBezTo>
                  <a:cubicBezTo>
                    <a:pt x="2436946" y="850823"/>
                    <a:pt x="2410999" y="876770"/>
                    <a:pt x="2410999" y="908803"/>
                  </a:cubicBezTo>
                  <a:cubicBezTo>
                    <a:pt x="2410999" y="940835"/>
                    <a:pt x="2436945" y="966782"/>
                    <a:pt x="2468978" y="966782"/>
                  </a:cubicBezTo>
                  <a:cubicBezTo>
                    <a:pt x="2671544" y="966820"/>
                    <a:pt x="2836332" y="801994"/>
                    <a:pt x="2836332" y="599468"/>
                  </a:cubicBezTo>
                  <a:close/>
                  <a:moveTo>
                    <a:pt x="4937819" y="599468"/>
                  </a:moveTo>
                  <a:cubicBezTo>
                    <a:pt x="4937819" y="268892"/>
                    <a:pt x="4668936" y="0"/>
                    <a:pt x="4338351" y="0"/>
                  </a:cubicBezTo>
                  <a:cubicBezTo>
                    <a:pt x="4007855" y="0"/>
                    <a:pt x="3738923" y="268883"/>
                    <a:pt x="3738923" y="599468"/>
                  </a:cubicBezTo>
                  <a:cubicBezTo>
                    <a:pt x="3738923" y="930004"/>
                    <a:pt x="4007806" y="1198935"/>
                    <a:pt x="4338391" y="1198935"/>
                  </a:cubicBezTo>
                  <a:cubicBezTo>
                    <a:pt x="4668927" y="1198897"/>
                    <a:pt x="4937819" y="929974"/>
                    <a:pt x="4937819" y="599468"/>
                  </a:cubicBezTo>
                  <a:close/>
                  <a:moveTo>
                    <a:pt x="4821782" y="599468"/>
                  </a:moveTo>
                  <a:cubicBezTo>
                    <a:pt x="4821782" y="866058"/>
                    <a:pt x="4604903" y="1082859"/>
                    <a:pt x="4338391" y="1082859"/>
                  </a:cubicBezTo>
                  <a:cubicBezTo>
                    <a:pt x="4071879" y="1082859"/>
                    <a:pt x="3854999" y="865979"/>
                    <a:pt x="3854999" y="599468"/>
                  </a:cubicBezTo>
                  <a:cubicBezTo>
                    <a:pt x="3854999" y="332956"/>
                    <a:pt x="4071879" y="116077"/>
                    <a:pt x="4338391" y="116077"/>
                  </a:cubicBezTo>
                  <a:cubicBezTo>
                    <a:pt x="4604941" y="116038"/>
                    <a:pt x="4821782" y="332878"/>
                    <a:pt x="4821782" y="599468"/>
                  </a:cubicBezTo>
                  <a:close/>
                  <a:moveTo>
                    <a:pt x="4705784" y="599468"/>
                  </a:moveTo>
                  <a:cubicBezTo>
                    <a:pt x="4705784" y="396902"/>
                    <a:pt x="4540956" y="232114"/>
                    <a:pt x="4338430" y="232114"/>
                  </a:cubicBezTo>
                  <a:cubicBezTo>
                    <a:pt x="4135864" y="232114"/>
                    <a:pt x="3971076" y="396941"/>
                    <a:pt x="3971076" y="599468"/>
                  </a:cubicBezTo>
                  <a:cubicBezTo>
                    <a:pt x="3971076" y="631499"/>
                    <a:pt x="3997023" y="657447"/>
                    <a:pt x="4029055" y="657447"/>
                  </a:cubicBezTo>
                  <a:cubicBezTo>
                    <a:pt x="4061087" y="657447"/>
                    <a:pt x="4087035" y="631500"/>
                    <a:pt x="4087035" y="599468"/>
                  </a:cubicBezTo>
                  <a:cubicBezTo>
                    <a:pt x="4087035" y="460887"/>
                    <a:pt x="4199781" y="348073"/>
                    <a:pt x="4338430" y="348073"/>
                  </a:cubicBezTo>
                  <a:cubicBezTo>
                    <a:pt x="4477010" y="348073"/>
                    <a:pt x="4589825" y="460818"/>
                    <a:pt x="4589825" y="599468"/>
                  </a:cubicBezTo>
                  <a:cubicBezTo>
                    <a:pt x="4589825" y="738117"/>
                    <a:pt x="4477079" y="850862"/>
                    <a:pt x="4338430" y="850862"/>
                  </a:cubicBezTo>
                  <a:cubicBezTo>
                    <a:pt x="4306398" y="850862"/>
                    <a:pt x="4280451" y="876809"/>
                    <a:pt x="4280451" y="908842"/>
                  </a:cubicBezTo>
                  <a:cubicBezTo>
                    <a:pt x="4280451" y="940875"/>
                    <a:pt x="4306397" y="966821"/>
                    <a:pt x="4338430" y="966821"/>
                  </a:cubicBezTo>
                  <a:cubicBezTo>
                    <a:pt x="4540996" y="966821"/>
                    <a:pt x="4705784" y="801994"/>
                    <a:pt x="4705784" y="599468"/>
                  </a:cubicBezTo>
                  <a:close/>
                  <a:moveTo>
                    <a:pt x="1198896" y="4338253"/>
                  </a:moveTo>
                  <a:cubicBezTo>
                    <a:pt x="1198896" y="4007756"/>
                    <a:pt x="930013" y="3738786"/>
                    <a:pt x="599428" y="3738786"/>
                  </a:cubicBezTo>
                  <a:cubicBezTo>
                    <a:pt x="268892" y="3738824"/>
                    <a:pt x="0" y="4007747"/>
                    <a:pt x="0" y="4338253"/>
                  </a:cubicBezTo>
                  <a:cubicBezTo>
                    <a:pt x="0" y="4668829"/>
                    <a:pt x="268883" y="4937721"/>
                    <a:pt x="599468" y="4937721"/>
                  </a:cubicBezTo>
                  <a:cubicBezTo>
                    <a:pt x="930004" y="4937721"/>
                    <a:pt x="1198896" y="4668839"/>
                    <a:pt x="1198896" y="4338253"/>
                  </a:cubicBezTo>
                  <a:close/>
                  <a:moveTo>
                    <a:pt x="1082859" y="4338253"/>
                  </a:moveTo>
                  <a:cubicBezTo>
                    <a:pt x="1082859" y="4604844"/>
                    <a:pt x="865979" y="4821644"/>
                    <a:pt x="599468" y="4821644"/>
                  </a:cubicBezTo>
                  <a:cubicBezTo>
                    <a:pt x="332956" y="4821644"/>
                    <a:pt x="116077" y="4604765"/>
                    <a:pt x="116077" y="4338253"/>
                  </a:cubicBezTo>
                  <a:cubicBezTo>
                    <a:pt x="116077" y="4071742"/>
                    <a:pt x="332956" y="3854862"/>
                    <a:pt x="599468" y="3854862"/>
                  </a:cubicBezTo>
                  <a:cubicBezTo>
                    <a:pt x="865979" y="3854862"/>
                    <a:pt x="1082859" y="4071742"/>
                    <a:pt x="1082859" y="4338253"/>
                  </a:cubicBezTo>
                  <a:close/>
                  <a:moveTo>
                    <a:pt x="966821" y="4338253"/>
                  </a:moveTo>
                  <a:cubicBezTo>
                    <a:pt x="966821" y="4135688"/>
                    <a:pt x="801994" y="3970900"/>
                    <a:pt x="599468" y="3970900"/>
                  </a:cubicBezTo>
                  <a:cubicBezTo>
                    <a:pt x="396902" y="3970900"/>
                    <a:pt x="232114" y="4135727"/>
                    <a:pt x="232114" y="4338253"/>
                  </a:cubicBezTo>
                  <a:cubicBezTo>
                    <a:pt x="232114" y="4370285"/>
                    <a:pt x="258061" y="4396233"/>
                    <a:pt x="290093" y="4396233"/>
                  </a:cubicBezTo>
                  <a:cubicBezTo>
                    <a:pt x="322126" y="4396233"/>
                    <a:pt x="348073" y="4370286"/>
                    <a:pt x="348073" y="4338253"/>
                  </a:cubicBezTo>
                  <a:cubicBezTo>
                    <a:pt x="348073" y="4199673"/>
                    <a:pt x="460818" y="4086859"/>
                    <a:pt x="599468" y="4086859"/>
                  </a:cubicBezTo>
                  <a:cubicBezTo>
                    <a:pt x="738117" y="4086859"/>
                    <a:pt x="850862" y="4199604"/>
                    <a:pt x="850862" y="4338253"/>
                  </a:cubicBezTo>
                  <a:cubicBezTo>
                    <a:pt x="850862" y="4476834"/>
                    <a:pt x="738117" y="4589648"/>
                    <a:pt x="599468" y="4589648"/>
                  </a:cubicBezTo>
                  <a:cubicBezTo>
                    <a:pt x="567436" y="4589648"/>
                    <a:pt x="541488" y="4615595"/>
                    <a:pt x="541488" y="4647628"/>
                  </a:cubicBezTo>
                  <a:cubicBezTo>
                    <a:pt x="541488" y="4679660"/>
                    <a:pt x="567435" y="4705607"/>
                    <a:pt x="599468" y="4705607"/>
                  </a:cubicBezTo>
                  <a:cubicBezTo>
                    <a:pt x="801994" y="4705684"/>
                    <a:pt x="966821" y="4540897"/>
                    <a:pt x="966821" y="4338253"/>
                  </a:cubicBezTo>
                  <a:close/>
                  <a:moveTo>
                    <a:pt x="1198896" y="2468861"/>
                  </a:moveTo>
                  <a:cubicBezTo>
                    <a:pt x="1198896" y="2138364"/>
                    <a:pt x="930013" y="1869393"/>
                    <a:pt x="599428" y="1869393"/>
                  </a:cubicBezTo>
                  <a:cubicBezTo>
                    <a:pt x="268892" y="1869393"/>
                    <a:pt x="0" y="2138354"/>
                    <a:pt x="0" y="2468861"/>
                  </a:cubicBezTo>
                  <a:cubicBezTo>
                    <a:pt x="0" y="2799367"/>
                    <a:pt x="268883" y="3068328"/>
                    <a:pt x="599468" y="3068328"/>
                  </a:cubicBezTo>
                  <a:cubicBezTo>
                    <a:pt x="930004" y="3068328"/>
                    <a:pt x="1198896" y="2799367"/>
                    <a:pt x="1198896" y="2468861"/>
                  </a:cubicBezTo>
                  <a:close/>
                  <a:moveTo>
                    <a:pt x="1082859" y="2468861"/>
                  </a:moveTo>
                  <a:cubicBezTo>
                    <a:pt x="1082859" y="2735451"/>
                    <a:pt x="865979" y="2952252"/>
                    <a:pt x="599468" y="2952252"/>
                  </a:cubicBezTo>
                  <a:cubicBezTo>
                    <a:pt x="332917" y="2952252"/>
                    <a:pt x="116037" y="2735451"/>
                    <a:pt x="116037" y="2468861"/>
                  </a:cubicBezTo>
                  <a:cubicBezTo>
                    <a:pt x="116037" y="2202271"/>
                    <a:pt x="332917" y="1985470"/>
                    <a:pt x="599428" y="1985470"/>
                  </a:cubicBezTo>
                  <a:cubicBezTo>
                    <a:pt x="865979" y="1985470"/>
                    <a:pt x="1082859" y="2202271"/>
                    <a:pt x="1082859" y="2468861"/>
                  </a:cubicBezTo>
                  <a:close/>
                  <a:moveTo>
                    <a:pt x="966821" y="2468861"/>
                  </a:moveTo>
                  <a:cubicBezTo>
                    <a:pt x="966821" y="2266295"/>
                    <a:pt x="801994" y="2101507"/>
                    <a:pt x="599468" y="2101507"/>
                  </a:cubicBezTo>
                  <a:cubicBezTo>
                    <a:pt x="396902" y="2101507"/>
                    <a:pt x="232036" y="2266295"/>
                    <a:pt x="232036" y="2468861"/>
                  </a:cubicBezTo>
                  <a:cubicBezTo>
                    <a:pt x="232036" y="2500892"/>
                    <a:pt x="257982" y="2526840"/>
                    <a:pt x="290015" y="2526840"/>
                  </a:cubicBezTo>
                  <a:cubicBezTo>
                    <a:pt x="322047" y="2526840"/>
                    <a:pt x="347995" y="2500893"/>
                    <a:pt x="347995" y="2468861"/>
                  </a:cubicBezTo>
                  <a:cubicBezTo>
                    <a:pt x="347995" y="2330280"/>
                    <a:pt x="460740" y="2217466"/>
                    <a:pt x="599389" y="2217466"/>
                  </a:cubicBezTo>
                  <a:cubicBezTo>
                    <a:pt x="738038" y="2217466"/>
                    <a:pt x="850784" y="2330211"/>
                    <a:pt x="850784" y="2468861"/>
                  </a:cubicBezTo>
                  <a:cubicBezTo>
                    <a:pt x="850784" y="2607510"/>
                    <a:pt x="738038" y="2720255"/>
                    <a:pt x="599389" y="2720255"/>
                  </a:cubicBezTo>
                  <a:cubicBezTo>
                    <a:pt x="567358" y="2720255"/>
                    <a:pt x="541410" y="2746202"/>
                    <a:pt x="541410" y="2778235"/>
                  </a:cubicBezTo>
                  <a:cubicBezTo>
                    <a:pt x="541410" y="2810267"/>
                    <a:pt x="567356" y="2836214"/>
                    <a:pt x="599389" y="2836214"/>
                  </a:cubicBezTo>
                  <a:cubicBezTo>
                    <a:pt x="801994" y="2836214"/>
                    <a:pt x="966821" y="2671426"/>
                    <a:pt x="966821" y="2468861"/>
                  </a:cubicBezTo>
                  <a:close/>
                  <a:moveTo>
                    <a:pt x="3068308" y="4338253"/>
                  </a:moveTo>
                  <a:cubicBezTo>
                    <a:pt x="3068308" y="4007756"/>
                    <a:pt x="2799426" y="3738786"/>
                    <a:pt x="2468841" y="3738786"/>
                  </a:cubicBezTo>
                  <a:cubicBezTo>
                    <a:pt x="2138305" y="3738824"/>
                    <a:pt x="1869373" y="4007747"/>
                    <a:pt x="1869373" y="4338253"/>
                  </a:cubicBezTo>
                  <a:cubicBezTo>
                    <a:pt x="1869373" y="4668829"/>
                    <a:pt x="2138334" y="4937721"/>
                    <a:pt x="2468841" y="4937721"/>
                  </a:cubicBezTo>
                  <a:cubicBezTo>
                    <a:pt x="2799347" y="4937721"/>
                    <a:pt x="3068308" y="4668839"/>
                    <a:pt x="3068308" y="4338253"/>
                  </a:cubicBezTo>
                  <a:close/>
                  <a:moveTo>
                    <a:pt x="2952232" y="4338253"/>
                  </a:moveTo>
                  <a:cubicBezTo>
                    <a:pt x="2952232" y="4604844"/>
                    <a:pt x="2735353" y="4821644"/>
                    <a:pt x="2468841" y="4821644"/>
                  </a:cubicBezTo>
                  <a:cubicBezTo>
                    <a:pt x="2202329" y="4821644"/>
                    <a:pt x="1985450" y="4604765"/>
                    <a:pt x="1985450" y="4338253"/>
                  </a:cubicBezTo>
                  <a:cubicBezTo>
                    <a:pt x="1985450" y="4071742"/>
                    <a:pt x="2202329" y="3854862"/>
                    <a:pt x="2468841" y="3854862"/>
                  </a:cubicBezTo>
                  <a:cubicBezTo>
                    <a:pt x="2735353" y="3854862"/>
                    <a:pt x="2952232" y="4071742"/>
                    <a:pt x="2952232" y="4338253"/>
                  </a:cubicBezTo>
                  <a:close/>
                  <a:moveTo>
                    <a:pt x="2836195" y="4338253"/>
                  </a:moveTo>
                  <a:cubicBezTo>
                    <a:pt x="2836195" y="4135688"/>
                    <a:pt x="2671367" y="3970900"/>
                    <a:pt x="2468841" y="3970900"/>
                  </a:cubicBezTo>
                  <a:cubicBezTo>
                    <a:pt x="2266275" y="3970900"/>
                    <a:pt x="2101487" y="4135727"/>
                    <a:pt x="2101487" y="4338253"/>
                  </a:cubicBezTo>
                  <a:cubicBezTo>
                    <a:pt x="2101487" y="4370285"/>
                    <a:pt x="2127434" y="4396233"/>
                    <a:pt x="2159467" y="4396233"/>
                  </a:cubicBezTo>
                  <a:cubicBezTo>
                    <a:pt x="2191499" y="4396233"/>
                    <a:pt x="2217446" y="4370286"/>
                    <a:pt x="2217446" y="4338253"/>
                  </a:cubicBezTo>
                  <a:cubicBezTo>
                    <a:pt x="2217446" y="4199673"/>
                    <a:pt x="2330192" y="4086859"/>
                    <a:pt x="2468841" y="4086859"/>
                  </a:cubicBezTo>
                  <a:cubicBezTo>
                    <a:pt x="2607490" y="4086859"/>
                    <a:pt x="2720236" y="4199604"/>
                    <a:pt x="2720236" y="4338253"/>
                  </a:cubicBezTo>
                  <a:cubicBezTo>
                    <a:pt x="2720236" y="4476834"/>
                    <a:pt x="2607490" y="4589648"/>
                    <a:pt x="2468841" y="4589648"/>
                  </a:cubicBezTo>
                  <a:cubicBezTo>
                    <a:pt x="2436809" y="4589648"/>
                    <a:pt x="2410861" y="4615595"/>
                    <a:pt x="2410861" y="4647628"/>
                  </a:cubicBezTo>
                  <a:cubicBezTo>
                    <a:pt x="2410861" y="4679660"/>
                    <a:pt x="2436808" y="4705607"/>
                    <a:pt x="2468841" y="4705607"/>
                  </a:cubicBezTo>
                  <a:cubicBezTo>
                    <a:pt x="2671407" y="4705684"/>
                    <a:pt x="2836195" y="4540897"/>
                    <a:pt x="2836195" y="4338253"/>
                  </a:cubicBezTo>
                  <a:close/>
                  <a:moveTo>
                    <a:pt x="3068299" y="2468861"/>
                  </a:moveTo>
                  <a:cubicBezTo>
                    <a:pt x="3068299" y="2138364"/>
                    <a:pt x="2799416" y="1869393"/>
                    <a:pt x="2468831" y="1869393"/>
                  </a:cubicBezTo>
                  <a:cubicBezTo>
                    <a:pt x="2138295" y="1869393"/>
                    <a:pt x="1869364" y="2138354"/>
                    <a:pt x="1869364" y="2468861"/>
                  </a:cubicBezTo>
                  <a:cubicBezTo>
                    <a:pt x="1869364" y="2799367"/>
                    <a:pt x="2138325" y="3068328"/>
                    <a:pt x="2468831" y="3068328"/>
                  </a:cubicBezTo>
                  <a:cubicBezTo>
                    <a:pt x="2799338" y="3068328"/>
                    <a:pt x="3068299" y="2799367"/>
                    <a:pt x="3068299" y="2468861"/>
                  </a:cubicBezTo>
                  <a:close/>
                  <a:moveTo>
                    <a:pt x="2952222" y="2468861"/>
                  </a:moveTo>
                  <a:cubicBezTo>
                    <a:pt x="2952222" y="2735451"/>
                    <a:pt x="2735343" y="2952252"/>
                    <a:pt x="2468831" y="2952252"/>
                  </a:cubicBezTo>
                  <a:cubicBezTo>
                    <a:pt x="2202319" y="2952252"/>
                    <a:pt x="1985440" y="2735451"/>
                    <a:pt x="1985440" y="2468861"/>
                  </a:cubicBezTo>
                  <a:cubicBezTo>
                    <a:pt x="1985440" y="2202271"/>
                    <a:pt x="2202319" y="1985470"/>
                    <a:pt x="2468831" y="1985470"/>
                  </a:cubicBezTo>
                  <a:cubicBezTo>
                    <a:pt x="2735343" y="1985470"/>
                    <a:pt x="2952222" y="2202271"/>
                    <a:pt x="2952222" y="2468861"/>
                  </a:cubicBezTo>
                  <a:close/>
                  <a:moveTo>
                    <a:pt x="2753487" y="2468861"/>
                  </a:moveTo>
                  <a:cubicBezTo>
                    <a:pt x="2753487" y="2311950"/>
                    <a:pt x="2625821" y="2184204"/>
                    <a:pt x="2468831" y="2184204"/>
                  </a:cubicBezTo>
                  <a:cubicBezTo>
                    <a:pt x="2311842" y="2184204"/>
                    <a:pt x="2184175" y="2311950"/>
                    <a:pt x="2184175" y="2468861"/>
                  </a:cubicBezTo>
                  <a:cubicBezTo>
                    <a:pt x="2184175" y="2625772"/>
                    <a:pt x="2311920" y="2753516"/>
                    <a:pt x="2468831" y="2753516"/>
                  </a:cubicBezTo>
                  <a:cubicBezTo>
                    <a:pt x="2625742" y="2753516"/>
                    <a:pt x="2753487" y="2625772"/>
                    <a:pt x="2753487" y="2468861"/>
                  </a:cubicBezTo>
                  <a:close/>
                  <a:moveTo>
                    <a:pt x="2637411" y="2468861"/>
                  </a:moveTo>
                  <a:cubicBezTo>
                    <a:pt x="2637411" y="2561819"/>
                    <a:pt x="2561789" y="2637440"/>
                    <a:pt x="2468831" y="2637440"/>
                  </a:cubicBezTo>
                  <a:cubicBezTo>
                    <a:pt x="2375835" y="2637440"/>
                    <a:pt x="2300252" y="2561818"/>
                    <a:pt x="2300252" y="2468861"/>
                  </a:cubicBezTo>
                  <a:cubicBezTo>
                    <a:pt x="2300252" y="2375903"/>
                    <a:pt x="2375874" y="2300281"/>
                    <a:pt x="2468831" y="2300281"/>
                  </a:cubicBezTo>
                  <a:cubicBezTo>
                    <a:pt x="2561828" y="2300281"/>
                    <a:pt x="2637411" y="2375903"/>
                    <a:pt x="2637411" y="2468861"/>
                  </a:cubicBezTo>
                  <a:close/>
                  <a:moveTo>
                    <a:pt x="4937682" y="4338253"/>
                  </a:moveTo>
                  <a:cubicBezTo>
                    <a:pt x="4937682" y="4007756"/>
                    <a:pt x="4668799" y="3738786"/>
                    <a:pt x="4338214" y="3738786"/>
                  </a:cubicBezTo>
                  <a:cubicBezTo>
                    <a:pt x="4007717" y="3738786"/>
                    <a:pt x="3738747" y="4007668"/>
                    <a:pt x="3738747" y="4338253"/>
                  </a:cubicBezTo>
                  <a:cubicBezTo>
                    <a:pt x="3738785" y="4668829"/>
                    <a:pt x="4007708" y="4937721"/>
                    <a:pt x="4338214" y="4937721"/>
                  </a:cubicBezTo>
                  <a:cubicBezTo>
                    <a:pt x="4668790" y="4937721"/>
                    <a:pt x="4937682" y="4668839"/>
                    <a:pt x="4937682" y="4338253"/>
                  </a:cubicBezTo>
                  <a:close/>
                  <a:moveTo>
                    <a:pt x="4821645" y="4338253"/>
                  </a:moveTo>
                  <a:cubicBezTo>
                    <a:pt x="4821645" y="4604844"/>
                    <a:pt x="4604765" y="4821644"/>
                    <a:pt x="4338253" y="4821644"/>
                  </a:cubicBezTo>
                  <a:cubicBezTo>
                    <a:pt x="4071741" y="4821644"/>
                    <a:pt x="3854862" y="4604765"/>
                    <a:pt x="3854862" y="4338253"/>
                  </a:cubicBezTo>
                  <a:cubicBezTo>
                    <a:pt x="3854862" y="4071742"/>
                    <a:pt x="4071741" y="3854862"/>
                    <a:pt x="4338253" y="3854862"/>
                  </a:cubicBezTo>
                  <a:cubicBezTo>
                    <a:pt x="4604804" y="3854862"/>
                    <a:pt x="4821645" y="4071742"/>
                    <a:pt x="4821645" y="4338253"/>
                  </a:cubicBezTo>
                  <a:close/>
                  <a:moveTo>
                    <a:pt x="4705646" y="4338253"/>
                  </a:moveTo>
                  <a:cubicBezTo>
                    <a:pt x="4705646" y="4135688"/>
                    <a:pt x="4540819" y="3970900"/>
                    <a:pt x="4338293" y="3970900"/>
                  </a:cubicBezTo>
                  <a:cubicBezTo>
                    <a:pt x="4135727" y="3970900"/>
                    <a:pt x="3970939" y="4135727"/>
                    <a:pt x="3970939" y="4338253"/>
                  </a:cubicBezTo>
                  <a:cubicBezTo>
                    <a:pt x="3970939" y="4370285"/>
                    <a:pt x="3996885" y="4396233"/>
                    <a:pt x="4028918" y="4396233"/>
                  </a:cubicBezTo>
                  <a:cubicBezTo>
                    <a:pt x="4060950" y="4396233"/>
                    <a:pt x="4086898" y="4370286"/>
                    <a:pt x="4086898" y="4338253"/>
                  </a:cubicBezTo>
                  <a:cubicBezTo>
                    <a:pt x="4086898" y="4199673"/>
                    <a:pt x="4199643" y="4086859"/>
                    <a:pt x="4338293" y="4086859"/>
                  </a:cubicBezTo>
                  <a:cubicBezTo>
                    <a:pt x="4476873" y="4086859"/>
                    <a:pt x="4589687" y="4199604"/>
                    <a:pt x="4589687" y="4338253"/>
                  </a:cubicBezTo>
                  <a:cubicBezTo>
                    <a:pt x="4589687" y="4476834"/>
                    <a:pt x="4476942" y="4589648"/>
                    <a:pt x="4338293" y="4589648"/>
                  </a:cubicBezTo>
                  <a:cubicBezTo>
                    <a:pt x="4306261" y="4589648"/>
                    <a:pt x="4280313" y="4615595"/>
                    <a:pt x="4280313" y="4647628"/>
                  </a:cubicBezTo>
                  <a:cubicBezTo>
                    <a:pt x="4280313" y="4679660"/>
                    <a:pt x="4306260" y="4705607"/>
                    <a:pt x="4338293" y="4705607"/>
                  </a:cubicBezTo>
                  <a:cubicBezTo>
                    <a:pt x="4540858" y="4705684"/>
                    <a:pt x="4705646" y="4540897"/>
                    <a:pt x="4705646" y="4338253"/>
                  </a:cubicBezTo>
                  <a:close/>
                  <a:moveTo>
                    <a:pt x="4937682" y="2468861"/>
                  </a:moveTo>
                  <a:cubicBezTo>
                    <a:pt x="4937682" y="2138364"/>
                    <a:pt x="4668799" y="1869393"/>
                    <a:pt x="4338214" y="1869393"/>
                  </a:cubicBezTo>
                  <a:cubicBezTo>
                    <a:pt x="4007717" y="1869393"/>
                    <a:pt x="3738747" y="2138275"/>
                    <a:pt x="3738747" y="2468861"/>
                  </a:cubicBezTo>
                  <a:cubicBezTo>
                    <a:pt x="3738747" y="2799397"/>
                    <a:pt x="4007629" y="3068328"/>
                    <a:pt x="4338214" y="3068328"/>
                  </a:cubicBezTo>
                  <a:cubicBezTo>
                    <a:pt x="4668799" y="3068328"/>
                    <a:pt x="4937682" y="2799367"/>
                    <a:pt x="4937682" y="2468861"/>
                  </a:cubicBezTo>
                  <a:close/>
                  <a:moveTo>
                    <a:pt x="4821645" y="2468861"/>
                  </a:moveTo>
                  <a:cubicBezTo>
                    <a:pt x="4821645" y="2735451"/>
                    <a:pt x="4604765" y="2952252"/>
                    <a:pt x="4338253" y="2952252"/>
                  </a:cubicBezTo>
                  <a:cubicBezTo>
                    <a:pt x="4071741" y="2952252"/>
                    <a:pt x="3854862" y="2735372"/>
                    <a:pt x="3854862" y="2468861"/>
                  </a:cubicBezTo>
                  <a:cubicBezTo>
                    <a:pt x="3854862" y="2202349"/>
                    <a:pt x="4071741" y="1985470"/>
                    <a:pt x="4338253" y="1985470"/>
                  </a:cubicBezTo>
                  <a:cubicBezTo>
                    <a:pt x="4604804" y="1985470"/>
                    <a:pt x="4821645" y="2202271"/>
                    <a:pt x="4821645" y="2468861"/>
                  </a:cubicBezTo>
                  <a:close/>
                  <a:moveTo>
                    <a:pt x="4705646" y="2468861"/>
                  </a:moveTo>
                  <a:cubicBezTo>
                    <a:pt x="4705646" y="2266295"/>
                    <a:pt x="4540819" y="2101507"/>
                    <a:pt x="4338293" y="2101507"/>
                  </a:cubicBezTo>
                  <a:cubicBezTo>
                    <a:pt x="4135727" y="2101507"/>
                    <a:pt x="3970861" y="2266295"/>
                    <a:pt x="3970861" y="2468861"/>
                  </a:cubicBezTo>
                  <a:cubicBezTo>
                    <a:pt x="3970861" y="2500892"/>
                    <a:pt x="3996807" y="2526840"/>
                    <a:pt x="4028840" y="2526840"/>
                  </a:cubicBezTo>
                  <a:cubicBezTo>
                    <a:pt x="4060873" y="2526840"/>
                    <a:pt x="4086819" y="2500893"/>
                    <a:pt x="4086819" y="2468861"/>
                  </a:cubicBezTo>
                  <a:cubicBezTo>
                    <a:pt x="4086819" y="2330280"/>
                    <a:pt x="4199565" y="2217466"/>
                    <a:pt x="4338214" y="2217466"/>
                  </a:cubicBezTo>
                  <a:cubicBezTo>
                    <a:pt x="4476795" y="2217466"/>
                    <a:pt x="4589609" y="2330211"/>
                    <a:pt x="4589609" y="2468861"/>
                  </a:cubicBezTo>
                  <a:cubicBezTo>
                    <a:pt x="4589609" y="2607510"/>
                    <a:pt x="4476863" y="2720255"/>
                    <a:pt x="4338214" y="2720255"/>
                  </a:cubicBezTo>
                  <a:cubicBezTo>
                    <a:pt x="4306182" y="2720255"/>
                    <a:pt x="4280235" y="2746202"/>
                    <a:pt x="4280235" y="2778235"/>
                  </a:cubicBezTo>
                  <a:cubicBezTo>
                    <a:pt x="4280235" y="2810267"/>
                    <a:pt x="4306182" y="2836214"/>
                    <a:pt x="4338214" y="2836214"/>
                  </a:cubicBezTo>
                  <a:cubicBezTo>
                    <a:pt x="4540858" y="2836214"/>
                    <a:pt x="4705646" y="2671426"/>
                    <a:pt x="4705646" y="2468861"/>
                  </a:cubicBezTo>
                  <a:close/>
                </a:path>
              </a:pathLst>
            </a:custGeom>
            <a:solidFill>
              <a:schemeClr val="tx1"/>
            </a:solidFill>
            <a:ln w="9797" cap="flat">
              <a:noFill/>
              <a:prstDash val="solid"/>
              <a:miter/>
            </a:ln>
          </p:spPr>
          <p:txBody>
            <a:bodyPr rtlCol="0" anchor="ctr"/>
            <a:lstStyle/>
            <a:p>
              <a:endParaRPr lang="en-US" dirty="0"/>
            </a:p>
          </p:txBody>
        </p:sp>
      </p:grpSp>
      <p:grpSp>
        <p:nvGrpSpPr>
          <p:cNvPr id="10" name="Group 9">
            <a:extLst>
              <a:ext uri="{FF2B5EF4-FFF2-40B4-BE49-F238E27FC236}">
                <a16:creationId xmlns:a16="http://schemas.microsoft.com/office/drawing/2014/main" id="{C538D4B1-0816-E955-7CCC-C51F9145CBF2}"/>
              </a:ext>
            </a:extLst>
          </p:cNvPr>
          <p:cNvGrpSpPr/>
          <p:nvPr/>
        </p:nvGrpSpPr>
        <p:grpSpPr>
          <a:xfrm>
            <a:off x="798238" y="4231208"/>
            <a:ext cx="731520" cy="731520"/>
            <a:chOff x="798238" y="4231208"/>
            <a:chExt cx="731520" cy="731520"/>
          </a:xfrm>
        </p:grpSpPr>
        <p:sp>
          <p:nvSpPr>
            <p:cNvPr id="45" name="Google Shape;518;p34">
              <a:extLst>
                <a:ext uri="{FF2B5EF4-FFF2-40B4-BE49-F238E27FC236}">
                  <a16:creationId xmlns:a16="http://schemas.microsoft.com/office/drawing/2014/main" id="{F2D4C504-A42C-B622-EC2F-BE3D89E83CD0}"/>
                </a:ext>
              </a:extLst>
            </p:cNvPr>
            <p:cNvSpPr>
              <a:spLocks noChangeAspect="1"/>
            </p:cNvSpPr>
            <p:nvPr/>
          </p:nvSpPr>
          <p:spPr>
            <a:xfrm>
              <a:off x="798238" y="4231208"/>
              <a:ext cx="731520" cy="731520"/>
            </a:xfrm>
            <a:custGeom>
              <a:avLst/>
              <a:gdLst/>
              <a:ahLst/>
              <a:cxnLst/>
              <a:rect l="l" t="t" r="r" b="b"/>
              <a:pathLst>
                <a:path w="209017" h="209017" extrusionOk="0">
                  <a:moveTo>
                    <a:pt x="104508" y="0"/>
                  </a:moveTo>
                  <a:cubicBezTo>
                    <a:pt x="46781" y="0"/>
                    <a:pt x="0" y="46781"/>
                    <a:pt x="0" y="104508"/>
                  </a:cubicBezTo>
                  <a:cubicBezTo>
                    <a:pt x="0" y="132211"/>
                    <a:pt x="11007" y="158805"/>
                    <a:pt x="30599" y="178397"/>
                  </a:cubicBezTo>
                  <a:cubicBezTo>
                    <a:pt x="50211" y="197988"/>
                    <a:pt x="76784" y="209016"/>
                    <a:pt x="104508" y="209016"/>
                  </a:cubicBezTo>
                  <a:cubicBezTo>
                    <a:pt x="132211" y="209016"/>
                    <a:pt x="158805" y="197988"/>
                    <a:pt x="178397" y="178397"/>
                  </a:cubicBezTo>
                  <a:cubicBezTo>
                    <a:pt x="197988" y="158805"/>
                    <a:pt x="209016" y="132211"/>
                    <a:pt x="209016" y="104508"/>
                  </a:cubicBezTo>
                  <a:cubicBezTo>
                    <a:pt x="209016" y="76784"/>
                    <a:pt x="197988" y="50211"/>
                    <a:pt x="178397" y="30599"/>
                  </a:cubicBezTo>
                  <a:cubicBezTo>
                    <a:pt x="158805" y="11007"/>
                    <a:pt x="132211" y="0"/>
                    <a:pt x="104508" y="0"/>
                  </a:cubicBezTo>
                  <a:close/>
                </a:path>
              </a:pathLst>
            </a:custGeom>
            <a:solidFill>
              <a:srgbClr val="F2F2F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155" name="Graphic 153">
              <a:extLst>
                <a:ext uri="{FF2B5EF4-FFF2-40B4-BE49-F238E27FC236}">
                  <a16:creationId xmlns:a16="http://schemas.microsoft.com/office/drawing/2014/main" id="{CA12A8DF-166D-6B1F-6C5F-8D7A165F2D84}"/>
                </a:ext>
              </a:extLst>
            </p:cNvPr>
            <p:cNvGrpSpPr/>
            <p:nvPr/>
          </p:nvGrpSpPr>
          <p:grpSpPr>
            <a:xfrm>
              <a:off x="942208" y="4434320"/>
              <a:ext cx="443580" cy="325296"/>
              <a:chOff x="3524218" y="857289"/>
              <a:chExt cx="5143429" cy="3771890"/>
            </a:xfrm>
            <a:solidFill>
              <a:schemeClr val="tx1"/>
            </a:solidFill>
          </p:grpSpPr>
          <p:sp>
            <p:nvSpPr>
              <p:cNvPr id="156" name="Freeform: Shape 155">
                <a:extLst>
                  <a:ext uri="{FF2B5EF4-FFF2-40B4-BE49-F238E27FC236}">
                    <a16:creationId xmlns:a16="http://schemas.microsoft.com/office/drawing/2014/main" id="{CAE6CD4E-50FD-D412-CD70-788F799C2864}"/>
                  </a:ext>
                </a:extLst>
              </p:cNvPr>
              <p:cNvSpPr/>
              <p:nvPr/>
            </p:nvSpPr>
            <p:spPr>
              <a:xfrm>
                <a:off x="3524218" y="857289"/>
                <a:ext cx="5143429" cy="3771890"/>
              </a:xfrm>
              <a:custGeom>
                <a:avLst/>
                <a:gdLst>
                  <a:gd name="connsiteX0" fmla="*/ 4857750 w 5143429"/>
                  <a:gd name="connsiteY0" fmla="*/ 3200394 h 3771890"/>
                  <a:gd name="connsiteX1" fmla="*/ 4719825 w 5143429"/>
                  <a:gd name="connsiteY1" fmla="*/ 3200394 h 3771890"/>
                  <a:gd name="connsiteX2" fmla="*/ 4719864 w 5143429"/>
                  <a:gd name="connsiteY2" fmla="*/ 3200394 h 3771890"/>
                  <a:gd name="connsiteX3" fmla="*/ 4914924 w 5143429"/>
                  <a:gd name="connsiteY3" fmla="*/ 2800318 h 3771890"/>
                  <a:gd name="connsiteX4" fmla="*/ 4914924 w 5143429"/>
                  <a:gd name="connsiteY4" fmla="*/ 514350 h 3771890"/>
                  <a:gd name="connsiteX5" fmla="*/ 4764098 w 5143429"/>
                  <a:gd name="connsiteY5" fmla="*/ 150827 h 3771890"/>
                  <a:gd name="connsiteX6" fmla="*/ 4400574 w 5143429"/>
                  <a:gd name="connsiteY6" fmla="*/ 0 h 3771890"/>
                  <a:gd name="connsiteX7" fmla="*/ 2114509 w 5143429"/>
                  <a:gd name="connsiteY7" fmla="*/ 0 h 3771890"/>
                  <a:gd name="connsiteX8" fmla="*/ 2057372 w 5143429"/>
                  <a:gd name="connsiteY8" fmla="*/ 57137 h 3771890"/>
                  <a:gd name="connsiteX9" fmla="*/ 2114509 w 5143429"/>
                  <a:gd name="connsiteY9" fmla="*/ 114312 h 3771890"/>
                  <a:gd name="connsiteX10" fmla="*/ 2926673 w 5143429"/>
                  <a:gd name="connsiteY10" fmla="*/ 114312 h 3771890"/>
                  <a:gd name="connsiteX11" fmla="*/ 2713741 w 5143429"/>
                  <a:gd name="connsiteY11" fmla="*/ 228586 h 3771890"/>
                  <a:gd name="connsiteX12" fmla="*/ 740695 w 5143429"/>
                  <a:gd name="connsiteY12" fmla="*/ 228586 h 3771890"/>
                  <a:gd name="connsiteX13" fmla="*/ 539853 w 5143429"/>
                  <a:gd name="connsiteY13" fmla="*/ 312857 h 3771890"/>
                  <a:gd name="connsiteX14" fmla="*/ 457228 w 5143429"/>
                  <a:gd name="connsiteY14" fmla="*/ 514345 h 3771890"/>
                  <a:gd name="connsiteX15" fmla="*/ 457228 w 5143429"/>
                  <a:gd name="connsiteY15" fmla="*/ 2571745 h 3771890"/>
                  <a:gd name="connsiteX16" fmla="*/ 539853 w 5143429"/>
                  <a:gd name="connsiteY16" fmla="*/ 2773233 h 3771890"/>
                  <a:gd name="connsiteX17" fmla="*/ 740695 w 5143429"/>
                  <a:gd name="connsiteY17" fmla="*/ 2857505 h 3771890"/>
                  <a:gd name="connsiteX18" fmla="*/ 3429031 w 5143429"/>
                  <a:gd name="connsiteY18" fmla="*/ 2857505 h 3771890"/>
                  <a:gd name="connsiteX19" fmla="*/ 3429031 w 5143429"/>
                  <a:gd name="connsiteY19" fmla="*/ 2971818 h 3771890"/>
                  <a:gd name="connsiteX20" fmla="*/ 3371894 w 5143429"/>
                  <a:gd name="connsiteY20" fmla="*/ 2971779 h 3771890"/>
                  <a:gd name="connsiteX21" fmla="*/ 3250694 w 5143429"/>
                  <a:gd name="connsiteY21" fmla="*/ 3022066 h 3771890"/>
                  <a:gd name="connsiteX22" fmla="*/ 3200445 w 5143429"/>
                  <a:gd name="connsiteY22" fmla="*/ 3143227 h 3771890"/>
                  <a:gd name="connsiteX23" fmla="*/ 3200445 w 5143429"/>
                  <a:gd name="connsiteY23" fmla="*/ 3200364 h 3771890"/>
                  <a:gd name="connsiteX24" fmla="*/ 742930 w 5143429"/>
                  <a:gd name="connsiteY24" fmla="*/ 3200402 h 3771890"/>
                  <a:gd name="connsiteX25" fmla="*/ 460233 w 5143429"/>
                  <a:gd name="connsiteY25" fmla="*/ 3083062 h 3771890"/>
                  <a:gd name="connsiteX26" fmla="*/ 342893 w 5143429"/>
                  <a:gd name="connsiteY26" fmla="*/ 2800326 h 3771890"/>
                  <a:gd name="connsiteX27" fmla="*/ 342893 w 5143429"/>
                  <a:gd name="connsiteY27" fmla="*/ 514359 h 3771890"/>
                  <a:gd name="connsiteX28" fmla="*/ 460233 w 5143429"/>
                  <a:gd name="connsiteY28" fmla="*/ 231623 h 3771890"/>
                  <a:gd name="connsiteX29" fmla="*/ 742930 w 5143429"/>
                  <a:gd name="connsiteY29" fmla="*/ 114322 h 3771890"/>
                  <a:gd name="connsiteX30" fmla="*/ 1885962 w 5143429"/>
                  <a:gd name="connsiteY30" fmla="*/ 114322 h 3771890"/>
                  <a:gd name="connsiteX31" fmla="*/ 1943099 w 5143429"/>
                  <a:gd name="connsiteY31" fmla="*/ 57147 h 3771890"/>
                  <a:gd name="connsiteX32" fmla="*/ 1885962 w 5143429"/>
                  <a:gd name="connsiteY32" fmla="*/ 10 h 3771890"/>
                  <a:gd name="connsiteX33" fmla="*/ 742930 w 5143429"/>
                  <a:gd name="connsiteY33" fmla="*/ 10 h 3771890"/>
                  <a:gd name="connsiteX34" fmla="*/ 379407 w 5143429"/>
                  <a:gd name="connsiteY34" fmla="*/ 150837 h 3771890"/>
                  <a:gd name="connsiteX35" fmla="*/ 228580 w 5143429"/>
                  <a:gd name="connsiteY35" fmla="*/ 514360 h 3771890"/>
                  <a:gd name="connsiteX36" fmla="*/ 228580 w 5143429"/>
                  <a:gd name="connsiteY36" fmla="*/ 2800327 h 3771890"/>
                  <a:gd name="connsiteX37" fmla="*/ 423641 w 5143429"/>
                  <a:gd name="connsiteY37" fmla="*/ 3200403 h 3771890"/>
                  <a:gd name="connsiteX38" fmla="*/ 285756 w 5143429"/>
                  <a:gd name="connsiteY38" fmla="*/ 3200403 h 3771890"/>
                  <a:gd name="connsiteX39" fmla="*/ 38260 w 5143429"/>
                  <a:gd name="connsiteY39" fmla="*/ 3343265 h 3771890"/>
                  <a:gd name="connsiteX40" fmla="*/ 38260 w 5143429"/>
                  <a:gd name="connsiteY40" fmla="*/ 3629028 h 3771890"/>
                  <a:gd name="connsiteX41" fmla="*/ 285756 w 5143429"/>
                  <a:gd name="connsiteY41" fmla="*/ 3771890 h 3771890"/>
                  <a:gd name="connsiteX42" fmla="*/ 4171891 w 5143429"/>
                  <a:gd name="connsiteY42" fmla="*/ 3771890 h 3771890"/>
                  <a:gd name="connsiteX43" fmla="*/ 4229066 w 5143429"/>
                  <a:gd name="connsiteY43" fmla="*/ 3714753 h 3771890"/>
                  <a:gd name="connsiteX44" fmla="*/ 4171891 w 5143429"/>
                  <a:gd name="connsiteY44" fmla="*/ 3657578 h 3771890"/>
                  <a:gd name="connsiteX45" fmla="*/ 3708672 w 5143429"/>
                  <a:gd name="connsiteY45" fmla="*/ 3657578 h 3771890"/>
                  <a:gd name="connsiteX46" fmla="*/ 3771856 w 5143429"/>
                  <a:gd name="connsiteY46" fmla="*/ 3486128 h 3771890"/>
                  <a:gd name="connsiteX47" fmla="*/ 3771856 w 5143429"/>
                  <a:gd name="connsiteY47" fmla="*/ 3314678 h 3771890"/>
                  <a:gd name="connsiteX48" fmla="*/ 4857673 w 5143429"/>
                  <a:gd name="connsiteY48" fmla="*/ 3314678 h 3771890"/>
                  <a:gd name="connsiteX49" fmla="*/ 5006159 w 5143429"/>
                  <a:gd name="connsiteY49" fmla="*/ 3400403 h 3771890"/>
                  <a:gd name="connsiteX50" fmla="*/ 5006159 w 5143429"/>
                  <a:gd name="connsiteY50" fmla="*/ 3571853 h 3771890"/>
                  <a:gd name="connsiteX51" fmla="*/ 4857673 w 5143429"/>
                  <a:gd name="connsiteY51" fmla="*/ 3657578 h 3771890"/>
                  <a:gd name="connsiteX52" fmla="*/ 4400499 w 5143429"/>
                  <a:gd name="connsiteY52" fmla="*/ 3657578 h 3771890"/>
                  <a:gd name="connsiteX53" fmla="*/ 4343324 w 5143429"/>
                  <a:gd name="connsiteY53" fmla="*/ 3714753 h 3771890"/>
                  <a:gd name="connsiteX54" fmla="*/ 4400499 w 5143429"/>
                  <a:gd name="connsiteY54" fmla="*/ 3771890 h 3771890"/>
                  <a:gd name="connsiteX55" fmla="*/ 4857712 w 5143429"/>
                  <a:gd name="connsiteY55" fmla="*/ 3771890 h 3771890"/>
                  <a:gd name="connsiteX56" fmla="*/ 4857674 w 5143429"/>
                  <a:gd name="connsiteY56" fmla="*/ 3771890 h 3771890"/>
                  <a:gd name="connsiteX57" fmla="*/ 5105169 w 5143429"/>
                  <a:gd name="connsiteY57" fmla="*/ 3629028 h 3771890"/>
                  <a:gd name="connsiteX58" fmla="*/ 5105169 w 5143429"/>
                  <a:gd name="connsiteY58" fmla="*/ 3343265 h 3771890"/>
                  <a:gd name="connsiteX59" fmla="*/ 4857674 w 5143429"/>
                  <a:gd name="connsiteY59" fmla="*/ 3200403 h 3771890"/>
                  <a:gd name="connsiteX60" fmla="*/ 4400576 w 5143429"/>
                  <a:gd name="connsiteY60" fmla="*/ 114293 h 3771890"/>
                  <a:gd name="connsiteX61" fmla="*/ 4683272 w 5143429"/>
                  <a:gd name="connsiteY61" fmla="*/ 231595 h 3771890"/>
                  <a:gd name="connsiteX62" fmla="*/ 4800612 w 5143429"/>
                  <a:gd name="connsiteY62" fmla="*/ 514330 h 3771890"/>
                  <a:gd name="connsiteX63" fmla="*/ 4800612 w 5143429"/>
                  <a:gd name="connsiteY63" fmla="*/ 869281 h 3771890"/>
                  <a:gd name="connsiteX64" fmla="*/ 4686300 w 5143429"/>
                  <a:gd name="connsiteY64" fmla="*/ 656350 h 3771890"/>
                  <a:gd name="connsiteX65" fmla="*/ 4686300 w 5143429"/>
                  <a:gd name="connsiteY65" fmla="*/ 514330 h 3771890"/>
                  <a:gd name="connsiteX66" fmla="*/ 4603674 w 5143429"/>
                  <a:gd name="connsiteY66" fmla="*/ 312842 h 3771890"/>
                  <a:gd name="connsiteX67" fmla="*/ 4402833 w 5143429"/>
                  <a:gd name="connsiteY67" fmla="*/ 228571 h 3771890"/>
                  <a:gd name="connsiteX68" fmla="*/ 4258589 w 5143429"/>
                  <a:gd name="connsiteY68" fmla="*/ 228571 h 3771890"/>
                  <a:gd name="connsiteX69" fmla="*/ 4045619 w 5143429"/>
                  <a:gd name="connsiteY69" fmla="*/ 114297 h 3771890"/>
                  <a:gd name="connsiteX70" fmla="*/ 4568998 w 5143429"/>
                  <a:gd name="connsiteY70" fmla="*/ 499253 h 3771890"/>
                  <a:gd name="connsiteX71" fmla="*/ 4415115 w 5143429"/>
                  <a:gd name="connsiteY71" fmla="*/ 345408 h 3771890"/>
                  <a:gd name="connsiteX72" fmla="*/ 4520356 w 5143429"/>
                  <a:gd name="connsiteY72" fmla="*/ 394011 h 3771890"/>
                  <a:gd name="connsiteX73" fmla="*/ 4568996 w 5143429"/>
                  <a:gd name="connsiteY73" fmla="*/ 499252 h 3771890"/>
                  <a:gd name="connsiteX74" fmla="*/ 571470 w 5143429"/>
                  <a:gd name="connsiteY74" fmla="*/ 2571740 h 3771890"/>
                  <a:gd name="connsiteX75" fmla="*/ 571470 w 5143429"/>
                  <a:gd name="connsiteY75" fmla="*/ 514340 h 3771890"/>
                  <a:gd name="connsiteX76" fmla="*/ 620608 w 5143429"/>
                  <a:gd name="connsiteY76" fmla="*/ 393639 h 3771890"/>
                  <a:gd name="connsiteX77" fmla="*/ 740663 w 5143429"/>
                  <a:gd name="connsiteY77" fmla="*/ 342893 h 3771890"/>
                  <a:gd name="connsiteX78" fmla="*/ 2559992 w 5143429"/>
                  <a:gd name="connsiteY78" fmla="*/ 342893 h 3771890"/>
                  <a:gd name="connsiteX79" fmla="*/ 2559954 w 5143429"/>
                  <a:gd name="connsiteY79" fmla="*/ 342893 h 3771890"/>
                  <a:gd name="connsiteX80" fmla="*/ 2106640 w 5143429"/>
                  <a:gd name="connsiteY80" fmla="*/ 1058506 h 3771890"/>
                  <a:gd name="connsiteX81" fmla="*/ 2138634 w 5143429"/>
                  <a:gd name="connsiteY81" fmla="*/ 1905038 h 3771890"/>
                  <a:gd name="connsiteX82" fmla="*/ 2211653 w 5143429"/>
                  <a:gd name="connsiteY82" fmla="*/ 1939864 h 3771890"/>
                  <a:gd name="connsiteX83" fmla="*/ 2246440 w 5143429"/>
                  <a:gd name="connsiteY83" fmla="*/ 1866845 h 3771890"/>
                  <a:gd name="connsiteX84" fmla="*/ 2460674 w 5143429"/>
                  <a:gd name="connsiteY84" fmla="*/ 604875 h 3771890"/>
                  <a:gd name="connsiteX85" fmla="*/ 3646521 w 5143429"/>
                  <a:gd name="connsiteY85" fmla="*/ 122904 h 3771890"/>
                  <a:gd name="connsiteX86" fmla="*/ 4680413 w 5143429"/>
                  <a:gd name="connsiteY86" fmla="*/ 877549 h 3771890"/>
                  <a:gd name="connsiteX87" fmla="*/ 4582825 w 5143429"/>
                  <a:gd name="connsiteY87" fmla="*/ 2153823 h 3771890"/>
                  <a:gd name="connsiteX88" fmla="*/ 3446258 w 5143429"/>
                  <a:gd name="connsiteY88" fmla="*/ 2742533 h 3771890"/>
                  <a:gd name="connsiteX89" fmla="*/ 2347509 w 5143429"/>
                  <a:gd name="connsiteY89" fmla="*/ 2085928 h 3771890"/>
                  <a:gd name="connsiteX90" fmla="*/ 2312797 w 5143429"/>
                  <a:gd name="connsiteY90" fmla="*/ 2057685 h 3771890"/>
                  <a:gd name="connsiteX91" fmla="*/ 2268365 w 5143429"/>
                  <a:gd name="connsiteY91" fmla="*/ 2063158 h 3771890"/>
                  <a:gd name="connsiteX92" fmla="*/ 2241500 w 5143429"/>
                  <a:gd name="connsiteY92" fmla="*/ 2098902 h 3771890"/>
                  <a:gd name="connsiteX93" fmla="*/ 2248618 w 5143429"/>
                  <a:gd name="connsiteY93" fmla="*/ 2143065 h 3771890"/>
                  <a:gd name="connsiteX94" fmla="*/ 2929362 w 5143429"/>
                  <a:gd name="connsiteY94" fmla="*/ 2743140 h 3771890"/>
                  <a:gd name="connsiteX95" fmla="*/ 740779 w 5143429"/>
                  <a:gd name="connsiteY95" fmla="*/ 2743140 h 3771890"/>
                  <a:gd name="connsiteX96" fmla="*/ 620724 w 5143429"/>
                  <a:gd name="connsiteY96" fmla="*/ 2692394 h 3771890"/>
                  <a:gd name="connsiteX97" fmla="*/ 571586 w 5143429"/>
                  <a:gd name="connsiteY97" fmla="*/ 2571693 h 3771890"/>
                  <a:gd name="connsiteX98" fmla="*/ 4571937 w 5143429"/>
                  <a:gd name="connsiteY98" fmla="*/ 2354900 h 3771890"/>
                  <a:gd name="connsiteX99" fmla="*/ 4571975 w 5143429"/>
                  <a:gd name="connsiteY99" fmla="*/ 2571740 h 3771890"/>
                  <a:gd name="connsiteX100" fmla="*/ 4522837 w 5143429"/>
                  <a:gd name="connsiteY100" fmla="*/ 2692441 h 3771890"/>
                  <a:gd name="connsiteX101" fmla="*/ 4402783 w 5143429"/>
                  <a:gd name="connsiteY101" fmla="*/ 2743187 h 3771890"/>
                  <a:gd name="connsiteX102" fmla="*/ 4045530 w 5143429"/>
                  <a:gd name="connsiteY102" fmla="*/ 2743187 h 3771890"/>
                  <a:gd name="connsiteX103" fmla="*/ 4571969 w 5143429"/>
                  <a:gd name="connsiteY103" fmla="*/ 2354897 h 3771890"/>
                  <a:gd name="connsiteX104" fmla="*/ 2960209 w 5143429"/>
                  <a:gd name="connsiteY104" fmla="*/ 3314677 h 3771890"/>
                  <a:gd name="connsiteX105" fmla="*/ 2898441 w 5143429"/>
                  <a:gd name="connsiteY105" fmla="*/ 3397226 h 3771890"/>
                  <a:gd name="connsiteX106" fmla="*/ 2800313 w 5143429"/>
                  <a:gd name="connsiteY106" fmla="*/ 3428990 h 3771890"/>
                  <a:gd name="connsiteX107" fmla="*/ 2343139 w 5143429"/>
                  <a:gd name="connsiteY107" fmla="*/ 3428990 h 3771890"/>
                  <a:gd name="connsiteX108" fmla="*/ 2245011 w 5143429"/>
                  <a:gd name="connsiteY108" fmla="*/ 3397226 h 3771890"/>
                  <a:gd name="connsiteX109" fmla="*/ 2183243 w 5143429"/>
                  <a:gd name="connsiteY109" fmla="*/ 3314677 h 3771890"/>
                  <a:gd name="connsiteX110" fmla="*/ 114335 w 5143429"/>
                  <a:gd name="connsiteY110" fmla="*/ 3486127 h 3771890"/>
                  <a:gd name="connsiteX111" fmla="*/ 164584 w 5143429"/>
                  <a:gd name="connsiteY111" fmla="*/ 3364966 h 3771890"/>
                  <a:gd name="connsiteX112" fmla="*/ 285784 w 5143429"/>
                  <a:gd name="connsiteY112" fmla="*/ 3314679 h 3771890"/>
                  <a:gd name="connsiteX113" fmla="*/ 2068962 w 5143429"/>
                  <a:gd name="connsiteY113" fmla="*/ 3314679 h 3771890"/>
                  <a:gd name="connsiteX114" fmla="*/ 2165288 w 5143429"/>
                  <a:gd name="connsiteY114" fmla="*/ 3477900 h 3771890"/>
                  <a:gd name="connsiteX115" fmla="*/ 2343164 w 5143429"/>
                  <a:gd name="connsiteY115" fmla="*/ 3543303 h 3771890"/>
                  <a:gd name="connsiteX116" fmla="*/ 2800378 w 5143429"/>
                  <a:gd name="connsiteY116" fmla="*/ 3543303 h 3771890"/>
                  <a:gd name="connsiteX117" fmla="*/ 2800339 w 5143429"/>
                  <a:gd name="connsiteY117" fmla="*/ 3543303 h 3771890"/>
                  <a:gd name="connsiteX118" fmla="*/ 2978295 w 5143429"/>
                  <a:gd name="connsiteY118" fmla="*/ 3477938 h 3771890"/>
                  <a:gd name="connsiteX119" fmla="*/ 3074658 w 5143429"/>
                  <a:gd name="connsiteY119" fmla="*/ 3314678 h 3771890"/>
                  <a:gd name="connsiteX120" fmla="*/ 3200375 w 5143429"/>
                  <a:gd name="connsiteY120" fmla="*/ 3314678 h 3771890"/>
                  <a:gd name="connsiteX121" fmla="*/ 3200414 w 5143429"/>
                  <a:gd name="connsiteY121" fmla="*/ 3486128 h 3771890"/>
                  <a:gd name="connsiteX122" fmla="*/ 3263597 w 5143429"/>
                  <a:gd name="connsiteY122" fmla="*/ 3657578 h 3771890"/>
                  <a:gd name="connsiteX123" fmla="*/ 285756 w 5143429"/>
                  <a:gd name="connsiteY123" fmla="*/ 3657578 h 3771890"/>
                  <a:gd name="connsiteX124" fmla="*/ 164555 w 5143429"/>
                  <a:gd name="connsiteY124" fmla="*/ 3607330 h 3771890"/>
                  <a:gd name="connsiteX125" fmla="*/ 114307 w 5143429"/>
                  <a:gd name="connsiteY125" fmla="*/ 3486129 h 3771890"/>
                  <a:gd name="connsiteX126" fmla="*/ 3314768 w 5143429"/>
                  <a:gd name="connsiteY126" fmla="*/ 3486127 h 3771890"/>
                  <a:gd name="connsiteX127" fmla="*/ 3314730 w 5143429"/>
                  <a:gd name="connsiteY127" fmla="*/ 3143227 h 3771890"/>
                  <a:gd name="connsiteX128" fmla="*/ 3371905 w 5143429"/>
                  <a:gd name="connsiteY128" fmla="*/ 3086090 h 3771890"/>
                  <a:gd name="connsiteX129" fmla="*/ 3600492 w 5143429"/>
                  <a:gd name="connsiteY129" fmla="*/ 3086090 h 3771890"/>
                  <a:gd name="connsiteX130" fmla="*/ 3640905 w 5143429"/>
                  <a:gd name="connsiteY130" fmla="*/ 3102814 h 3771890"/>
                  <a:gd name="connsiteX131" fmla="*/ 3657629 w 5143429"/>
                  <a:gd name="connsiteY131" fmla="*/ 3143227 h 3771890"/>
                  <a:gd name="connsiteX132" fmla="*/ 3657629 w 5143429"/>
                  <a:gd name="connsiteY132" fmla="*/ 3486127 h 3771890"/>
                  <a:gd name="connsiteX133" fmla="*/ 3571904 w 5143429"/>
                  <a:gd name="connsiteY133" fmla="*/ 3634613 h 3771890"/>
                  <a:gd name="connsiteX134" fmla="*/ 3400454 w 5143429"/>
                  <a:gd name="connsiteY134" fmla="*/ 3634613 h 3771890"/>
                  <a:gd name="connsiteX135" fmla="*/ 3314729 w 5143429"/>
                  <a:gd name="connsiteY135" fmla="*/ 3486127 h 3771890"/>
                  <a:gd name="connsiteX136" fmla="*/ 3771981 w 5143429"/>
                  <a:gd name="connsiteY136" fmla="*/ 3200364 h 3771890"/>
                  <a:gd name="connsiteX137" fmla="*/ 3771943 w 5143429"/>
                  <a:gd name="connsiteY137" fmla="*/ 3143227 h 3771890"/>
                  <a:gd name="connsiteX138" fmla="*/ 3721656 w 5143429"/>
                  <a:gd name="connsiteY138" fmla="*/ 3022066 h 3771890"/>
                  <a:gd name="connsiteX139" fmla="*/ 3600494 w 5143429"/>
                  <a:gd name="connsiteY139" fmla="*/ 2971779 h 3771890"/>
                  <a:gd name="connsiteX140" fmla="*/ 3543358 w 5143429"/>
                  <a:gd name="connsiteY140" fmla="*/ 2971779 h 3771890"/>
                  <a:gd name="connsiteX141" fmla="*/ 3543358 w 5143429"/>
                  <a:gd name="connsiteY141" fmla="*/ 2857466 h 3771890"/>
                  <a:gd name="connsiteX142" fmla="*/ 4402901 w 5143429"/>
                  <a:gd name="connsiteY142" fmla="*/ 2857466 h 3771890"/>
                  <a:gd name="connsiteX143" fmla="*/ 4402862 w 5143429"/>
                  <a:gd name="connsiteY143" fmla="*/ 2857505 h 3771890"/>
                  <a:gd name="connsiteX144" fmla="*/ 4603704 w 5143429"/>
                  <a:gd name="connsiteY144" fmla="*/ 2773233 h 3771890"/>
                  <a:gd name="connsiteX145" fmla="*/ 4686329 w 5143429"/>
                  <a:gd name="connsiteY145" fmla="*/ 2571745 h 3771890"/>
                  <a:gd name="connsiteX146" fmla="*/ 4686329 w 5143429"/>
                  <a:gd name="connsiteY146" fmla="*/ 2201139 h 3771890"/>
                  <a:gd name="connsiteX147" fmla="*/ 4800642 w 5143429"/>
                  <a:gd name="connsiteY147" fmla="*/ 1988169 h 3771890"/>
                  <a:gd name="connsiteX148" fmla="*/ 4800642 w 5143429"/>
                  <a:gd name="connsiteY148" fmla="*/ 2800332 h 3771890"/>
                  <a:gd name="connsiteX149" fmla="*/ 4683301 w 5143429"/>
                  <a:gd name="connsiteY149" fmla="*/ 3083068 h 3771890"/>
                  <a:gd name="connsiteX150" fmla="*/ 4400605 w 5143429"/>
                  <a:gd name="connsiteY150" fmla="*/ 3200408 h 3771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5143429" h="3771890">
                    <a:moveTo>
                      <a:pt x="4857750" y="3200394"/>
                    </a:moveTo>
                    <a:lnTo>
                      <a:pt x="4719825" y="3200394"/>
                    </a:lnTo>
                    <a:lnTo>
                      <a:pt x="4719864" y="3200394"/>
                    </a:lnTo>
                    <a:cubicBezTo>
                      <a:pt x="4842523" y="3103800"/>
                      <a:pt x="4914356" y="2956464"/>
                      <a:pt x="4914924" y="2800318"/>
                    </a:cubicBezTo>
                    <a:lnTo>
                      <a:pt x="4914924" y="514350"/>
                    </a:lnTo>
                    <a:cubicBezTo>
                      <a:pt x="4914771" y="377993"/>
                      <a:pt x="4860504" y="247221"/>
                      <a:pt x="4764098" y="150827"/>
                    </a:cubicBezTo>
                    <a:cubicBezTo>
                      <a:pt x="4667657" y="54386"/>
                      <a:pt x="4536921" y="157"/>
                      <a:pt x="4400574" y="0"/>
                    </a:cubicBezTo>
                    <a:lnTo>
                      <a:pt x="2114509" y="0"/>
                    </a:lnTo>
                    <a:cubicBezTo>
                      <a:pt x="2082974" y="0"/>
                      <a:pt x="2057372" y="25603"/>
                      <a:pt x="2057372" y="57137"/>
                    </a:cubicBezTo>
                    <a:cubicBezTo>
                      <a:pt x="2057372" y="88710"/>
                      <a:pt x="2082975" y="114312"/>
                      <a:pt x="2114509" y="114312"/>
                    </a:cubicBezTo>
                    <a:lnTo>
                      <a:pt x="2926673" y="114312"/>
                    </a:lnTo>
                    <a:cubicBezTo>
                      <a:pt x="2852582" y="146306"/>
                      <a:pt x="2781361" y="184538"/>
                      <a:pt x="2713741" y="228586"/>
                    </a:cubicBezTo>
                    <a:lnTo>
                      <a:pt x="740695" y="228586"/>
                    </a:lnTo>
                    <a:cubicBezTo>
                      <a:pt x="665226" y="228969"/>
                      <a:pt x="593013" y="259278"/>
                      <a:pt x="539853" y="312857"/>
                    </a:cubicBezTo>
                    <a:cubicBezTo>
                      <a:pt x="486696" y="366436"/>
                      <a:pt x="456999" y="438878"/>
                      <a:pt x="457228" y="514345"/>
                    </a:cubicBezTo>
                    <a:lnTo>
                      <a:pt x="457228" y="2571745"/>
                    </a:lnTo>
                    <a:cubicBezTo>
                      <a:pt x="456999" y="2647214"/>
                      <a:pt x="486696" y="2719663"/>
                      <a:pt x="539853" y="2773233"/>
                    </a:cubicBezTo>
                    <a:cubicBezTo>
                      <a:pt x="593011" y="2826812"/>
                      <a:pt x="665228" y="2857121"/>
                      <a:pt x="740695" y="2857505"/>
                    </a:cubicBezTo>
                    <a:lnTo>
                      <a:pt x="3429031" y="2857505"/>
                    </a:lnTo>
                    <a:lnTo>
                      <a:pt x="3429031" y="2971818"/>
                    </a:lnTo>
                    <a:lnTo>
                      <a:pt x="3371894" y="2971779"/>
                    </a:lnTo>
                    <a:cubicBezTo>
                      <a:pt x="3326429" y="2971856"/>
                      <a:pt x="3282840" y="2989920"/>
                      <a:pt x="3250694" y="3022066"/>
                    </a:cubicBezTo>
                    <a:cubicBezTo>
                      <a:pt x="3218547" y="3054212"/>
                      <a:pt x="3200483" y="3097803"/>
                      <a:pt x="3200445" y="3143227"/>
                    </a:cubicBezTo>
                    <a:lnTo>
                      <a:pt x="3200445" y="3200364"/>
                    </a:lnTo>
                    <a:lnTo>
                      <a:pt x="742930" y="3200402"/>
                    </a:lnTo>
                    <a:cubicBezTo>
                      <a:pt x="636885" y="3200249"/>
                      <a:pt x="535201" y="3158076"/>
                      <a:pt x="460233" y="3083062"/>
                    </a:cubicBezTo>
                    <a:cubicBezTo>
                      <a:pt x="385224" y="3008053"/>
                      <a:pt x="343010" y="2906410"/>
                      <a:pt x="342893" y="2800326"/>
                    </a:cubicBezTo>
                    <a:lnTo>
                      <a:pt x="342893" y="514359"/>
                    </a:lnTo>
                    <a:cubicBezTo>
                      <a:pt x="343008" y="408315"/>
                      <a:pt x="385219" y="306630"/>
                      <a:pt x="460233" y="231623"/>
                    </a:cubicBezTo>
                    <a:cubicBezTo>
                      <a:pt x="535204" y="156652"/>
                      <a:pt x="636885" y="114439"/>
                      <a:pt x="742930" y="114322"/>
                    </a:cubicBezTo>
                    <a:lnTo>
                      <a:pt x="1885962" y="114322"/>
                    </a:lnTo>
                    <a:cubicBezTo>
                      <a:pt x="1917536" y="114322"/>
                      <a:pt x="1943099" y="88719"/>
                      <a:pt x="1943099" y="57147"/>
                    </a:cubicBezTo>
                    <a:cubicBezTo>
                      <a:pt x="1943099" y="25612"/>
                      <a:pt x="1917535" y="10"/>
                      <a:pt x="1885962" y="10"/>
                    </a:cubicBezTo>
                    <a:lnTo>
                      <a:pt x="742930" y="10"/>
                    </a:lnTo>
                    <a:cubicBezTo>
                      <a:pt x="606573" y="163"/>
                      <a:pt x="475840" y="54392"/>
                      <a:pt x="379407" y="150837"/>
                    </a:cubicBezTo>
                    <a:cubicBezTo>
                      <a:pt x="283005" y="247239"/>
                      <a:pt x="228736" y="378013"/>
                      <a:pt x="228580" y="514360"/>
                    </a:cubicBezTo>
                    <a:lnTo>
                      <a:pt x="228580" y="2800327"/>
                    </a:lnTo>
                    <a:cubicBezTo>
                      <a:pt x="229154" y="2956474"/>
                      <a:pt x="300986" y="3103813"/>
                      <a:pt x="423641" y="3200403"/>
                    </a:cubicBezTo>
                    <a:lnTo>
                      <a:pt x="285756" y="3200403"/>
                    </a:lnTo>
                    <a:cubicBezTo>
                      <a:pt x="183650" y="3200403"/>
                      <a:pt x="89313" y="3254862"/>
                      <a:pt x="38260" y="3343265"/>
                    </a:cubicBezTo>
                    <a:cubicBezTo>
                      <a:pt x="-12753" y="3431669"/>
                      <a:pt x="-12753" y="3540590"/>
                      <a:pt x="38260" y="3629028"/>
                    </a:cubicBezTo>
                    <a:cubicBezTo>
                      <a:pt x="89312" y="3717432"/>
                      <a:pt x="183650" y="3771890"/>
                      <a:pt x="285756" y="3771890"/>
                    </a:cubicBezTo>
                    <a:lnTo>
                      <a:pt x="4171891" y="3771890"/>
                    </a:lnTo>
                    <a:cubicBezTo>
                      <a:pt x="4203464" y="3771890"/>
                      <a:pt x="4229066" y="3746288"/>
                      <a:pt x="4229066" y="3714753"/>
                    </a:cubicBezTo>
                    <a:cubicBezTo>
                      <a:pt x="4229066" y="3683180"/>
                      <a:pt x="4203463" y="3657578"/>
                      <a:pt x="4171891" y="3657578"/>
                    </a:cubicBezTo>
                    <a:lnTo>
                      <a:pt x="3708672" y="3657578"/>
                    </a:lnTo>
                    <a:cubicBezTo>
                      <a:pt x="3748358" y="3609128"/>
                      <a:pt x="3770593" y="3548742"/>
                      <a:pt x="3771856" y="3486128"/>
                    </a:cubicBezTo>
                    <a:lnTo>
                      <a:pt x="3771856" y="3314678"/>
                    </a:lnTo>
                    <a:lnTo>
                      <a:pt x="4857673" y="3314678"/>
                    </a:lnTo>
                    <a:cubicBezTo>
                      <a:pt x="4918943" y="3314678"/>
                      <a:pt x="4975542" y="3347360"/>
                      <a:pt x="5006159" y="3400403"/>
                    </a:cubicBezTo>
                    <a:cubicBezTo>
                      <a:pt x="5036775" y="3453446"/>
                      <a:pt x="5036775" y="3518812"/>
                      <a:pt x="5006159" y="3571853"/>
                    </a:cubicBezTo>
                    <a:cubicBezTo>
                      <a:pt x="4975542" y="3624896"/>
                      <a:pt x="4918942" y="3657578"/>
                      <a:pt x="4857673" y="3657578"/>
                    </a:cubicBezTo>
                    <a:lnTo>
                      <a:pt x="4400499" y="3657578"/>
                    </a:lnTo>
                    <a:cubicBezTo>
                      <a:pt x="4368926" y="3657578"/>
                      <a:pt x="4343324" y="3683181"/>
                      <a:pt x="4343324" y="3714753"/>
                    </a:cubicBezTo>
                    <a:cubicBezTo>
                      <a:pt x="4343324" y="3746288"/>
                      <a:pt x="4368927" y="3771890"/>
                      <a:pt x="4400499" y="3771890"/>
                    </a:cubicBezTo>
                    <a:lnTo>
                      <a:pt x="4857712" y="3771890"/>
                    </a:lnTo>
                    <a:lnTo>
                      <a:pt x="4857674" y="3771890"/>
                    </a:lnTo>
                    <a:cubicBezTo>
                      <a:pt x="4959780" y="3771890"/>
                      <a:pt x="5054116" y="3717432"/>
                      <a:pt x="5105169" y="3629028"/>
                    </a:cubicBezTo>
                    <a:cubicBezTo>
                      <a:pt x="5156183" y="3540587"/>
                      <a:pt x="5156183" y="3431665"/>
                      <a:pt x="5105169" y="3343265"/>
                    </a:cubicBezTo>
                    <a:cubicBezTo>
                      <a:pt x="5054118" y="3254862"/>
                      <a:pt x="4959780" y="3200403"/>
                      <a:pt x="4857674" y="3200403"/>
                    </a:cubicBezTo>
                    <a:close/>
                    <a:moveTo>
                      <a:pt x="4400576" y="114293"/>
                    </a:moveTo>
                    <a:cubicBezTo>
                      <a:pt x="4506620" y="114408"/>
                      <a:pt x="4608304" y="156620"/>
                      <a:pt x="4683272" y="231595"/>
                    </a:cubicBezTo>
                    <a:cubicBezTo>
                      <a:pt x="4758281" y="306604"/>
                      <a:pt x="4800495" y="408286"/>
                      <a:pt x="4800612" y="514330"/>
                    </a:cubicBezTo>
                    <a:lnTo>
                      <a:pt x="4800612" y="869281"/>
                    </a:lnTo>
                    <a:cubicBezTo>
                      <a:pt x="4768619" y="795190"/>
                      <a:pt x="4730387" y="723970"/>
                      <a:pt x="4686300" y="656350"/>
                    </a:cubicBezTo>
                    <a:lnTo>
                      <a:pt x="4686300" y="514330"/>
                    </a:lnTo>
                    <a:cubicBezTo>
                      <a:pt x="4686529" y="438862"/>
                      <a:pt x="4656832" y="366413"/>
                      <a:pt x="4603674" y="312842"/>
                    </a:cubicBezTo>
                    <a:cubicBezTo>
                      <a:pt x="4550517" y="259264"/>
                      <a:pt x="4478300" y="228954"/>
                      <a:pt x="4402833" y="228571"/>
                    </a:cubicBezTo>
                    <a:lnTo>
                      <a:pt x="4258589" y="228571"/>
                    </a:lnTo>
                    <a:cubicBezTo>
                      <a:pt x="4190967" y="184522"/>
                      <a:pt x="4119744" y="146291"/>
                      <a:pt x="4045619" y="114297"/>
                    </a:cubicBezTo>
                    <a:close/>
                    <a:moveTo>
                      <a:pt x="4568998" y="499253"/>
                    </a:moveTo>
                    <a:cubicBezTo>
                      <a:pt x="4521659" y="444144"/>
                      <a:pt x="4470184" y="392709"/>
                      <a:pt x="4415115" y="345408"/>
                    </a:cubicBezTo>
                    <a:cubicBezTo>
                      <a:pt x="4454839" y="348585"/>
                      <a:pt x="4492152" y="365806"/>
                      <a:pt x="4520356" y="394011"/>
                    </a:cubicBezTo>
                    <a:cubicBezTo>
                      <a:pt x="4548560" y="422178"/>
                      <a:pt x="4565782" y="459491"/>
                      <a:pt x="4568996" y="499252"/>
                    </a:cubicBezTo>
                    <a:close/>
                    <a:moveTo>
                      <a:pt x="571470" y="2571740"/>
                    </a:moveTo>
                    <a:lnTo>
                      <a:pt x="571470" y="514340"/>
                    </a:lnTo>
                    <a:cubicBezTo>
                      <a:pt x="571240" y="469181"/>
                      <a:pt x="588920" y="425783"/>
                      <a:pt x="620608" y="393639"/>
                    </a:cubicBezTo>
                    <a:cubicBezTo>
                      <a:pt x="652334" y="361493"/>
                      <a:pt x="695503" y="343238"/>
                      <a:pt x="740663" y="342893"/>
                    </a:cubicBezTo>
                    <a:lnTo>
                      <a:pt x="2559992" y="342893"/>
                    </a:lnTo>
                    <a:lnTo>
                      <a:pt x="2559954" y="342893"/>
                    </a:lnTo>
                    <a:cubicBezTo>
                      <a:pt x="2339939" y="530068"/>
                      <a:pt x="2181843" y="779591"/>
                      <a:pt x="2106640" y="1058506"/>
                    </a:cubicBezTo>
                    <a:cubicBezTo>
                      <a:pt x="2031401" y="1337421"/>
                      <a:pt x="2042575" y="1632599"/>
                      <a:pt x="2138634" y="1905038"/>
                    </a:cubicBezTo>
                    <a:cubicBezTo>
                      <a:pt x="2149196" y="1934812"/>
                      <a:pt x="2181879" y="1950388"/>
                      <a:pt x="2211653" y="1939864"/>
                    </a:cubicBezTo>
                    <a:cubicBezTo>
                      <a:pt x="2241427" y="1929301"/>
                      <a:pt x="2257003" y="1896618"/>
                      <a:pt x="2246440" y="1866845"/>
                    </a:cubicBezTo>
                    <a:cubicBezTo>
                      <a:pt x="2094506" y="1437495"/>
                      <a:pt x="2175564" y="960070"/>
                      <a:pt x="2460674" y="604875"/>
                    </a:cubicBezTo>
                    <a:cubicBezTo>
                      <a:pt x="2745820" y="249728"/>
                      <a:pt x="3194431" y="67374"/>
                      <a:pt x="3646521" y="122904"/>
                    </a:cubicBezTo>
                    <a:cubicBezTo>
                      <a:pt x="4098570" y="178434"/>
                      <a:pt x="4489722" y="463933"/>
                      <a:pt x="4680413" y="877549"/>
                    </a:cubicBezTo>
                    <a:cubicBezTo>
                      <a:pt x="4871075" y="1291174"/>
                      <a:pt x="4834179" y="1774026"/>
                      <a:pt x="4582825" y="2153823"/>
                    </a:cubicBezTo>
                    <a:cubicBezTo>
                      <a:pt x="4331469" y="2533658"/>
                      <a:pt x="3901502" y="2756386"/>
                      <a:pt x="3446258" y="2742533"/>
                    </a:cubicBezTo>
                    <a:cubicBezTo>
                      <a:pt x="2990995" y="2728717"/>
                      <a:pt x="2575312" y="2480303"/>
                      <a:pt x="2347509" y="2085928"/>
                    </a:cubicBezTo>
                    <a:cubicBezTo>
                      <a:pt x="2340237" y="2072190"/>
                      <a:pt x="2327723" y="2062010"/>
                      <a:pt x="2312797" y="2057685"/>
                    </a:cubicBezTo>
                    <a:cubicBezTo>
                      <a:pt x="2297872" y="2053399"/>
                      <a:pt x="2281836" y="2055351"/>
                      <a:pt x="2268365" y="2063158"/>
                    </a:cubicBezTo>
                    <a:cubicBezTo>
                      <a:pt x="2254932" y="2070927"/>
                      <a:pt x="2245212" y="2083824"/>
                      <a:pt x="2241500" y="2098902"/>
                    </a:cubicBezTo>
                    <a:cubicBezTo>
                      <a:pt x="2237787" y="2113980"/>
                      <a:pt x="2240352" y="2129939"/>
                      <a:pt x="2248618" y="2143065"/>
                    </a:cubicBezTo>
                    <a:cubicBezTo>
                      <a:pt x="2404569" y="2411527"/>
                      <a:pt x="2643453" y="2622126"/>
                      <a:pt x="2929362" y="2743140"/>
                    </a:cubicBezTo>
                    <a:lnTo>
                      <a:pt x="740779" y="2743140"/>
                    </a:lnTo>
                    <a:cubicBezTo>
                      <a:pt x="695620" y="2742796"/>
                      <a:pt x="652451" y="2724541"/>
                      <a:pt x="620724" y="2692394"/>
                    </a:cubicBezTo>
                    <a:cubicBezTo>
                      <a:pt x="589037" y="2660248"/>
                      <a:pt x="571356" y="2616849"/>
                      <a:pt x="571586" y="2571693"/>
                    </a:cubicBezTo>
                    <a:close/>
                    <a:moveTo>
                      <a:pt x="4571937" y="2354900"/>
                    </a:moveTo>
                    <a:lnTo>
                      <a:pt x="4571975" y="2571740"/>
                    </a:lnTo>
                    <a:cubicBezTo>
                      <a:pt x="4572205" y="2616899"/>
                      <a:pt x="4554525" y="2660298"/>
                      <a:pt x="4522837" y="2692441"/>
                    </a:cubicBezTo>
                    <a:cubicBezTo>
                      <a:pt x="4491111" y="2724587"/>
                      <a:pt x="4447943" y="2742843"/>
                      <a:pt x="4402783" y="2743187"/>
                    </a:cubicBezTo>
                    <a:lnTo>
                      <a:pt x="4045530" y="2743187"/>
                    </a:lnTo>
                    <a:cubicBezTo>
                      <a:pt x="4248556" y="2656009"/>
                      <a:pt x="4428726" y="2523134"/>
                      <a:pt x="4571969" y="2354897"/>
                    </a:cubicBezTo>
                    <a:close/>
                    <a:moveTo>
                      <a:pt x="2960209" y="3314677"/>
                    </a:moveTo>
                    <a:cubicBezTo>
                      <a:pt x="2948651" y="3347934"/>
                      <a:pt x="2927067" y="3376751"/>
                      <a:pt x="2898441" y="3397226"/>
                    </a:cubicBezTo>
                    <a:cubicBezTo>
                      <a:pt x="2869815" y="3417700"/>
                      <a:pt x="2835525" y="3428799"/>
                      <a:pt x="2800313" y="3428990"/>
                    </a:cubicBezTo>
                    <a:lnTo>
                      <a:pt x="2343139" y="3428990"/>
                    </a:lnTo>
                    <a:cubicBezTo>
                      <a:pt x="2307930" y="3428799"/>
                      <a:pt x="2273640" y="3417701"/>
                      <a:pt x="2245011" y="3397226"/>
                    </a:cubicBezTo>
                    <a:cubicBezTo>
                      <a:pt x="2216385" y="3376752"/>
                      <a:pt x="2194801" y="3347935"/>
                      <a:pt x="2183243" y="3314677"/>
                    </a:cubicBezTo>
                    <a:close/>
                    <a:moveTo>
                      <a:pt x="114335" y="3486127"/>
                    </a:moveTo>
                    <a:cubicBezTo>
                      <a:pt x="114373" y="3440701"/>
                      <a:pt x="132437" y="3397112"/>
                      <a:pt x="164584" y="3364966"/>
                    </a:cubicBezTo>
                    <a:cubicBezTo>
                      <a:pt x="196730" y="3332821"/>
                      <a:pt x="240320" y="3314756"/>
                      <a:pt x="285784" y="3314679"/>
                    </a:cubicBezTo>
                    <a:lnTo>
                      <a:pt x="2068962" y="3314679"/>
                    </a:lnTo>
                    <a:cubicBezTo>
                      <a:pt x="2081285" y="3378590"/>
                      <a:pt x="2115308" y="3436223"/>
                      <a:pt x="2165288" y="3477900"/>
                    </a:cubicBezTo>
                    <a:cubicBezTo>
                      <a:pt x="2215269" y="3519576"/>
                      <a:pt x="2278112" y="3542653"/>
                      <a:pt x="2343164" y="3543303"/>
                    </a:cubicBezTo>
                    <a:lnTo>
                      <a:pt x="2800378" y="3543303"/>
                    </a:lnTo>
                    <a:lnTo>
                      <a:pt x="2800339" y="3543303"/>
                    </a:lnTo>
                    <a:cubicBezTo>
                      <a:pt x="2865436" y="3542691"/>
                      <a:pt x="2928310" y="3519614"/>
                      <a:pt x="2978295" y="3477938"/>
                    </a:cubicBezTo>
                    <a:cubicBezTo>
                      <a:pt x="3028314" y="3436262"/>
                      <a:pt x="3062336" y="3378585"/>
                      <a:pt x="3074658" y="3314678"/>
                    </a:cubicBezTo>
                    <a:lnTo>
                      <a:pt x="3200375" y="3314678"/>
                    </a:lnTo>
                    <a:lnTo>
                      <a:pt x="3200414" y="3486128"/>
                    </a:lnTo>
                    <a:cubicBezTo>
                      <a:pt x="3201676" y="3548738"/>
                      <a:pt x="3223911" y="3609131"/>
                      <a:pt x="3263597" y="3657578"/>
                    </a:cubicBezTo>
                    <a:lnTo>
                      <a:pt x="285756" y="3657578"/>
                    </a:lnTo>
                    <a:cubicBezTo>
                      <a:pt x="240291" y="3657540"/>
                      <a:pt x="196702" y="3639476"/>
                      <a:pt x="164555" y="3607330"/>
                    </a:cubicBezTo>
                    <a:cubicBezTo>
                      <a:pt x="132409" y="3575183"/>
                      <a:pt x="114345" y="3531593"/>
                      <a:pt x="114307" y="3486129"/>
                    </a:cubicBezTo>
                    <a:close/>
                    <a:moveTo>
                      <a:pt x="3314768" y="3486127"/>
                    </a:moveTo>
                    <a:lnTo>
                      <a:pt x="3314730" y="3143227"/>
                    </a:lnTo>
                    <a:cubicBezTo>
                      <a:pt x="3314730" y="3111692"/>
                      <a:pt x="3340332" y="3086090"/>
                      <a:pt x="3371905" y="3086090"/>
                    </a:cubicBezTo>
                    <a:lnTo>
                      <a:pt x="3600492" y="3086090"/>
                    </a:lnTo>
                    <a:cubicBezTo>
                      <a:pt x="3615647" y="3086090"/>
                      <a:pt x="3630189" y="3092099"/>
                      <a:pt x="3640905" y="3102814"/>
                    </a:cubicBezTo>
                    <a:cubicBezTo>
                      <a:pt x="3651621" y="3113529"/>
                      <a:pt x="3657629" y="3128072"/>
                      <a:pt x="3657629" y="3143227"/>
                    </a:cubicBezTo>
                    <a:lnTo>
                      <a:pt x="3657629" y="3486127"/>
                    </a:lnTo>
                    <a:cubicBezTo>
                      <a:pt x="3657629" y="3547398"/>
                      <a:pt x="3624946" y="3603997"/>
                      <a:pt x="3571904" y="3634613"/>
                    </a:cubicBezTo>
                    <a:cubicBezTo>
                      <a:pt x="3518861" y="3665229"/>
                      <a:pt x="3453495" y="3665229"/>
                      <a:pt x="3400454" y="3634613"/>
                    </a:cubicBezTo>
                    <a:cubicBezTo>
                      <a:pt x="3347411" y="3603997"/>
                      <a:pt x="3314729" y="3547396"/>
                      <a:pt x="3314729" y="3486127"/>
                    </a:cubicBezTo>
                    <a:close/>
                    <a:moveTo>
                      <a:pt x="3771981" y="3200364"/>
                    </a:moveTo>
                    <a:lnTo>
                      <a:pt x="3771943" y="3143227"/>
                    </a:lnTo>
                    <a:cubicBezTo>
                      <a:pt x="3771904" y="3097801"/>
                      <a:pt x="3753802" y="3054212"/>
                      <a:pt x="3721656" y="3022066"/>
                    </a:cubicBezTo>
                    <a:cubicBezTo>
                      <a:pt x="3689548" y="2989920"/>
                      <a:pt x="3645957" y="2971856"/>
                      <a:pt x="3600494" y="2971779"/>
                    </a:cubicBezTo>
                    <a:lnTo>
                      <a:pt x="3543358" y="2971779"/>
                    </a:lnTo>
                    <a:lnTo>
                      <a:pt x="3543358" y="2857466"/>
                    </a:lnTo>
                    <a:lnTo>
                      <a:pt x="4402901" y="2857466"/>
                    </a:lnTo>
                    <a:lnTo>
                      <a:pt x="4402862" y="2857505"/>
                    </a:lnTo>
                    <a:cubicBezTo>
                      <a:pt x="4478330" y="2857122"/>
                      <a:pt x="4550544" y="2826812"/>
                      <a:pt x="4603704" y="2773233"/>
                    </a:cubicBezTo>
                    <a:cubicBezTo>
                      <a:pt x="4656861" y="2719655"/>
                      <a:pt x="4686558" y="2647213"/>
                      <a:pt x="4686329" y="2571745"/>
                    </a:cubicBezTo>
                    <a:lnTo>
                      <a:pt x="4686329" y="2201139"/>
                    </a:lnTo>
                    <a:cubicBezTo>
                      <a:pt x="4730416" y="2133516"/>
                      <a:pt x="4768647" y="2062255"/>
                      <a:pt x="4800642" y="1988169"/>
                    </a:cubicBezTo>
                    <a:lnTo>
                      <a:pt x="4800642" y="2800332"/>
                    </a:lnTo>
                    <a:cubicBezTo>
                      <a:pt x="4800527" y="2906416"/>
                      <a:pt x="4758315" y="3008061"/>
                      <a:pt x="4683301" y="3083068"/>
                    </a:cubicBezTo>
                    <a:cubicBezTo>
                      <a:pt x="4608331" y="3158077"/>
                      <a:pt x="4506649" y="3200252"/>
                      <a:pt x="4400605" y="3200408"/>
                    </a:cubicBezTo>
                    <a:close/>
                  </a:path>
                </a:pathLst>
              </a:custGeom>
              <a:grpFill/>
              <a:ln w="9797" cap="flat">
                <a:noFill/>
                <a:prstDash val="solid"/>
                <a:miter/>
              </a:ln>
            </p:spPr>
            <p:txBody>
              <a:bodyPr rtlCol="0" anchor="ctr"/>
              <a:lstStyle/>
              <a:p>
                <a:endParaRPr lang="en-US" dirty="0"/>
              </a:p>
            </p:txBody>
          </p:sp>
          <p:sp>
            <p:nvSpPr>
              <p:cNvPr id="157" name="Freeform: Shape 156">
                <a:extLst>
                  <a:ext uri="{FF2B5EF4-FFF2-40B4-BE49-F238E27FC236}">
                    <a16:creationId xmlns:a16="http://schemas.microsoft.com/office/drawing/2014/main" id="{B6033B63-E9B7-7C44-F996-DD708C3F6559}"/>
                  </a:ext>
                </a:extLst>
              </p:cNvPr>
              <p:cNvSpPr/>
              <p:nvPr/>
            </p:nvSpPr>
            <p:spPr>
              <a:xfrm>
                <a:off x="4210033" y="1543030"/>
                <a:ext cx="571482" cy="1714495"/>
              </a:xfrm>
              <a:custGeom>
                <a:avLst/>
                <a:gdLst>
                  <a:gd name="connsiteX0" fmla="*/ 400034 w 571482"/>
                  <a:gd name="connsiteY0" fmla="*/ 228587 h 1714495"/>
                  <a:gd name="connsiteX1" fmla="*/ 342897 w 571482"/>
                  <a:gd name="connsiteY1" fmla="*/ 228587 h 1714495"/>
                  <a:gd name="connsiteX2" fmla="*/ 342897 w 571482"/>
                  <a:gd name="connsiteY2" fmla="*/ 57137 h 1714495"/>
                  <a:gd name="connsiteX3" fmla="*/ 285760 w 571482"/>
                  <a:gd name="connsiteY3" fmla="*/ 0 h 1714495"/>
                  <a:gd name="connsiteX4" fmla="*/ 228585 w 571482"/>
                  <a:gd name="connsiteY4" fmla="*/ 57137 h 1714495"/>
                  <a:gd name="connsiteX5" fmla="*/ 228585 w 571482"/>
                  <a:gd name="connsiteY5" fmla="*/ 228587 h 1714495"/>
                  <a:gd name="connsiteX6" fmla="*/ 171448 w 571482"/>
                  <a:gd name="connsiteY6" fmla="*/ 228587 h 1714495"/>
                  <a:gd name="connsiteX7" fmla="*/ 50287 w 571482"/>
                  <a:gd name="connsiteY7" fmla="*/ 278874 h 1714495"/>
                  <a:gd name="connsiteX8" fmla="*/ 0 w 571482"/>
                  <a:gd name="connsiteY8" fmla="*/ 400035 h 1714495"/>
                  <a:gd name="connsiteX9" fmla="*/ 0 w 571482"/>
                  <a:gd name="connsiteY9" fmla="*/ 1314461 h 1714495"/>
                  <a:gd name="connsiteX10" fmla="*/ 50287 w 571482"/>
                  <a:gd name="connsiteY10" fmla="*/ 1435622 h 1714495"/>
                  <a:gd name="connsiteX11" fmla="*/ 171448 w 571482"/>
                  <a:gd name="connsiteY11" fmla="*/ 1485909 h 1714495"/>
                  <a:gd name="connsiteX12" fmla="*/ 228585 w 571482"/>
                  <a:gd name="connsiteY12" fmla="*/ 1485909 h 1714495"/>
                  <a:gd name="connsiteX13" fmla="*/ 228585 w 571482"/>
                  <a:gd name="connsiteY13" fmla="*/ 1657359 h 1714495"/>
                  <a:gd name="connsiteX14" fmla="*/ 285760 w 571482"/>
                  <a:gd name="connsiteY14" fmla="*/ 1714496 h 1714495"/>
                  <a:gd name="connsiteX15" fmla="*/ 342897 w 571482"/>
                  <a:gd name="connsiteY15" fmla="*/ 1657359 h 1714495"/>
                  <a:gd name="connsiteX16" fmla="*/ 342897 w 571482"/>
                  <a:gd name="connsiteY16" fmla="*/ 1485909 h 1714495"/>
                  <a:gd name="connsiteX17" fmla="*/ 400034 w 571482"/>
                  <a:gd name="connsiteY17" fmla="*/ 1485909 h 1714495"/>
                  <a:gd name="connsiteX18" fmla="*/ 521234 w 571482"/>
                  <a:gd name="connsiteY18" fmla="*/ 1435622 h 1714495"/>
                  <a:gd name="connsiteX19" fmla="*/ 571483 w 571482"/>
                  <a:gd name="connsiteY19" fmla="*/ 1314461 h 1714495"/>
                  <a:gd name="connsiteX20" fmla="*/ 571483 w 571482"/>
                  <a:gd name="connsiteY20" fmla="*/ 400035 h 1714495"/>
                  <a:gd name="connsiteX21" fmla="*/ 521234 w 571482"/>
                  <a:gd name="connsiteY21" fmla="*/ 278874 h 1714495"/>
                  <a:gd name="connsiteX22" fmla="*/ 400034 w 571482"/>
                  <a:gd name="connsiteY22" fmla="*/ 228587 h 1714495"/>
                  <a:gd name="connsiteX23" fmla="*/ 457171 w 571482"/>
                  <a:gd name="connsiteY23" fmla="*/ 1314404 h 1714495"/>
                  <a:gd name="connsiteX24" fmla="*/ 457209 w 571482"/>
                  <a:gd name="connsiteY24" fmla="*/ 1314443 h 1714495"/>
                  <a:gd name="connsiteX25" fmla="*/ 440447 w 571482"/>
                  <a:gd name="connsiteY25" fmla="*/ 1354856 h 1714495"/>
                  <a:gd name="connsiteX26" fmla="*/ 400034 w 571482"/>
                  <a:gd name="connsiteY26" fmla="*/ 1371580 h 1714495"/>
                  <a:gd name="connsiteX27" fmla="*/ 171447 w 571482"/>
                  <a:gd name="connsiteY27" fmla="*/ 1371580 h 1714495"/>
                  <a:gd name="connsiteX28" fmla="*/ 114310 w 571482"/>
                  <a:gd name="connsiteY28" fmla="*/ 1314443 h 1714495"/>
                  <a:gd name="connsiteX29" fmla="*/ 114310 w 571482"/>
                  <a:gd name="connsiteY29" fmla="*/ 400016 h 1714495"/>
                  <a:gd name="connsiteX30" fmla="*/ 171447 w 571482"/>
                  <a:gd name="connsiteY30" fmla="*/ 342880 h 1714495"/>
                  <a:gd name="connsiteX31" fmla="*/ 400034 w 571482"/>
                  <a:gd name="connsiteY31" fmla="*/ 342880 h 1714495"/>
                  <a:gd name="connsiteX32" fmla="*/ 440447 w 571482"/>
                  <a:gd name="connsiteY32" fmla="*/ 359603 h 1714495"/>
                  <a:gd name="connsiteX33" fmla="*/ 457209 w 571482"/>
                  <a:gd name="connsiteY33" fmla="*/ 400016 h 171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71482" h="1714495">
                    <a:moveTo>
                      <a:pt x="400034" y="228587"/>
                    </a:moveTo>
                    <a:lnTo>
                      <a:pt x="342897" y="228587"/>
                    </a:lnTo>
                    <a:lnTo>
                      <a:pt x="342897" y="57137"/>
                    </a:lnTo>
                    <a:cubicBezTo>
                      <a:pt x="342897" y="25602"/>
                      <a:pt x="317294" y="0"/>
                      <a:pt x="285760" y="0"/>
                    </a:cubicBezTo>
                    <a:cubicBezTo>
                      <a:pt x="254187" y="0"/>
                      <a:pt x="228585" y="25603"/>
                      <a:pt x="228585" y="57137"/>
                    </a:cubicBezTo>
                    <a:lnTo>
                      <a:pt x="228585" y="228587"/>
                    </a:lnTo>
                    <a:lnTo>
                      <a:pt x="171448" y="228587"/>
                    </a:lnTo>
                    <a:cubicBezTo>
                      <a:pt x="125983" y="228663"/>
                      <a:pt x="82394" y="246727"/>
                      <a:pt x="50287" y="278874"/>
                    </a:cubicBezTo>
                    <a:cubicBezTo>
                      <a:pt x="18140" y="311020"/>
                      <a:pt x="38" y="354611"/>
                      <a:pt x="0" y="400035"/>
                    </a:cubicBezTo>
                    <a:lnTo>
                      <a:pt x="0" y="1314461"/>
                    </a:lnTo>
                    <a:cubicBezTo>
                      <a:pt x="38" y="1359887"/>
                      <a:pt x="18140" y="1403477"/>
                      <a:pt x="50287" y="1435622"/>
                    </a:cubicBezTo>
                    <a:cubicBezTo>
                      <a:pt x="82395" y="1467769"/>
                      <a:pt x="125985" y="1485833"/>
                      <a:pt x="171448" y="1485909"/>
                    </a:cubicBezTo>
                    <a:lnTo>
                      <a:pt x="228585" y="1485909"/>
                    </a:lnTo>
                    <a:lnTo>
                      <a:pt x="228585" y="1657359"/>
                    </a:lnTo>
                    <a:cubicBezTo>
                      <a:pt x="228585" y="1688894"/>
                      <a:pt x="254188" y="1714496"/>
                      <a:pt x="285760" y="1714496"/>
                    </a:cubicBezTo>
                    <a:cubicBezTo>
                      <a:pt x="317295" y="1714496"/>
                      <a:pt x="342897" y="1688893"/>
                      <a:pt x="342897" y="1657359"/>
                    </a:cubicBezTo>
                    <a:lnTo>
                      <a:pt x="342897" y="1485909"/>
                    </a:lnTo>
                    <a:lnTo>
                      <a:pt x="400034" y="1485909"/>
                    </a:lnTo>
                    <a:cubicBezTo>
                      <a:pt x="445499" y="1485833"/>
                      <a:pt x="489088" y="1467769"/>
                      <a:pt x="521234" y="1435622"/>
                    </a:cubicBezTo>
                    <a:cubicBezTo>
                      <a:pt x="553381" y="1403476"/>
                      <a:pt x="571445" y="1359886"/>
                      <a:pt x="571483" y="1314461"/>
                    </a:cubicBezTo>
                    <a:lnTo>
                      <a:pt x="571483" y="400035"/>
                    </a:lnTo>
                    <a:cubicBezTo>
                      <a:pt x="571445" y="354609"/>
                      <a:pt x="553381" y="311019"/>
                      <a:pt x="521234" y="278874"/>
                    </a:cubicBezTo>
                    <a:cubicBezTo>
                      <a:pt x="489088" y="246728"/>
                      <a:pt x="445498" y="228663"/>
                      <a:pt x="400034" y="228587"/>
                    </a:cubicBezTo>
                    <a:close/>
                    <a:moveTo>
                      <a:pt x="457171" y="1314404"/>
                    </a:moveTo>
                    <a:lnTo>
                      <a:pt x="457209" y="1314443"/>
                    </a:lnTo>
                    <a:cubicBezTo>
                      <a:pt x="457209" y="1329598"/>
                      <a:pt x="451163" y="1344140"/>
                      <a:pt x="440447" y="1354856"/>
                    </a:cubicBezTo>
                    <a:cubicBezTo>
                      <a:pt x="429732" y="1365572"/>
                      <a:pt x="415189" y="1371580"/>
                      <a:pt x="400034" y="1371580"/>
                    </a:cubicBezTo>
                    <a:lnTo>
                      <a:pt x="171447" y="1371580"/>
                    </a:lnTo>
                    <a:cubicBezTo>
                      <a:pt x="139874" y="1371580"/>
                      <a:pt x="114310" y="1345977"/>
                      <a:pt x="114310" y="1314443"/>
                    </a:cubicBezTo>
                    <a:lnTo>
                      <a:pt x="114310" y="400016"/>
                    </a:lnTo>
                    <a:cubicBezTo>
                      <a:pt x="114310" y="368481"/>
                      <a:pt x="139875" y="342880"/>
                      <a:pt x="171447" y="342880"/>
                    </a:cubicBezTo>
                    <a:lnTo>
                      <a:pt x="400034" y="342880"/>
                    </a:lnTo>
                    <a:cubicBezTo>
                      <a:pt x="415189" y="342880"/>
                      <a:pt x="429731" y="348888"/>
                      <a:pt x="440447" y="359603"/>
                    </a:cubicBezTo>
                    <a:cubicBezTo>
                      <a:pt x="451163" y="370319"/>
                      <a:pt x="457209" y="384861"/>
                      <a:pt x="457209" y="400016"/>
                    </a:cubicBezTo>
                    <a:close/>
                  </a:path>
                </a:pathLst>
              </a:custGeom>
              <a:grpFill/>
              <a:ln w="9797" cap="flat">
                <a:noFill/>
                <a:prstDash val="solid"/>
                <a:miter/>
              </a:ln>
            </p:spPr>
            <p:txBody>
              <a:bodyPr rtlCol="0" anchor="ctr"/>
              <a:lstStyle/>
              <a:p>
                <a:endParaRPr lang="en-US" dirty="0"/>
              </a:p>
            </p:txBody>
          </p:sp>
          <p:sp>
            <p:nvSpPr>
              <p:cNvPr id="158" name="Freeform: Shape 157">
                <a:extLst>
                  <a:ext uri="{FF2B5EF4-FFF2-40B4-BE49-F238E27FC236}">
                    <a16:creationId xmlns:a16="http://schemas.microsoft.com/office/drawing/2014/main" id="{0B5B8314-9694-BBA6-BAE3-7F9A19A4D5E2}"/>
                  </a:ext>
                </a:extLst>
              </p:cNvPr>
              <p:cNvSpPr/>
              <p:nvPr/>
            </p:nvSpPr>
            <p:spPr>
              <a:xfrm>
                <a:off x="6724683" y="1543033"/>
                <a:ext cx="571483" cy="1485909"/>
              </a:xfrm>
              <a:custGeom>
                <a:avLst/>
                <a:gdLst>
                  <a:gd name="connsiteX0" fmla="*/ 171449 w 571483"/>
                  <a:gd name="connsiteY0" fmla="*/ 1257284 h 1485909"/>
                  <a:gd name="connsiteX1" fmla="*/ 228586 w 571483"/>
                  <a:gd name="connsiteY1" fmla="*/ 1257284 h 1485909"/>
                  <a:gd name="connsiteX2" fmla="*/ 228586 w 571483"/>
                  <a:gd name="connsiteY2" fmla="*/ 1428734 h 1485909"/>
                  <a:gd name="connsiteX3" fmla="*/ 285723 w 571483"/>
                  <a:gd name="connsiteY3" fmla="*/ 1485909 h 1485909"/>
                  <a:gd name="connsiteX4" fmla="*/ 342898 w 571483"/>
                  <a:gd name="connsiteY4" fmla="*/ 1428734 h 1485909"/>
                  <a:gd name="connsiteX5" fmla="*/ 342898 w 571483"/>
                  <a:gd name="connsiteY5" fmla="*/ 1257284 h 1485909"/>
                  <a:gd name="connsiteX6" fmla="*/ 400035 w 571483"/>
                  <a:gd name="connsiteY6" fmla="*/ 1257284 h 1485909"/>
                  <a:gd name="connsiteX7" fmla="*/ 521196 w 571483"/>
                  <a:gd name="connsiteY7" fmla="*/ 1207036 h 1485909"/>
                  <a:gd name="connsiteX8" fmla="*/ 571483 w 571483"/>
                  <a:gd name="connsiteY8" fmla="*/ 1085835 h 1485909"/>
                  <a:gd name="connsiteX9" fmla="*/ 571483 w 571483"/>
                  <a:gd name="connsiteY9" fmla="*/ 400035 h 1485909"/>
                  <a:gd name="connsiteX10" fmla="*/ 521196 w 571483"/>
                  <a:gd name="connsiteY10" fmla="*/ 278874 h 1485909"/>
                  <a:gd name="connsiteX11" fmla="*/ 400035 w 571483"/>
                  <a:gd name="connsiteY11" fmla="*/ 228587 h 1485909"/>
                  <a:gd name="connsiteX12" fmla="*/ 342898 w 571483"/>
                  <a:gd name="connsiteY12" fmla="*/ 228587 h 1485909"/>
                  <a:gd name="connsiteX13" fmla="*/ 342898 w 571483"/>
                  <a:gd name="connsiteY13" fmla="*/ 57137 h 1485909"/>
                  <a:gd name="connsiteX14" fmla="*/ 285723 w 571483"/>
                  <a:gd name="connsiteY14" fmla="*/ 0 h 1485909"/>
                  <a:gd name="connsiteX15" fmla="*/ 228586 w 571483"/>
                  <a:gd name="connsiteY15" fmla="*/ 57137 h 1485909"/>
                  <a:gd name="connsiteX16" fmla="*/ 228586 w 571483"/>
                  <a:gd name="connsiteY16" fmla="*/ 228587 h 1485909"/>
                  <a:gd name="connsiteX17" fmla="*/ 171449 w 571483"/>
                  <a:gd name="connsiteY17" fmla="*/ 228587 h 1485909"/>
                  <a:gd name="connsiteX18" fmla="*/ 50249 w 571483"/>
                  <a:gd name="connsiteY18" fmla="*/ 278874 h 1485909"/>
                  <a:gd name="connsiteX19" fmla="*/ 0 w 571483"/>
                  <a:gd name="connsiteY19" fmla="*/ 400035 h 1485909"/>
                  <a:gd name="connsiteX20" fmla="*/ 0 w 571483"/>
                  <a:gd name="connsiteY20" fmla="*/ 1085835 h 1485909"/>
                  <a:gd name="connsiteX21" fmla="*/ 50249 w 571483"/>
                  <a:gd name="connsiteY21" fmla="*/ 1207036 h 1485909"/>
                  <a:gd name="connsiteX22" fmla="*/ 171449 w 571483"/>
                  <a:gd name="connsiteY22" fmla="*/ 1257284 h 1485909"/>
                  <a:gd name="connsiteX23" fmla="*/ 114274 w 571483"/>
                  <a:gd name="connsiteY23" fmla="*/ 400034 h 1485909"/>
                  <a:gd name="connsiteX24" fmla="*/ 171449 w 571483"/>
                  <a:gd name="connsiteY24" fmla="*/ 342897 h 1485909"/>
                  <a:gd name="connsiteX25" fmla="*/ 400036 w 571483"/>
                  <a:gd name="connsiteY25" fmla="*/ 342897 h 1485909"/>
                  <a:gd name="connsiteX26" fmla="*/ 440449 w 571483"/>
                  <a:gd name="connsiteY26" fmla="*/ 359621 h 1485909"/>
                  <a:gd name="connsiteX27" fmla="*/ 457173 w 571483"/>
                  <a:gd name="connsiteY27" fmla="*/ 400034 h 1485909"/>
                  <a:gd name="connsiteX28" fmla="*/ 457173 w 571483"/>
                  <a:gd name="connsiteY28" fmla="*/ 1085834 h 1485909"/>
                  <a:gd name="connsiteX29" fmla="*/ 440449 w 571483"/>
                  <a:gd name="connsiteY29" fmla="*/ 1126247 h 1485909"/>
                  <a:gd name="connsiteX30" fmla="*/ 400036 w 571483"/>
                  <a:gd name="connsiteY30" fmla="*/ 1143009 h 1485909"/>
                  <a:gd name="connsiteX31" fmla="*/ 171449 w 571483"/>
                  <a:gd name="connsiteY31" fmla="*/ 1143009 h 1485909"/>
                  <a:gd name="connsiteX32" fmla="*/ 114274 w 571483"/>
                  <a:gd name="connsiteY32" fmla="*/ 1085834 h 148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71483" h="1485909">
                    <a:moveTo>
                      <a:pt x="171449" y="1257284"/>
                    </a:moveTo>
                    <a:lnTo>
                      <a:pt x="228586" y="1257284"/>
                    </a:lnTo>
                    <a:lnTo>
                      <a:pt x="228586" y="1428734"/>
                    </a:lnTo>
                    <a:cubicBezTo>
                      <a:pt x="228586" y="1460307"/>
                      <a:pt x="254189" y="1485909"/>
                      <a:pt x="285723" y="1485909"/>
                    </a:cubicBezTo>
                    <a:cubicBezTo>
                      <a:pt x="317296" y="1485909"/>
                      <a:pt x="342898" y="1460306"/>
                      <a:pt x="342898" y="1428734"/>
                    </a:cubicBezTo>
                    <a:lnTo>
                      <a:pt x="342898" y="1257284"/>
                    </a:lnTo>
                    <a:lnTo>
                      <a:pt x="400035" y="1257284"/>
                    </a:lnTo>
                    <a:cubicBezTo>
                      <a:pt x="445499" y="1257246"/>
                      <a:pt x="489089" y="1239182"/>
                      <a:pt x="521196" y="1207036"/>
                    </a:cubicBezTo>
                    <a:cubicBezTo>
                      <a:pt x="553342" y="1174889"/>
                      <a:pt x="571445" y="1131299"/>
                      <a:pt x="571483" y="1085835"/>
                    </a:cubicBezTo>
                    <a:lnTo>
                      <a:pt x="571483" y="400035"/>
                    </a:lnTo>
                    <a:cubicBezTo>
                      <a:pt x="571445" y="354609"/>
                      <a:pt x="553342" y="311019"/>
                      <a:pt x="521196" y="278874"/>
                    </a:cubicBezTo>
                    <a:cubicBezTo>
                      <a:pt x="489088" y="246727"/>
                      <a:pt x="445498" y="228663"/>
                      <a:pt x="400035" y="228587"/>
                    </a:cubicBezTo>
                    <a:lnTo>
                      <a:pt x="342898" y="228587"/>
                    </a:lnTo>
                    <a:lnTo>
                      <a:pt x="342898" y="57137"/>
                    </a:lnTo>
                    <a:cubicBezTo>
                      <a:pt x="342898" y="25602"/>
                      <a:pt x="317295" y="0"/>
                      <a:pt x="285723" y="0"/>
                    </a:cubicBezTo>
                    <a:cubicBezTo>
                      <a:pt x="254188" y="0"/>
                      <a:pt x="228586" y="25603"/>
                      <a:pt x="228586" y="57137"/>
                    </a:cubicBezTo>
                    <a:lnTo>
                      <a:pt x="228586" y="228587"/>
                    </a:lnTo>
                    <a:lnTo>
                      <a:pt x="171449" y="228587"/>
                    </a:lnTo>
                    <a:cubicBezTo>
                      <a:pt x="125984" y="228663"/>
                      <a:pt x="82395" y="246727"/>
                      <a:pt x="50249" y="278874"/>
                    </a:cubicBezTo>
                    <a:cubicBezTo>
                      <a:pt x="18102" y="311020"/>
                      <a:pt x="38" y="354611"/>
                      <a:pt x="0" y="400035"/>
                    </a:cubicBezTo>
                    <a:lnTo>
                      <a:pt x="0" y="1085835"/>
                    </a:lnTo>
                    <a:cubicBezTo>
                      <a:pt x="38" y="1131300"/>
                      <a:pt x="18102" y="1174889"/>
                      <a:pt x="50249" y="1207036"/>
                    </a:cubicBezTo>
                    <a:cubicBezTo>
                      <a:pt x="82395" y="1239182"/>
                      <a:pt x="125985" y="1257246"/>
                      <a:pt x="171449" y="1257284"/>
                    </a:cubicBezTo>
                    <a:close/>
                    <a:moveTo>
                      <a:pt x="114274" y="400034"/>
                    </a:moveTo>
                    <a:cubicBezTo>
                      <a:pt x="114274" y="368499"/>
                      <a:pt x="139877" y="342897"/>
                      <a:pt x="171449" y="342897"/>
                    </a:cubicBezTo>
                    <a:lnTo>
                      <a:pt x="400036" y="342897"/>
                    </a:lnTo>
                    <a:cubicBezTo>
                      <a:pt x="415191" y="342897"/>
                      <a:pt x="429733" y="348905"/>
                      <a:pt x="440449" y="359621"/>
                    </a:cubicBezTo>
                    <a:cubicBezTo>
                      <a:pt x="451165" y="370336"/>
                      <a:pt x="457173" y="384879"/>
                      <a:pt x="457173" y="400034"/>
                    </a:cubicBezTo>
                    <a:lnTo>
                      <a:pt x="457173" y="1085834"/>
                    </a:lnTo>
                    <a:cubicBezTo>
                      <a:pt x="457173" y="1100989"/>
                      <a:pt x="451165" y="1115531"/>
                      <a:pt x="440449" y="1126247"/>
                    </a:cubicBezTo>
                    <a:cubicBezTo>
                      <a:pt x="429734" y="1136963"/>
                      <a:pt x="415191" y="1143009"/>
                      <a:pt x="400036" y="1143009"/>
                    </a:cubicBezTo>
                    <a:lnTo>
                      <a:pt x="171449" y="1143009"/>
                    </a:lnTo>
                    <a:cubicBezTo>
                      <a:pt x="139876" y="1143009"/>
                      <a:pt x="114274" y="1117406"/>
                      <a:pt x="114274" y="1085834"/>
                    </a:cubicBezTo>
                    <a:close/>
                  </a:path>
                </a:pathLst>
              </a:custGeom>
              <a:grpFill/>
              <a:ln w="9797" cap="flat">
                <a:noFill/>
                <a:prstDash val="solid"/>
                <a:miter/>
              </a:ln>
            </p:spPr>
            <p:txBody>
              <a:bodyPr rtlCol="0" anchor="ctr"/>
              <a:lstStyle/>
              <a:p>
                <a:endParaRPr lang="en-US" dirty="0"/>
              </a:p>
            </p:txBody>
          </p:sp>
          <p:sp>
            <p:nvSpPr>
              <p:cNvPr id="159" name="Freeform: Shape 158">
                <a:extLst>
                  <a:ext uri="{FF2B5EF4-FFF2-40B4-BE49-F238E27FC236}">
                    <a16:creationId xmlns:a16="http://schemas.microsoft.com/office/drawing/2014/main" id="{754961A5-3DD8-1E62-3724-D3B34B49C125}"/>
                  </a:ext>
                </a:extLst>
              </p:cNvPr>
              <p:cNvSpPr/>
              <p:nvPr/>
            </p:nvSpPr>
            <p:spPr>
              <a:xfrm>
                <a:off x="4895833" y="1543030"/>
                <a:ext cx="571482" cy="1257282"/>
              </a:xfrm>
              <a:custGeom>
                <a:avLst/>
                <a:gdLst>
                  <a:gd name="connsiteX0" fmla="*/ 400034 w 571482"/>
                  <a:gd name="connsiteY0" fmla="*/ 228587 h 1257282"/>
                  <a:gd name="connsiteX1" fmla="*/ 342897 w 571482"/>
                  <a:gd name="connsiteY1" fmla="*/ 228587 h 1257282"/>
                  <a:gd name="connsiteX2" fmla="*/ 342897 w 571482"/>
                  <a:gd name="connsiteY2" fmla="*/ 57137 h 1257282"/>
                  <a:gd name="connsiteX3" fmla="*/ 285760 w 571482"/>
                  <a:gd name="connsiteY3" fmla="*/ 0 h 1257282"/>
                  <a:gd name="connsiteX4" fmla="*/ 228585 w 571482"/>
                  <a:gd name="connsiteY4" fmla="*/ 57137 h 1257282"/>
                  <a:gd name="connsiteX5" fmla="*/ 228585 w 571482"/>
                  <a:gd name="connsiteY5" fmla="*/ 228587 h 1257282"/>
                  <a:gd name="connsiteX6" fmla="*/ 171448 w 571482"/>
                  <a:gd name="connsiteY6" fmla="*/ 228587 h 1257282"/>
                  <a:gd name="connsiteX7" fmla="*/ 50287 w 571482"/>
                  <a:gd name="connsiteY7" fmla="*/ 278874 h 1257282"/>
                  <a:gd name="connsiteX8" fmla="*/ 0 w 571482"/>
                  <a:gd name="connsiteY8" fmla="*/ 400035 h 1257282"/>
                  <a:gd name="connsiteX9" fmla="*/ 0 w 571482"/>
                  <a:gd name="connsiteY9" fmla="*/ 857248 h 1257282"/>
                  <a:gd name="connsiteX10" fmla="*/ 50287 w 571482"/>
                  <a:gd name="connsiteY10" fmla="*/ 978409 h 1257282"/>
                  <a:gd name="connsiteX11" fmla="*/ 171448 w 571482"/>
                  <a:gd name="connsiteY11" fmla="*/ 1028696 h 1257282"/>
                  <a:gd name="connsiteX12" fmla="*/ 228585 w 571482"/>
                  <a:gd name="connsiteY12" fmla="*/ 1028696 h 1257282"/>
                  <a:gd name="connsiteX13" fmla="*/ 228585 w 571482"/>
                  <a:gd name="connsiteY13" fmla="*/ 1200146 h 1257282"/>
                  <a:gd name="connsiteX14" fmla="*/ 285760 w 571482"/>
                  <a:gd name="connsiteY14" fmla="*/ 1257283 h 1257282"/>
                  <a:gd name="connsiteX15" fmla="*/ 342897 w 571482"/>
                  <a:gd name="connsiteY15" fmla="*/ 1200146 h 1257282"/>
                  <a:gd name="connsiteX16" fmla="*/ 342897 w 571482"/>
                  <a:gd name="connsiteY16" fmla="*/ 1028696 h 1257282"/>
                  <a:gd name="connsiteX17" fmla="*/ 400034 w 571482"/>
                  <a:gd name="connsiteY17" fmla="*/ 1028696 h 1257282"/>
                  <a:gd name="connsiteX18" fmla="*/ 521234 w 571482"/>
                  <a:gd name="connsiteY18" fmla="*/ 978409 h 1257282"/>
                  <a:gd name="connsiteX19" fmla="*/ 571483 w 571482"/>
                  <a:gd name="connsiteY19" fmla="*/ 857248 h 1257282"/>
                  <a:gd name="connsiteX20" fmla="*/ 571483 w 571482"/>
                  <a:gd name="connsiteY20" fmla="*/ 400035 h 1257282"/>
                  <a:gd name="connsiteX21" fmla="*/ 521234 w 571482"/>
                  <a:gd name="connsiteY21" fmla="*/ 278874 h 1257282"/>
                  <a:gd name="connsiteX22" fmla="*/ 400034 w 571482"/>
                  <a:gd name="connsiteY22" fmla="*/ 228587 h 1257282"/>
                  <a:gd name="connsiteX23" fmla="*/ 457171 w 571482"/>
                  <a:gd name="connsiteY23" fmla="*/ 857250 h 1257282"/>
                  <a:gd name="connsiteX24" fmla="*/ 457209 w 571482"/>
                  <a:gd name="connsiteY24" fmla="*/ 857250 h 1257282"/>
                  <a:gd name="connsiteX25" fmla="*/ 440447 w 571482"/>
                  <a:gd name="connsiteY25" fmla="*/ 897663 h 1257282"/>
                  <a:gd name="connsiteX26" fmla="*/ 400034 w 571482"/>
                  <a:gd name="connsiteY26" fmla="*/ 914387 h 1257282"/>
                  <a:gd name="connsiteX27" fmla="*/ 171447 w 571482"/>
                  <a:gd name="connsiteY27" fmla="*/ 914387 h 1257282"/>
                  <a:gd name="connsiteX28" fmla="*/ 114310 w 571482"/>
                  <a:gd name="connsiteY28" fmla="*/ 857250 h 1257282"/>
                  <a:gd name="connsiteX29" fmla="*/ 114310 w 571482"/>
                  <a:gd name="connsiteY29" fmla="*/ 400037 h 1257282"/>
                  <a:gd name="connsiteX30" fmla="*/ 171447 w 571482"/>
                  <a:gd name="connsiteY30" fmla="*/ 342900 h 1257282"/>
                  <a:gd name="connsiteX31" fmla="*/ 400034 w 571482"/>
                  <a:gd name="connsiteY31" fmla="*/ 342900 h 1257282"/>
                  <a:gd name="connsiteX32" fmla="*/ 440447 w 571482"/>
                  <a:gd name="connsiteY32" fmla="*/ 359624 h 1257282"/>
                  <a:gd name="connsiteX33" fmla="*/ 457209 w 571482"/>
                  <a:gd name="connsiteY33" fmla="*/ 400037 h 125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71482" h="1257282">
                    <a:moveTo>
                      <a:pt x="400034" y="228587"/>
                    </a:moveTo>
                    <a:lnTo>
                      <a:pt x="342897" y="228587"/>
                    </a:lnTo>
                    <a:lnTo>
                      <a:pt x="342897" y="57137"/>
                    </a:lnTo>
                    <a:cubicBezTo>
                      <a:pt x="342897" y="25602"/>
                      <a:pt x="317294" y="0"/>
                      <a:pt x="285760" y="0"/>
                    </a:cubicBezTo>
                    <a:cubicBezTo>
                      <a:pt x="254187" y="0"/>
                      <a:pt x="228585" y="25603"/>
                      <a:pt x="228585" y="57137"/>
                    </a:cubicBezTo>
                    <a:lnTo>
                      <a:pt x="228585" y="228587"/>
                    </a:lnTo>
                    <a:lnTo>
                      <a:pt x="171448" y="228587"/>
                    </a:lnTo>
                    <a:cubicBezTo>
                      <a:pt x="125983" y="228663"/>
                      <a:pt x="82394" y="246727"/>
                      <a:pt x="50287" y="278874"/>
                    </a:cubicBezTo>
                    <a:cubicBezTo>
                      <a:pt x="18140" y="311020"/>
                      <a:pt x="38" y="354611"/>
                      <a:pt x="0" y="400035"/>
                    </a:cubicBezTo>
                    <a:lnTo>
                      <a:pt x="0" y="857248"/>
                    </a:lnTo>
                    <a:cubicBezTo>
                      <a:pt x="38" y="902713"/>
                      <a:pt x="18140" y="946302"/>
                      <a:pt x="50287" y="978409"/>
                    </a:cubicBezTo>
                    <a:cubicBezTo>
                      <a:pt x="82395" y="1010556"/>
                      <a:pt x="125985" y="1028658"/>
                      <a:pt x="171448" y="1028696"/>
                    </a:cubicBezTo>
                    <a:lnTo>
                      <a:pt x="228585" y="1028696"/>
                    </a:lnTo>
                    <a:lnTo>
                      <a:pt x="228585" y="1200146"/>
                    </a:lnTo>
                    <a:cubicBezTo>
                      <a:pt x="228585" y="1231719"/>
                      <a:pt x="254188" y="1257283"/>
                      <a:pt x="285760" y="1257283"/>
                    </a:cubicBezTo>
                    <a:cubicBezTo>
                      <a:pt x="317295" y="1257283"/>
                      <a:pt x="342897" y="1231719"/>
                      <a:pt x="342897" y="1200146"/>
                    </a:cubicBezTo>
                    <a:lnTo>
                      <a:pt x="342897" y="1028696"/>
                    </a:lnTo>
                    <a:lnTo>
                      <a:pt x="400034" y="1028696"/>
                    </a:lnTo>
                    <a:cubicBezTo>
                      <a:pt x="445499" y="1028658"/>
                      <a:pt x="489088" y="1010556"/>
                      <a:pt x="521234" y="978409"/>
                    </a:cubicBezTo>
                    <a:cubicBezTo>
                      <a:pt x="553381" y="946301"/>
                      <a:pt x="571445" y="902711"/>
                      <a:pt x="571483" y="857248"/>
                    </a:cubicBezTo>
                    <a:lnTo>
                      <a:pt x="571483" y="400035"/>
                    </a:lnTo>
                    <a:cubicBezTo>
                      <a:pt x="571445" y="354609"/>
                      <a:pt x="553381" y="311019"/>
                      <a:pt x="521234" y="278874"/>
                    </a:cubicBezTo>
                    <a:cubicBezTo>
                      <a:pt x="489088" y="246728"/>
                      <a:pt x="445497" y="228663"/>
                      <a:pt x="400034" y="228587"/>
                    </a:cubicBezTo>
                    <a:close/>
                    <a:moveTo>
                      <a:pt x="457171" y="857250"/>
                    </a:moveTo>
                    <a:lnTo>
                      <a:pt x="457209" y="857250"/>
                    </a:lnTo>
                    <a:cubicBezTo>
                      <a:pt x="457209" y="872405"/>
                      <a:pt x="451162" y="886947"/>
                      <a:pt x="440447" y="897663"/>
                    </a:cubicBezTo>
                    <a:cubicBezTo>
                      <a:pt x="429732" y="908379"/>
                      <a:pt x="415189" y="914387"/>
                      <a:pt x="400034" y="914387"/>
                    </a:cubicBezTo>
                    <a:lnTo>
                      <a:pt x="171447" y="914387"/>
                    </a:lnTo>
                    <a:cubicBezTo>
                      <a:pt x="139874" y="914387"/>
                      <a:pt x="114310" y="888822"/>
                      <a:pt x="114310" y="857250"/>
                    </a:cubicBezTo>
                    <a:lnTo>
                      <a:pt x="114310" y="400037"/>
                    </a:lnTo>
                    <a:cubicBezTo>
                      <a:pt x="114310" y="368502"/>
                      <a:pt x="139875" y="342900"/>
                      <a:pt x="171447" y="342900"/>
                    </a:cubicBezTo>
                    <a:lnTo>
                      <a:pt x="400034" y="342900"/>
                    </a:lnTo>
                    <a:cubicBezTo>
                      <a:pt x="415189" y="342900"/>
                      <a:pt x="429731" y="348908"/>
                      <a:pt x="440447" y="359624"/>
                    </a:cubicBezTo>
                    <a:cubicBezTo>
                      <a:pt x="451163" y="370339"/>
                      <a:pt x="457209" y="384882"/>
                      <a:pt x="457209" y="400037"/>
                    </a:cubicBezTo>
                    <a:close/>
                  </a:path>
                </a:pathLst>
              </a:custGeom>
              <a:grpFill/>
              <a:ln w="9797" cap="flat">
                <a:noFill/>
                <a:prstDash val="solid"/>
                <a:miter/>
              </a:ln>
            </p:spPr>
            <p:txBody>
              <a:bodyPr rtlCol="0" anchor="ctr"/>
              <a:lstStyle/>
              <a:p>
                <a:endParaRPr lang="en-US" dirty="0"/>
              </a:p>
            </p:txBody>
          </p:sp>
          <p:sp>
            <p:nvSpPr>
              <p:cNvPr id="160" name="Freeform: Shape 159">
                <a:extLst>
                  <a:ext uri="{FF2B5EF4-FFF2-40B4-BE49-F238E27FC236}">
                    <a16:creationId xmlns:a16="http://schemas.microsoft.com/office/drawing/2014/main" id="{36E49418-3DAF-555F-4C74-6331371CAAC0}"/>
                  </a:ext>
                </a:extLst>
              </p:cNvPr>
              <p:cNvSpPr/>
              <p:nvPr/>
            </p:nvSpPr>
            <p:spPr>
              <a:xfrm>
                <a:off x="6038863" y="1543053"/>
                <a:ext cx="571483" cy="1257283"/>
              </a:xfrm>
              <a:custGeom>
                <a:avLst/>
                <a:gdLst>
                  <a:gd name="connsiteX0" fmla="*/ 228586 w 571483"/>
                  <a:gd name="connsiteY0" fmla="*/ 1200146 h 1257283"/>
                  <a:gd name="connsiteX1" fmla="*/ 285723 w 571483"/>
                  <a:gd name="connsiteY1" fmla="*/ 1257283 h 1257283"/>
                  <a:gd name="connsiteX2" fmla="*/ 342898 w 571483"/>
                  <a:gd name="connsiteY2" fmla="*/ 1200146 h 1257283"/>
                  <a:gd name="connsiteX3" fmla="*/ 342898 w 571483"/>
                  <a:gd name="connsiteY3" fmla="*/ 1028696 h 1257283"/>
                  <a:gd name="connsiteX4" fmla="*/ 400035 w 571483"/>
                  <a:gd name="connsiteY4" fmla="*/ 1028696 h 1257283"/>
                  <a:gd name="connsiteX5" fmla="*/ 521196 w 571483"/>
                  <a:gd name="connsiteY5" fmla="*/ 978409 h 1257283"/>
                  <a:gd name="connsiteX6" fmla="*/ 571483 w 571483"/>
                  <a:gd name="connsiteY6" fmla="*/ 857248 h 1257283"/>
                  <a:gd name="connsiteX7" fmla="*/ 571483 w 571483"/>
                  <a:gd name="connsiteY7" fmla="*/ 400035 h 1257283"/>
                  <a:gd name="connsiteX8" fmla="*/ 521196 w 571483"/>
                  <a:gd name="connsiteY8" fmla="*/ 278874 h 1257283"/>
                  <a:gd name="connsiteX9" fmla="*/ 400035 w 571483"/>
                  <a:gd name="connsiteY9" fmla="*/ 228587 h 1257283"/>
                  <a:gd name="connsiteX10" fmla="*/ 342898 w 571483"/>
                  <a:gd name="connsiteY10" fmla="*/ 228587 h 1257283"/>
                  <a:gd name="connsiteX11" fmla="*/ 342898 w 571483"/>
                  <a:gd name="connsiteY11" fmla="*/ 57137 h 1257283"/>
                  <a:gd name="connsiteX12" fmla="*/ 285723 w 571483"/>
                  <a:gd name="connsiteY12" fmla="*/ 0 h 1257283"/>
                  <a:gd name="connsiteX13" fmla="*/ 228586 w 571483"/>
                  <a:gd name="connsiteY13" fmla="*/ 57137 h 1257283"/>
                  <a:gd name="connsiteX14" fmla="*/ 228586 w 571483"/>
                  <a:gd name="connsiteY14" fmla="*/ 228587 h 1257283"/>
                  <a:gd name="connsiteX15" fmla="*/ 171449 w 571483"/>
                  <a:gd name="connsiteY15" fmla="*/ 228587 h 1257283"/>
                  <a:gd name="connsiteX16" fmla="*/ 50249 w 571483"/>
                  <a:gd name="connsiteY16" fmla="*/ 278874 h 1257283"/>
                  <a:gd name="connsiteX17" fmla="*/ 0 w 571483"/>
                  <a:gd name="connsiteY17" fmla="*/ 400035 h 1257283"/>
                  <a:gd name="connsiteX18" fmla="*/ 0 w 571483"/>
                  <a:gd name="connsiteY18" fmla="*/ 857248 h 1257283"/>
                  <a:gd name="connsiteX19" fmla="*/ 50249 w 571483"/>
                  <a:gd name="connsiteY19" fmla="*/ 978409 h 1257283"/>
                  <a:gd name="connsiteX20" fmla="*/ 171449 w 571483"/>
                  <a:gd name="connsiteY20" fmla="*/ 1028696 h 1257283"/>
                  <a:gd name="connsiteX21" fmla="*/ 228586 w 571483"/>
                  <a:gd name="connsiteY21" fmla="*/ 1028696 h 1257283"/>
                  <a:gd name="connsiteX22" fmla="*/ 114273 w 571483"/>
                  <a:gd name="connsiteY22" fmla="*/ 857246 h 1257283"/>
                  <a:gd name="connsiteX23" fmla="*/ 114273 w 571483"/>
                  <a:gd name="connsiteY23" fmla="*/ 400033 h 1257283"/>
                  <a:gd name="connsiteX24" fmla="*/ 171448 w 571483"/>
                  <a:gd name="connsiteY24" fmla="*/ 342896 h 1257283"/>
                  <a:gd name="connsiteX25" fmla="*/ 400035 w 571483"/>
                  <a:gd name="connsiteY25" fmla="*/ 342896 h 1257283"/>
                  <a:gd name="connsiteX26" fmla="*/ 440448 w 571483"/>
                  <a:gd name="connsiteY26" fmla="*/ 359620 h 1257283"/>
                  <a:gd name="connsiteX27" fmla="*/ 457172 w 571483"/>
                  <a:gd name="connsiteY27" fmla="*/ 400033 h 1257283"/>
                  <a:gd name="connsiteX28" fmla="*/ 457172 w 571483"/>
                  <a:gd name="connsiteY28" fmla="*/ 857246 h 1257283"/>
                  <a:gd name="connsiteX29" fmla="*/ 440448 w 571483"/>
                  <a:gd name="connsiteY29" fmla="*/ 897659 h 1257283"/>
                  <a:gd name="connsiteX30" fmla="*/ 400035 w 571483"/>
                  <a:gd name="connsiteY30" fmla="*/ 914383 h 1257283"/>
                  <a:gd name="connsiteX31" fmla="*/ 171448 w 571483"/>
                  <a:gd name="connsiteY31" fmla="*/ 914383 h 1257283"/>
                  <a:gd name="connsiteX32" fmla="*/ 114273 w 571483"/>
                  <a:gd name="connsiteY32" fmla="*/ 857246 h 12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71483" h="1257283">
                    <a:moveTo>
                      <a:pt x="228586" y="1200146"/>
                    </a:moveTo>
                    <a:cubicBezTo>
                      <a:pt x="228586" y="1231719"/>
                      <a:pt x="254189" y="1257283"/>
                      <a:pt x="285723" y="1257283"/>
                    </a:cubicBezTo>
                    <a:cubicBezTo>
                      <a:pt x="317296" y="1257283"/>
                      <a:pt x="342898" y="1231718"/>
                      <a:pt x="342898" y="1200146"/>
                    </a:cubicBezTo>
                    <a:lnTo>
                      <a:pt x="342898" y="1028696"/>
                    </a:lnTo>
                    <a:lnTo>
                      <a:pt x="400035" y="1028696"/>
                    </a:lnTo>
                    <a:cubicBezTo>
                      <a:pt x="445500" y="1028658"/>
                      <a:pt x="489089" y="1010556"/>
                      <a:pt x="521196" y="978409"/>
                    </a:cubicBezTo>
                    <a:cubicBezTo>
                      <a:pt x="553343" y="946301"/>
                      <a:pt x="571445" y="902711"/>
                      <a:pt x="571483" y="857248"/>
                    </a:cubicBezTo>
                    <a:lnTo>
                      <a:pt x="571483" y="400035"/>
                    </a:lnTo>
                    <a:cubicBezTo>
                      <a:pt x="571445" y="354609"/>
                      <a:pt x="553343" y="311019"/>
                      <a:pt x="521196" y="278874"/>
                    </a:cubicBezTo>
                    <a:cubicBezTo>
                      <a:pt x="489088" y="246727"/>
                      <a:pt x="445498" y="228663"/>
                      <a:pt x="400035" y="228587"/>
                    </a:cubicBezTo>
                    <a:lnTo>
                      <a:pt x="342898" y="228587"/>
                    </a:lnTo>
                    <a:lnTo>
                      <a:pt x="342898" y="57137"/>
                    </a:lnTo>
                    <a:cubicBezTo>
                      <a:pt x="342898" y="25602"/>
                      <a:pt x="317295" y="0"/>
                      <a:pt x="285723" y="0"/>
                    </a:cubicBezTo>
                    <a:cubicBezTo>
                      <a:pt x="254188" y="0"/>
                      <a:pt x="228586" y="25603"/>
                      <a:pt x="228586" y="57137"/>
                    </a:cubicBezTo>
                    <a:lnTo>
                      <a:pt x="228586" y="228587"/>
                    </a:lnTo>
                    <a:lnTo>
                      <a:pt x="171449" y="228587"/>
                    </a:lnTo>
                    <a:cubicBezTo>
                      <a:pt x="125985" y="228663"/>
                      <a:pt x="82395" y="246727"/>
                      <a:pt x="50249" y="278874"/>
                    </a:cubicBezTo>
                    <a:cubicBezTo>
                      <a:pt x="18102" y="311020"/>
                      <a:pt x="38" y="354611"/>
                      <a:pt x="0" y="400035"/>
                    </a:cubicBezTo>
                    <a:lnTo>
                      <a:pt x="0" y="857248"/>
                    </a:lnTo>
                    <a:cubicBezTo>
                      <a:pt x="38" y="902713"/>
                      <a:pt x="18102" y="946302"/>
                      <a:pt x="50249" y="978409"/>
                    </a:cubicBezTo>
                    <a:cubicBezTo>
                      <a:pt x="82395" y="1010556"/>
                      <a:pt x="125985" y="1028658"/>
                      <a:pt x="171449" y="1028696"/>
                    </a:cubicBezTo>
                    <a:lnTo>
                      <a:pt x="228586" y="1028696"/>
                    </a:lnTo>
                    <a:close/>
                    <a:moveTo>
                      <a:pt x="114273" y="857246"/>
                    </a:moveTo>
                    <a:lnTo>
                      <a:pt x="114273" y="400033"/>
                    </a:lnTo>
                    <a:cubicBezTo>
                      <a:pt x="114273" y="368498"/>
                      <a:pt x="139876" y="342896"/>
                      <a:pt x="171448" y="342896"/>
                    </a:cubicBezTo>
                    <a:lnTo>
                      <a:pt x="400035" y="342896"/>
                    </a:lnTo>
                    <a:cubicBezTo>
                      <a:pt x="415190" y="342896"/>
                      <a:pt x="429732" y="348905"/>
                      <a:pt x="440448" y="359620"/>
                    </a:cubicBezTo>
                    <a:cubicBezTo>
                      <a:pt x="451164" y="370335"/>
                      <a:pt x="457172" y="384878"/>
                      <a:pt x="457172" y="400033"/>
                    </a:cubicBezTo>
                    <a:lnTo>
                      <a:pt x="457172" y="857246"/>
                    </a:lnTo>
                    <a:cubicBezTo>
                      <a:pt x="457172" y="872401"/>
                      <a:pt x="451164" y="886943"/>
                      <a:pt x="440448" y="897659"/>
                    </a:cubicBezTo>
                    <a:cubicBezTo>
                      <a:pt x="429733" y="908375"/>
                      <a:pt x="415190" y="914383"/>
                      <a:pt x="400035" y="914383"/>
                    </a:cubicBezTo>
                    <a:lnTo>
                      <a:pt x="171448" y="914383"/>
                    </a:lnTo>
                    <a:cubicBezTo>
                      <a:pt x="139875" y="914383"/>
                      <a:pt x="114273" y="888818"/>
                      <a:pt x="114273" y="857246"/>
                    </a:cubicBezTo>
                    <a:close/>
                  </a:path>
                </a:pathLst>
              </a:custGeom>
              <a:grpFill/>
              <a:ln w="9797" cap="flat">
                <a:noFill/>
                <a:prstDash val="solid"/>
                <a:miter/>
              </a:ln>
            </p:spPr>
            <p:txBody>
              <a:bodyPr rtlCol="0" anchor="ctr"/>
              <a:lstStyle/>
              <a:p>
                <a:endParaRPr lang="en-US" dirty="0"/>
              </a:p>
            </p:txBody>
          </p:sp>
          <p:sp>
            <p:nvSpPr>
              <p:cNvPr id="161" name="Freeform: Shape 160">
                <a:extLst>
                  <a:ext uri="{FF2B5EF4-FFF2-40B4-BE49-F238E27FC236}">
                    <a16:creationId xmlns:a16="http://schemas.microsoft.com/office/drawing/2014/main" id="{F9471D34-30BD-7F6F-4D8F-4D43431C80F1}"/>
                  </a:ext>
                </a:extLst>
              </p:cNvPr>
              <p:cNvSpPr/>
              <p:nvPr/>
            </p:nvSpPr>
            <p:spPr>
              <a:xfrm>
                <a:off x="7410483" y="1543053"/>
                <a:ext cx="571483" cy="1257283"/>
              </a:xfrm>
              <a:custGeom>
                <a:avLst/>
                <a:gdLst>
                  <a:gd name="connsiteX0" fmla="*/ 171449 w 571483"/>
                  <a:gd name="connsiteY0" fmla="*/ 1028696 h 1257283"/>
                  <a:gd name="connsiteX1" fmla="*/ 228586 w 571483"/>
                  <a:gd name="connsiteY1" fmla="*/ 1028696 h 1257283"/>
                  <a:gd name="connsiteX2" fmla="*/ 228586 w 571483"/>
                  <a:gd name="connsiteY2" fmla="*/ 1200146 h 1257283"/>
                  <a:gd name="connsiteX3" fmla="*/ 285723 w 571483"/>
                  <a:gd name="connsiteY3" fmla="*/ 1257283 h 1257283"/>
                  <a:gd name="connsiteX4" fmla="*/ 342898 w 571483"/>
                  <a:gd name="connsiteY4" fmla="*/ 1200146 h 1257283"/>
                  <a:gd name="connsiteX5" fmla="*/ 342898 w 571483"/>
                  <a:gd name="connsiteY5" fmla="*/ 1028696 h 1257283"/>
                  <a:gd name="connsiteX6" fmla="*/ 400035 w 571483"/>
                  <a:gd name="connsiteY6" fmla="*/ 1028696 h 1257283"/>
                  <a:gd name="connsiteX7" fmla="*/ 521196 w 571483"/>
                  <a:gd name="connsiteY7" fmla="*/ 978409 h 1257283"/>
                  <a:gd name="connsiteX8" fmla="*/ 571483 w 571483"/>
                  <a:gd name="connsiteY8" fmla="*/ 857248 h 1257283"/>
                  <a:gd name="connsiteX9" fmla="*/ 571483 w 571483"/>
                  <a:gd name="connsiteY9" fmla="*/ 400035 h 1257283"/>
                  <a:gd name="connsiteX10" fmla="*/ 521196 w 571483"/>
                  <a:gd name="connsiteY10" fmla="*/ 278874 h 1257283"/>
                  <a:gd name="connsiteX11" fmla="*/ 400035 w 571483"/>
                  <a:gd name="connsiteY11" fmla="*/ 228587 h 1257283"/>
                  <a:gd name="connsiteX12" fmla="*/ 342898 w 571483"/>
                  <a:gd name="connsiteY12" fmla="*/ 228587 h 1257283"/>
                  <a:gd name="connsiteX13" fmla="*/ 342898 w 571483"/>
                  <a:gd name="connsiteY13" fmla="*/ 57137 h 1257283"/>
                  <a:gd name="connsiteX14" fmla="*/ 285723 w 571483"/>
                  <a:gd name="connsiteY14" fmla="*/ 0 h 1257283"/>
                  <a:gd name="connsiteX15" fmla="*/ 228586 w 571483"/>
                  <a:gd name="connsiteY15" fmla="*/ 57137 h 1257283"/>
                  <a:gd name="connsiteX16" fmla="*/ 228586 w 571483"/>
                  <a:gd name="connsiteY16" fmla="*/ 228587 h 1257283"/>
                  <a:gd name="connsiteX17" fmla="*/ 171449 w 571483"/>
                  <a:gd name="connsiteY17" fmla="*/ 228587 h 1257283"/>
                  <a:gd name="connsiteX18" fmla="*/ 50249 w 571483"/>
                  <a:gd name="connsiteY18" fmla="*/ 278874 h 1257283"/>
                  <a:gd name="connsiteX19" fmla="*/ 0 w 571483"/>
                  <a:gd name="connsiteY19" fmla="*/ 400035 h 1257283"/>
                  <a:gd name="connsiteX20" fmla="*/ 0 w 571483"/>
                  <a:gd name="connsiteY20" fmla="*/ 857248 h 1257283"/>
                  <a:gd name="connsiteX21" fmla="*/ 50249 w 571483"/>
                  <a:gd name="connsiteY21" fmla="*/ 978409 h 1257283"/>
                  <a:gd name="connsiteX22" fmla="*/ 171449 w 571483"/>
                  <a:gd name="connsiteY22" fmla="*/ 1028696 h 1257283"/>
                  <a:gd name="connsiteX23" fmla="*/ 114274 w 571483"/>
                  <a:gd name="connsiteY23" fmla="*/ 400033 h 1257283"/>
                  <a:gd name="connsiteX24" fmla="*/ 171449 w 571483"/>
                  <a:gd name="connsiteY24" fmla="*/ 342896 h 1257283"/>
                  <a:gd name="connsiteX25" fmla="*/ 400036 w 571483"/>
                  <a:gd name="connsiteY25" fmla="*/ 342896 h 1257283"/>
                  <a:gd name="connsiteX26" fmla="*/ 440449 w 571483"/>
                  <a:gd name="connsiteY26" fmla="*/ 359620 h 1257283"/>
                  <a:gd name="connsiteX27" fmla="*/ 457173 w 571483"/>
                  <a:gd name="connsiteY27" fmla="*/ 400033 h 1257283"/>
                  <a:gd name="connsiteX28" fmla="*/ 457173 w 571483"/>
                  <a:gd name="connsiteY28" fmla="*/ 857246 h 1257283"/>
                  <a:gd name="connsiteX29" fmla="*/ 440449 w 571483"/>
                  <a:gd name="connsiteY29" fmla="*/ 897659 h 1257283"/>
                  <a:gd name="connsiteX30" fmla="*/ 400036 w 571483"/>
                  <a:gd name="connsiteY30" fmla="*/ 914383 h 1257283"/>
                  <a:gd name="connsiteX31" fmla="*/ 171449 w 571483"/>
                  <a:gd name="connsiteY31" fmla="*/ 914383 h 1257283"/>
                  <a:gd name="connsiteX32" fmla="*/ 114274 w 571483"/>
                  <a:gd name="connsiteY32" fmla="*/ 857246 h 12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71483" h="1257283">
                    <a:moveTo>
                      <a:pt x="171449" y="1028696"/>
                    </a:moveTo>
                    <a:lnTo>
                      <a:pt x="228586" y="1028696"/>
                    </a:lnTo>
                    <a:lnTo>
                      <a:pt x="228586" y="1200146"/>
                    </a:lnTo>
                    <a:cubicBezTo>
                      <a:pt x="228586" y="1231719"/>
                      <a:pt x="254189" y="1257283"/>
                      <a:pt x="285723" y="1257283"/>
                    </a:cubicBezTo>
                    <a:cubicBezTo>
                      <a:pt x="317296" y="1257283"/>
                      <a:pt x="342898" y="1231718"/>
                      <a:pt x="342898" y="1200146"/>
                    </a:cubicBezTo>
                    <a:lnTo>
                      <a:pt x="342898" y="1028696"/>
                    </a:lnTo>
                    <a:lnTo>
                      <a:pt x="400035" y="1028696"/>
                    </a:lnTo>
                    <a:cubicBezTo>
                      <a:pt x="445500" y="1028658"/>
                      <a:pt x="489089" y="1010556"/>
                      <a:pt x="521196" y="978409"/>
                    </a:cubicBezTo>
                    <a:cubicBezTo>
                      <a:pt x="553342" y="946301"/>
                      <a:pt x="571445" y="902711"/>
                      <a:pt x="571483" y="857248"/>
                    </a:cubicBezTo>
                    <a:lnTo>
                      <a:pt x="571483" y="400035"/>
                    </a:lnTo>
                    <a:cubicBezTo>
                      <a:pt x="571445" y="354609"/>
                      <a:pt x="553342" y="311019"/>
                      <a:pt x="521196" y="278874"/>
                    </a:cubicBezTo>
                    <a:cubicBezTo>
                      <a:pt x="489088" y="246727"/>
                      <a:pt x="445497" y="228663"/>
                      <a:pt x="400035" y="228587"/>
                    </a:cubicBezTo>
                    <a:lnTo>
                      <a:pt x="342898" y="228587"/>
                    </a:lnTo>
                    <a:lnTo>
                      <a:pt x="342898" y="57137"/>
                    </a:lnTo>
                    <a:cubicBezTo>
                      <a:pt x="342898" y="25602"/>
                      <a:pt x="317295" y="0"/>
                      <a:pt x="285723" y="0"/>
                    </a:cubicBezTo>
                    <a:cubicBezTo>
                      <a:pt x="254188" y="0"/>
                      <a:pt x="228586" y="25603"/>
                      <a:pt x="228586" y="57137"/>
                    </a:cubicBezTo>
                    <a:lnTo>
                      <a:pt x="228586" y="228587"/>
                    </a:lnTo>
                    <a:lnTo>
                      <a:pt x="171449" y="228587"/>
                    </a:lnTo>
                    <a:cubicBezTo>
                      <a:pt x="125984" y="228663"/>
                      <a:pt x="82395" y="246727"/>
                      <a:pt x="50249" y="278874"/>
                    </a:cubicBezTo>
                    <a:cubicBezTo>
                      <a:pt x="18102" y="311020"/>
                      <a:pt x="38" y="354611"/>
                      <a:pt x="0" y="400035"/>
                    </a:cubicBezTo>
                    <a:lnTo>
                      <a:pt x="0" y="857248"/>
                    </a:lnTo>
                    <a:cubicBezTo>
                      <a:pt x="38" y="902713"/>
                      <a:pt x="18102" y="946302"/>
                      <a:pt x="50249" y="978409"/>
                    </a:cubicBezTo>
                    <a:cubicBezTo>
                      <a:pt x="82395" y="1010556"/>
                      <a:pt x="125985" y="1028658"/>
                      <a:pt x="171449" y="1028696"/>
                    </a:cubicBezTo>
                    <a:close/>
                    <a:moveTo>
                      <a:pt x="114274" y="400033"/>
                    </a:moveTo>
                    <a:cubicBezTo>
                      <a:pt x="114274" y="368498"/>
                      <a:pt x="139877" y="342896"/>
                      <a:pt x="171449" y="342896"/>
                    </a:cubicBezTo>
                    <a:lnTo>
                      <a:pt x="400036" y="342896"/>
                    </a:lnTo>
                    <a:cubicBezTo>
                      <a:pt x="415191" y="342896"/>
                      <a:pt x="429733" y="348905"/>
                      <a:pt x="440449" y="359620"/>
                    </a:cubicBezTo>
                    <a:cubicBezTo>
                      <a:pt x="451166" y="370335"/>
                      <a:pt x="457173" y="384878"/>
                      <a:pt x="457173" y="400033"/>
                    </a:cubicBezTo>
                    <a:lnTo>
                      <a:pt x="457173" y="857246"/>
                    </a:lnTo>
                    <a:cubicBezTo>
                      <a:pt x="457173" y="872401"/>
                      <a:pt x="451164" y="886943"/>
                      <a:pt x="440449" y="897659"/>
                    </a:cubicBezTo>
                    <a:cubicBezTo>
                      <a:pt x="429734" y="908375"/>
                      <a:pt x="415191" y="914383"/>
                      <a:pt x="400036" y="914383"/>
                    </a:cubicBezTo>
                    <a:lnTo>
                      <a:pt x="171449" y="914383"/>
                    </a:lnTo>
                    <a:cubicBezTo>
                      <a:pt x="139876" y="914383"/>
                      <a:pt x="114274" y="888818"/>
                      <a:pt x="114274" y="857246"/>
                    </a:cubicBezTo>
                    <a:close/>
                  </a:path>
                </a:pathLst>
              </a:custGeom>
              <a:grpFill/>
              <a:ln w="9797" cap="flat">
                <a:noFill/>
                <a:prstDash val="solid"/>
                <a:miter/>
              </a:ln>
            </p:spPr>
            <p:txBody>
              <a:bodyPr rtlCol="0" anchor="ctr"/>
              <a:lstStyle/>
              <a:p>
                <a:endParaRPr lang="en-US" dirty="0"/>
              </a:p>
            </p:txBody>
          </p:sp>
          <p:sp>
            <p:nvSpPr>
              <p:cNvPr id="162" name="Freeform: Shape 161">
                <a:extLst>
                  <a:ext uri="{FF2B5EF4-FFF2-40B4-BE49-F238E27FC236}">
                    <a16:creationId xmlns:a16="http://schemas.microsoft.com/office/drawing/2014/main" id="{A2556F92-A824-8E0C-9542-38ECCD9F879A}"/>
                  </a:ext>
                </a:extLst>
              </p:cNvPr>
              <p:cNvSpPr/>
              <p:nvPr/>
            </p:nvSpPr>
            <p:spPr>
              <a:xfrm>
                <a:off x="5810217" y="1085817"/>
                <a:ext cx="2400300" cy="2400299"/>
              </a:xfrm>
              <a:custGeom>
                <a:avLst/>
                <a:gdLst>
                  <a:gd name="connsiteX0" fmla="*/ 1200150 w 2400300"/>
                  <a:gd name="connsiteY0" fmla="*/ 2400300 h 2400299"/>
                  <a:gd name="connsiteX1" fmla="*/ 2048788 w 2400300"/>
                  <a:gd name="connsiteY1" fmla="*/ 2048788 h 2400299"/>
                  <a:gd name="connsiteX2" fmla="*/ 2400300 w 2400300"/>
                  <a:gd name="connsiteY2" fmla="*/ 1200150 h 2400299"/>
                  <a:gd name="connsiteX3" fmla="*/ 2048788 w 2400300"/>
                  <a:gd name="connsiteY3" fmla="*/ 351512 h 2400299"/>
                  <a:gd name="connsiteX4" fmla="*/ 1200150 w 2400300"/>
                  <a:gd name="connsiteY4" fmla="*/ 0 h 2400299"/>
                  <a:gd name="connsiteX5" fmla="*/ 351512 w 2400300"/>
                  <a:gd name="connsiteY5" fmla="*/ 351512 h 2400299"/>
                  <a:gd name="connsiteX6" fmla="*/ 0 w 2400300"/>
                  <a:gd name="connsiteY6" fmla="*/ 1200150 h 2400299"/>
                  <a:gd name="connsiteX7" fmla="*/ 351933 w 2400300"/>
                  <a:gd name="connsiteY7" fmla="*/ 2048406 h 2400299"/>
                  <a:gd name="connsiteX8" fmla="*/ 1200150 w 2400300"/>
                  <a:gd name="connsiteY8" fmla="*/ 2400300 h 2400299"/>
                  <a:gd name="connsiteX9" fmla="*/ 1200150 w 2400300"/>
                  <a:gd name="connsiteY9" fmla="*/ 114333 h 2400299"/>
                  <a:gd name="connsiteX10" fmla="*/ 1967962 w 2400300"/>
                  <a:gd name="connsiteY10" fmla="*/ 432358 h 2400299"/>
                  <a:gd name="connsiteX11" fmla="*/ 2286027 w 2400300"/>
                  <a:gd name="connsiteY11" fmla="*/ 1200170 h 2400299"/>
                  <a:gd name="connsiteX12" fmla="*/ 1967962 w 2400300"/>
                  <a:gd name="connsiteY12" fmla="*/ 1967982 h 2400299"/>
                  <a:gd name="connsiteX13" fmla="*/ 1200150 w 2400300"/>
                  <a:gd name="connsiteY13" fmla="*/ 2286046 h 2400299"/>
                  <a:gd name="connsiteX14" fmla="*/ 432338 w 2400300"/>
                  <a:gd name="connsiteY14" fmla="*/ 1967982 h 2400299"/>
                  <a:gd name="connsiteX15" fmla="*/ 114313 w 2400300"/>
                  <a:gd name="connsiteY15" fmla="*/ 1200170 h 2400299"/>
                  <a:gd name="connsiteX16" fmla="*/ 432720 w 2400300"/>
                  <a:gd name="connsiteY16" fmla="*/ 432740 h 2400299"/>
                  <a:gd name="connsiteX17" fmla="*/ 1200150 w 2400300"/>
                  <a:gd name="connsiteY17" fmla="*/ 114333 h 240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00300" h="2400299">
                    <a:moveTo>
                      <a:pt x="1200150" y="2400300"/>
                    </a:moveTo>
                    <a:cubicBezTo>
                      <a:pt x="1518479" y="2400300"/>
                      <a:pt x="1823719" y="2273858"/>
                      <a:pt x="2048788" y="2048788"/>
                    </a:cubicBezTo>
                    <a:cubicBezTo>
                      <a:pt x="2273858" y="1823719"/>
                      <a:pt x="2400300" y="1518479"/>
                      <a:pt x="2400300" y="1200150"/>
                    </a:cubicBezTo>
                    <a:cubicBezTo>
                      <a:pt x="2400300" y="881860"/>
                      <a:pt x="2273858" y="576611"/>
                      <a:pt x="2048788" y="351512"/>
                    </a:cubicBezTo>
                    <a:cubicBezTo>
                      <a:pt x="1823719" y="126442"/>
                      <a:pt x="1518479" y="0"/>
                      <a:pt x="1200150" y="0"/>
                    </a:cubicBezTo>
                    <a:cubicBezTo>
                      <a:pt x="881861" y="0"/>
                      <a:pt x="576611" y="126442"/>
                      <a:pt x="351512" y="351512"/>
                    </a:cubicBezTo>
                    <a:cubicBezTo>
                      <a:pt x="126442" y="576621"/>
                      <a:pt x="0" y="881860"/>
                      <a:pt x="0" y="1200150"/>
                    </a:cubicBezTo>
                    <a:cubicBezTo>
                      <a:pt x="383" y="1518361"/>
                      <a:pt x="126902" y="1823415"/>
                      <a:pt x="351933" y="2048406"/>
                    </a:cubicBezTo>
                    <a:cubicBezTo>
                      <a:pt x="576925" y="2273398"/>
                      <a:pt x="881978" y="2399957"/>
                      <a:pt x="1200150" y="2400300"/>
                    </a:cubicBezTo>
                    <a:close/>
                    <a:moveTo>
                      <a:pt x="1200150" y="114333"/>
                    </a:moveTo>
                    <a:cubicBezTo>
                      <a:pt x="1488137" y="114333"/>
                      <a:pt x="1764328" y="228724"/>
                      <a:pt x="1967962" y="432358"/>
                    </a:cubicBezTo>
                    <a:cubicBezTo>
                      <a:pt x="2171596" y="635991"/>
                      <a:pt x="2286027" y="912192"/>
                      <a:pt x="2286027" y="1200170"/>
                    </a:cubicBezTo>
                    <a:cubicBezTo>
                      <a:pt x="2286027" y="1488147"/>
                      <a:pt x="2171596" y="1764348"/>
                      <a:pt x="1967962" y="1967982"/>
                    </a:cubicBezTo>
                    <a:cubicBezTo>
                      <a:pt x="1764328" y="2171615"/>
                      <a:pt x="1488127" y="2286046"/>
                      <a:pt x="1200150" y="2286046"/>
                    </a:cubicBezTo>
                    <a:cubicBezTo>
                      <a:pt x="912173" y="2286046"/>
                      <a:pt x="635972" y="2171615"/>
                      <a:pt x="432338" y="1967982"/>
                    </a:cubicBezTo>
                    <a:cubicBezTo>
                      <a:pt x="228705" y="1764348"/>
                      <a:pt x="114313" y="1488147"/>
                      <a:pt x="114313" y="1200170"/>
                    </a:cubicBezTo>
                    <a:cubicBezTo>
                      <a:pt x="114657" y="912300"/>
                      <a:pt x="229165" y="636295"/>
                      <a:pt x="432720" y="432740"/>
                    </a:cubicBezTo>
                    <a:cubicBezTo>
                      <a:pt x="636276" y="229185"/>
                      <a:pt x="912281" y="114676"/>
                      <a:pt x="1200150" y="114333"/>
                    </a:cubicBezTo>
                    <a:close/>
                  </a:path>
                </a:pathLst>
              </a:custGeom>
              <a:grpFill/>
              <a:ln w="9797" cap="flat">
                <a:noFill/>
                <a:prstDash val="solid"/>
                <a:miter/>
              </a:ln>
            </p:spPr>
            <p:txBody>
              <a:bodyPr rtlCol="0" anchor="ctr"/>
              <a:lstStyle/>
              <a:p>
                <a:endParaRPr lang="en-US" dirty="0"/>
              </a:p>
            </p:txBody>
          </p:sp>
        </p:grpSp>
      </p:grpSp>
      <p:grpSp>
        <p:nvGrpSpPr>
          <p:cNvPr id="12" name="Group 11">
            <a:extLst>
              <a:ext uri="{FF2B5EF4-FFF2-40B4-BE49-F238E27FC236}">
                <a16:creationId xmlns:a16="http://schemas.microsoft.com/office/drawing/2014/main" id="{52119BEE-FED4-65D2-82F4-6582458E54F6}"/>
              </a:ext>
            </a:extLst>
          </p:cNvPr>
          <p:cNvGrpSpPr/>
          <p:nvPr/>
        </p:nvGrpSpPr>
        <p:grpSpPr>
          <a:xfrm>
            <a:off x="798238" y="5344101"/>
            <a:ext cx="731520" cy="731520"/>
            <a:chOff x="798238" y="5344101"/>
            <a:chExt cx="731520" cy="731520"/>
          </a:xfrm>
        </p:grpSpPr>
        <p:sp>
          <p:nvSpPr>
            <p:cNvPr id="46" name="Google Shape;518;p34">
              <a:extLst>
                <a:ext uri="{FF2B5EF4-FFF2-40B4-BE49-F238E27FC236}">
                  <a16:creationId xmlns:a16="http://schemas.microsoft.com/office/drawing/2014/main" id="{6066BE48-FE58-FF67-4EC1-39E1669A7901}"/>
                </a:ext>
              </a:extLst>
            </p:cNvPr>
            <p:cNvSpPr>
              <a:spLocks noChangeAspect="1"/>
            </p:cNvSpPr>
            <p:nvPr/>
          </p:nvSpPr>
          <p:spPr>
            <a:xfrm>
              <a:off x="798238" y="5344101"/>
              <a:ext cx="731520" cy="731520"/>
            </a:xfrm>
            <a:custGeom>
              <a:avLst/>
              <a:gdLst/>
              <a:ahLst/>
              <a:cxnLst/>
              <a:rect l="l" t="t" r="r" b="b"/>
              <a:pathLst>
                <a:path w="209017" h="209017" extrusionOk="0">
                  <a:moveTo>
                    <a:pt x="104508" y="0"/>
                  </a:moveTo>
                  <a:cubicBezTo>
                    <a:pt x="46781" y="0"/>
                    <a:pt x="0" y="46781"/>
                    <a:pt x="0" y="104508"/>
                  </a:cubicBezTo>
                  <a:cubicBezTo>
                    <a:pt x="0" y="132211"/>
                    <a:pt x="11007" y="158805"/>
                    <a:pt x="30599" y="178397"/>
                  </a:cubicBezTo>
                  <a:cubicBezTo>
                    <a:pt x="50211" y="197988"/>
                    <a:pt x="76784" y="209016"/>
                    <a:pt x="104508" y="209016"/>
                  </a:cubicBezTo>
                  <a:cubicBezTo>
                    <a:pt x="132211" y="209016"/>
                    <a:pt x="158805" y="197988"/>
                    <a:pt x="178397" y="178397"/>
                  </a:cubicBezTo>
                  <a:cubicBezTo>
                    <a:pt x="197988" y="158805"/>
                    <a:pt x="209016" y="132211"/>
                    <a:pt x="209016" y="104508"/>
                  </a:cubicBezTo>
                  <a:cubicBezTo>
                    <a:pt x="209016" y="76784"/>
                    <a:pt x="197988" y="50211"/>
                    <a:pt x="178397" y="30599"/>
                  </a:cubicBezTo>
                  <a:cubicBezTo>
                    <a:pt x="158805" y="11007"/>
                    <a:pt x="132211" y="0"/>
                    <a:pt x="104508" y="0"/>
                  </a:cubicBezTo>
                  <a:close/>
                </a:path>
              </a:pathLst>
            </a:custGeom>
            <a:solidFill>
              <a:srgbClr val="F2F2F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204" name="Group 203">
              <a:extLst>
                <a:ext uri="{FF2B5EF4-FFF2-40B4-BE49-F238E27FC236}">
                  <a16:creationId xmlns:a16="http://schemas.microsoft.com/office/drawing/2014/main" id="{AB0C1C1C-9213-F85E-30A1-220B8013E6BD}"/>
                </a:ext>
              </a:extLst>
            </p:cNvPr>
            <p:cNvGrpSpPr/>
            <p:nvPr/>
          </p:nvGrpSpPr>
          <p:grpSpPr>
            <a:xfrm>
              <a:off x="914932" y="5471003"/>
              <a:ext cx="498133" cy="553795"/>
              <a:chOff x="6502742" y="782379"/>
              <a:chExt cx="914400" cy="1016576"/>
            </a:xfrm>
            <a:solidFill>
              <a:schemeClr val="tx1"/>
            </a:solidFill>
          </p:grpSpPr>
          <p:pic>
            <p:nvPicPr>
              <p:cNvPr id="166" name="Graphic 165" descr="Open hand outline">
                <a:extLst>
                  <a:ext uri="{FF2B5EF4-FFF2-40B4-BE49-F238E27FC236}">
                    <a16:creationId xmlns:a16="http://schemas.microsoft.com/office/drawing/2014/main" id="{D54BD7CB-A585-7EC5-0B13-DB13370CD80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02742" y="884555"/>
                <a:ext cx="914400" cy="914400"/>
              </a:xfrm>
              <a:prstGeom prst="rect">
                <a:avLst/>
              </a:prstGeom>
            </p:spPr>
          </p:pic>
          <p:sp>
            <p:nvSpPr>
              <p:cNvPr id="170" name="Freeform: Shape 169">
                <a:extLst>
                  <a:ext uri="{FF2B5EF4-FFF2-40B4-BE49-F238E27FC236}">
                    <a16:creationId xmlns:a16="http://schemas.microsoft.com/office/drawing/2014/main" id="{78C61773-E88C-8156-DB05-53BFF68AA71F}"/>
                  </a:ext>
                </a:extLst>
              </p:cNvPr>
              <p:cNvSpPr/>
              <p:nvPr/>
            </p:nvSpPr>
            <p:spPr>
              <a:xfrm>
                <a:off x="6837152" y="782379"/>
                <a:ext cx="407019" cy="407025"/>
              </a:xfrm>
              <a:custGeom>
                <a:avLst/>
                <a:gdLst>
                  <a:gd name="connsiteX0" fmla="*/ 2359157 w 4718226"/>
                  <a:gd name="connsiteY0" fmla="*/ 8 h 4718304"/>
                  <a:gd name="connsiteX1" fmla="*/ 5 w 4718226"/>
                  <a:gd name="connsiteY1" fmla="*/ 2359160 h 4718304"/>
                  <a:gd name="connsiteX2" fmla="*/ 5 w 4718226"/>
                  <a:gd name="connsiteY2" fmla="*/ 2468879 h 4718304"/>
                  <a:gd name="connsiteX3" fmla="*/ 15810 w 4718226"/>
                  <a:gd name="connsiteY3" fmla="*/ 2508182 h 4718304"/>
                  <a:gd name="connsiteX4" fmla="*/ 54884 w 4718226"/>
                  <a:gd name="connsiteY4" fmla="*/ 2524523 h 4718304"/>
                  <a:gd name="connsiteX5" fmla="*/ 93958 w 4718226"/>
                  <a:gd name="connsiteY5" fmla="*/ 2508182 h 4718304"/>
                  <a:gd name="connsiteX6" fmla="*/ 109726 w 4718226"/>
                  <a:gd name="connsiteY6" fmla="*/ 2468879 h 4718304"/>
                  <a:gd name="connsiteX7" fmla="*/ 109726 w 4718226"/>
                  <a:gd name="connsiteY7" fmla="*/ 2359160 h 4718304"/>
                  <a:gd name="connsiteX8" fmla="*/ 2359150 w 4718226"/>
                  <a:gd name="connsiteY8" fmla="*/ 108071 h 4718304"/>
                  <a:gd name="connsiteX9" fmla="*/ 4608574 w 4718226"/>
                  <a:gd name="connsiteY9" fmla="*/ 2359160 h 4718304"/>
                  <a:gd name="connsiteX10" fmla="*/ 2359150 w 4718226"/>
                  <a:gd name="connsiteY10" fmla="*/ 4608585 h 4718304"/>
                  <a:gd name="connsiteX11" fmla="*/ 162826 w 4718226"/>
                  <a:gd name="connsiteY11" fmla="*/ 2840886 h 4718304"/>
                  <a:gd name="connsiteX12" fmla="*/ 140247 w 4718226"/>
                  <a:gd name="connsiteY12" fmla="*/ 2802003 h 4718304"/>
                  <a:gd name="connsiteX13" fmla="*/ 96160 w 4718226"/>
                  <a:gd name="connsiteY13" fmla="*/ 2793048 h 4718304"/>
                  <a:gd name="connsiteX14" fmla="*/ 60224 w 4718226"/>
                  <a:gd name="connsiteY14" fmla="*/ 2820067 h 4718304"/>
                  <a:gd name="connsiteX15" fmla="*/ 56550 w 4718226"/>
                  <a:gd name="connsiteY15" fmla="*/ 2864881 h 4718304"/>
                  <a:gd name="connsiteX16" fmla="*/ 2359075 w 4718226"/>
                  <a:gd name="connsiteY16" fmla="*/ 4718304 h 4718304"/>
                  <a:gd name="connsiteX17" fmla="*/ 4718227 w 4718226"/>
                  <a:gd name="connsiteY17" fmla="*/ 2359152 h 4718304"/>
                  <a:gd name="connsiteX18" fmla="*/ 2359075 w 4718226"/>
                  <a:gd name="connsiteY18" fmla="*/ 0 h 4718304"/>
                  <a:gd name="connsiteX19" fmla="*/ 2348862 w 4718226"/>
                  <a:gd name="connsiteY19" fmla="*/ 932687 h 4718304"/>
                  <a:gd name="connsiteX20" fmla="*/ 2309444 w 4718226"/>
                  <a:gd name="connsiteY20" fmla="*/ 961849 h 4718304"/>
                  <a:gd name="connsiteX21" fmla="*/ 1882543 w 4718226"/>
                  <a:gd name="connsiteY21" fmla="*/ 1815650 h 4718304"/>
                  <a:gd name="connsiteX22" fmla="*/ 977268 w 4718226"/>
                  <a:gd name="connsiteY22" fmla="*/ 1980252 h 4718304"/>
                  <a:gd name="connsiteX23" fmla="*/ 934367 w 4718226"/>
                  <a:gd name="connsiteY23" fmla="*/ 2018905 h 4718304"/>
                  <a:gd name="connsiteX24" fmla="*/ 949828 w 4718226"/>
                  <a:gd name="connsiteY24" fmla="*/ 2074550 h 4718304"/>
                  <a:gd name="connsiteX25" fmla="*/ 1640791 w 4718226"/>
                  <a:gd name="connsiteY25" fmla="*/ 2751777 h 4718304"/>
                  <a:gd name="connsiteX26" fmla="*/ 1428203 w 4718226"/>
                  <a:gd name="connsiteY26" fmla="*/ 3718745 h 4718304"/>
                  <a:gd name="connsiteX27" fmla="*/ 1449902 w 4718226"/>
                  <a:gd name="connsiteY27" fmla="*/ 3773587 h 4718304"/>
                  <a:gd name="connsiteX28" fmla="*/ 1508761 w 4718226"/>
                  <a:gd name="connsiteY28" fmla="*/ 3777069 h 4718304"/>
                  <a:gd name="connsiteX29" fmla="*/ 2359163 w 4718226"/>
                  <a:gd name="connsiteY29" fmla="*/ 3298694 h 4718304"/>
                  <a:gd name="connsiteX30" fmla="*/ 3209565 w 4718226"/>
                  <a:gd name="connsiteY30" fmla="*/ 3777069 h 4718304"/>
                  <a:gd name="connsiteX31" fmla="*/ 3268424 w 4718226"/>
                  <a:gd name="connsiteY31" fmla="*/ 3773587 h 4718304"/>
                  <a:gd name="connsiteX32" fmla="*/ 3290123 w 4718226"/>
                  <a:gd name="connsiteY32" fmla="*/ 3718745 h 4718304"/>
                  <a:gd name="connsiteX33" fmla="*/ 3077534 w 4718226"/>
                  <a:gd name="connsiteY33" fmla="*/ 2760350 h 4718304"/>
                  <a:gd name="connsiteX34" fmla="*/ 3770183 w 4718226"/>
                  <a:gd name="connsiteY34" fmla="*/ 2067701 h 4718304"/>
                  <a:gd name="connsiteX35" fmla="*/ 3783539 w 4718226"/>
                  <a:gd name="connsiteY35" fmla="*/ 2012631 h 4718304"/>
                  <a:gd name="connsiteX36" fmla="*/ 3741060 w 4718226"/>
                  <a:gd name="connsiteY36" fmla="*/ 1975126 h 4718304"/>
                  <a:gd name="connsiteX37" fmla="*/ 2835784 w 4718226"/>
                  <a:gd name="connsiteY37" fmla="*/ 1815658 h 4718304"/>
                  <a:gd name="connsiteX38" fmla="*/ 2408883 w 4718226"/>
                  <a:gd name="connsiteY38" fmla="*/ 961857 h 4718304"/>
                  <a:gd name="connsiteX39" fmla="*/ 2348876 w 4718226"/>
                  <a:gd name="connsiteY39" fmla="*/ 932695 h 4718304"/>
                  <a:gd name="connsiteX40" fmla="*/ 2359157 w 4718226"/>
                  <a:gd name="connsiteY40" fmla="*/ 1111024 h 4718304"/>
                  <a:gd name="connsiteX41" fmla="*/ 2748368 w 4718226"/>
                  <a:gd name="connsiteY41" fmla="*/ 1889397 h 4718304"/>
                  <a:gd name="connsiteX42" fmla="*/ 2787786 w 4718226"/>
                  <a:gd name="connsiteY42" fmla="*/ 1918521 h 4718304"/>
                  <a:gd name="connsiteX43" fmla="*/ 3617594 w 4718226"/>
                  <a:gd name="connsiteY43" fmla="*/ 2064254 h 4718304"/>
                  <a:gd name="connsiteX44" fmla="*/ 2978105 w 4718226"/>
                  <a:gd name="connsiteY44" fmla="*/ 2703782 h 4718304"/>
                  <a:gd name="connsiteX45" fmla="*/ 2964367 w 4718226"/>
                  <a:gd name="connsiteY45" fmla="*/ 2755217 h 4718304"/>
                  <a:gd name="connsiteX46" fmla="*/ 3156410 w 4718226"/>
                  <a:gd name="connsiteY46" fmla="*/ 3622764 h 4718304"/>
                  <a:gd name="connsiteX47" fmla="*/ 2386609 w 4718226"/>
                  <a:gd name="connsiteY47" fmla="*/ 3188976 h 4718304"/>
                  <a:gd name="connsiteX48" fmla="*/ 2331730 w 4718226"/>
                  <a:gd name="connsiteY48" fmla="*/ 3188976 h 4718304"/>
                  <a:gd name="connsiteX49" fmla="*/ 1560205 w 4718226"/>
                  <a:gd name="connsiteY49" fmla="*/ 3622764 h 4718304"/>
                  <a:gd name="connsiteX50" fmla="*/ 1753963 w 4718226"/>
                  <a:gd name="connsiteY50" fmla="*/ 2746645 h 4718304"/>
                  <a:gd name="connsiteX51" fmla="*/ 1738502 w 4718226"/>
                  <a:gd name="connsiteY51" fmla="*/ 2695210 h 4718304"/>
                  <a:gd name="connsiteX52" fmla="*/ 1100728 w 4718226"/>
                  <a:gd name="connsiteY52" fmla="*/ 2069417 h 4718304"/>
                  <a:gd name="connsiteX53" fmla="*/ 1930536 w 4718226"/>
                  <a:gd name="connsiteY53" fmla="*/ 1918521 h 4718304"/>
                  <a:gd name="connsiteX54" fmla="*/ 1969954 w 4718226"/>
                  <a:gd name="connsiteY54" fmla="*/ 1889397 h 471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718226" h="4718304">
                    <a:moveTo>
                      <a:pt x="2359157" y="8"/>
                    </a:moveTo>
                    <a:cubicBezTo>
                      <a:pt x="1056823" y="8"/>
                      <a:pt x="5" y="1056924"/>
                      <a:pt x="5" y="2359160"/>
                    </a:cubicBezTo>
                    <a:lnTo>
                      <a:pt x="5" y="2468879"/>
                    </a:lnTo>
                    <a:cubicBezTo>
                      <a:pt x="-187" y="2483574"/>
                      <a:pt x="5477" y="2497734"/>
                      <a:pt x="15810" y="2508182"/>
                    </a:cubicBezTo>
                    <a:cubicBezTo>
                      <a:pt x="26105" y="2518630"/>
                      <a:pt x="40189" y="2524523"/>
                      <a:pt x="54884" y="2524523"/>
                    </a:cubicBezTo>
                    <a:cubicBezTo>
                      <a:pt x="69580" y="2524523"/>
                      <a:pt x="83625" y="2518630"/>
                      <a:pt x="93958" y="2508182"/>
                    </a:cubicBezTo>
                    <a:cubicBezTo>
                      <a:pt x="104253" y="2497734"/>
                      <a:pt x="109955" y="2483574"/>
                      <a:pt x="109726" y="2468879"/>
                    </a:cubicBezTo>
                    <a:lnTo>
                      <a:pt x="109726" y="2359160"/>
                    </a:lnTo>
                    <a:cubicBezTo>
                      <a:pt x="109726" y="1116197"/>
                      <a:pt x="1116186" y="108071"/>
                      <a:pt x="2359150" y="108071"/>
                    </a:cubicBezTo>
                    <a:cubicBezTo>
                      <a:pt x="3602113" y="108071"/>
                      <a:pt x="4608574" y="1116197"/>
                      <a:pt x="4608574" y="2359160"/>
                    </a:cubicBezTo>
                    <a:cubicBezTo>
                      <a:pt x="4608574" y="3602124"/>
                      <a:pt x="3602113" y="4608585"/>
                      <a:pt x="2359150" y="4608585"/>
                    </a:cubicBezTo>
                    <a:cubicBezTo>
                      <a:pt x="1282640" y="4608585"/>
                      <a:pt x="384438" y="3850266"/>
                      <a:pt x="162826" y="2840886"/>
                    </a:cubicBezTo>
                    <a:cubicBezTo>
                      <a:pt x="161219" y="2825271"/>
                      <a:pt x="152991" y="2811150"/>
                      <a:pt x="140247" y="2802003"/>
                    </a:cubicBezTo>
                    <a:cubicBezTo>
                      <a:pt x="127503" y="2792857"/>
                      <a:pt x="111468" y="2789604"/>
                      <a:pt x="96160" y="2793048"/>
                    </a:cubicBezTo>
                    <a:cubicBezTo>
                      <a:pt x="80890" y="2796492"/>
                      <a:pt x="67802" y="2806328"/>
                      <a:pt x="60224" y="2820067"/>
                    </a:cubicBezTo>
                    <a:cubicBezTo>
                      <a:pt x="52646" y="2833805"/>
                      <a:pt x="51307" y="2850109"/>
                      <a:pt x="56550" y="2864881"/>
                    </a:cubicBezTo>
                    <a:cubicBezTo>
                      <a:pt x="288968" y="3923658"/>
                      <a:pt x="1231129" y="4718304"/>
                      <a:pt x="2359075" y="4718304"/>
                    </a:cubicBezTo>
                    <a:cubicBezTo>
                      <a:pt x="3661409" y="4718304"/>
                      <a:pt x="4718227" y="3661388"/>
                      <a:pt x="4718227" y="2359152"/>
                    </a:cubicBezTo>
                    <a:cubicBezTo>
                      <a:pt x="4718227" y="1056916"/>
                      <a:pt x="3661311" y="0"/>
                      <a:pt x="2359075" y="0"/>
                    </a:cubicBezTo>
                    <a:close/>
                    <a:moveTo>
                      <a:pt x="2348862" y="932687"/>
                    </a:moveTo>
                    <a:cubicBezTo>
                      <a:pt x="2331870" y="935672"/>
                      <a:pt x="2317251" y="946463"/>
                      <a:pt x="2309444" y="961849"/>
                    </a:cubicBezTo>
                    <a:lnTo>
                      <a:pt x="1882543" y="1815650"/>
                    </a:lnTo>
                    <a:lnTo>
                      <a:pt x="977268" y="1980252"/>
                    </a:lnTo>
                    <a:cubicBezTo>
                      <a:pt x="956794" y="1983964"/>
                      <a:pt x="940184" y="1998927"/>
                      <a:pt x="934367" y="2018905"/>
                    </a:cubicBezTo>
                    <a:cubicBezTo>
                      <a:pt x="928588" y="2038882"/>
                      <a:pt x="934559" y="2060428"/>
                      <a:pt x="949828" y="2074550"/>
                    </a:cubicBezTo>
                    <a:lnTo>
                      <a:pt x="1640791" y="2751777"/>
                    </a:lnTo>
                    <a:lnTo>
                      <a:pt x="1428203" y="3718745"/>
                    </a:lnTo>
                    <a:cubicBezTo>
                      <a:pt x="1424146" y="3739717"/>
                      <a:pt x="1432642" y="3761072"/>
                      <a:pt x="1449902" y="3773587"/>
                    </a:cubicBezTo>
                    <a:cubicBezTo>
                      <a:pt x="1467199" y="3786063"/>
                      <a:pt x="1490124" y="3787441"/>
                      <a:pt x="1508761" y="3777069"/>
                    </a:cubicBezTo>
                    <a:lnTo>
                      <a:pt x="2359163" y="3298694"/>
                    </a:lnTo>
                    <a:lnTo>
                      <a:pt x="3209565" y="3777069"/>
                    </a:lnTo>
                    <a:cubicBezTo>
                      <a:pt x="3228202" y="3787441"/>
                      <a:pt x="3251126" y="3786063"/>
                      <a:pt x="3268424" y="3773587"/>
                    </a:cubicBezTo>
                    <a:cubicBezTo>
                      <a:pt x="3285683" y="3761073"/>
                      <a:pt x="3294179" y="3739718"/>
                      <a:pt x="3290123" y="3718745"/>
                    </a:cubicBezTo>
                    <a:lnTo>
                      <a:pt x="3077534" y="2760350"/>
                    </a:lnTo>
                    <a:lnTo>
                      <a:pt x="3770183" y="2067701"/>
                    </a:lnTo>
                    <a:cubicBezTo>
                      <a:pt x="3784534" y="2053235"/>
                      <a:pt x="3789662" y="2032034"/>
                      <a:pt x="3783539" y="2012631"/>
                    </a:cubicBezTo>
                    <a:cubicBezTo>
                      <a:pt x="3777416" y="1993189"/>
                      <a:pt x="3761074" y="1978762"/>
                      <a:pt x="3741060" y="1975126"/>
                    </a:cubicBezTo>
                    <a:lnTo>
                      <a:pt x="2835784" y="1815658"/>
                    </a:lnTo>
                    <a:lnTo>
                      <a:pt x="2408883" y="961857"/>
                    </a:lnTo>
                    <a:cubicBezTo>
                      <a:pt x="2397785" y="939698"/>
                      <a:pt x="2373177" y="927758"/>
                      <a:pt x="2348876" y="932695"/>
                    </a:cubicBezTo>
                    <a:close/>
                    <a:moveTo>
                      <a:pt x="2359157" y="1111024"/>
                    </a:moveTo>
                    <a:lnTo>
                      <a:pt x="2748368" y="1889397"/>
                    </a:lnTo>
                    <a:cubicBezTo>
                      <a:pt x="2756175" y="1904782"/>
                      <a:pt x="2770795" y="1915574"/>
                      <a:pt x="2787786" y="1918521"/>
                    </a:cubicBezTo>
                    <a:lnTo>
                      <a:pt x="3617594" y="2064254"/>
                    </a:lnTo>
                    <a:lnTo>
                      <a:pt x="2978105" y="2703782"/>
                    </a:lnTo>
                    <a:cubicBezTo>
                      <a:pt x="2964940" y="2717406"/>
                      <a:pt x="2959774" y="2736847"/>
                      <a:pt x="2964367" y="2755217"/>
                    </a:cubicBezTo>
                    <a:lnTo>
                      <a:pt x="3156410" y="3622764"/>
                    </a:lnTo>
                    <a:lnTo>
                      <a:pt x="2386609" y="3188976"/>
                    </a:lnTo>
                    <a:cubicBezTo>
                      <a:pt x="2369617" y="3179178"/>
                      <a:pt x="2348722" y="3179178"/>
                      <a:pt x="2331730" y="3188976"/>
                    </a:cubicBezTo>
                    <a:lnTo>
                      <a:pt x="1560205" y="3622764"/>
                    </a:lnTo>
                    <a:lnTo>
                      <a:pt x="1753963" y="2746645"/>
                    </a:lnTo>
                    <a:cubicBezTo>
                      <a:pt x="1758134" y="2727969"/>
                      <a:pt x="1752279" y="2708490"/>
                      <a:pt x="1738502" y="2695210"/>
                    </a:cubicBezTo>
                    <a:lnTo>
                      <a:pt x="1100728" y="2069417"/>
                    </a:lnTo>
                    <a:lnTo>
                      <a:pt x="1930536" y="1918521"/>
                    </a:lnTo>
                    <a:cubicBezTo>
                      <a:pt x="1947528" y="1915575"/>
                      <a:pt x="1962147" y="1904783"/>
                      <a:pt x="1969954" y="1889397"/>
                    </a:cubicBezTo>
                    <a:close/>
                  </a:path>
                </a:pathLst>
              </a:custGeom>
              <a:grpFill/>
              <a:ln w="9797" cap="flat">
                <a:solidFill>
                  <a:schemeClr val="tx1"/>
                </a:solidFill>
                <a:prstDash val="solid"/>
                <a:miter/>
              </a:ln>
            </p:spPr>
            <p:txBody>
              <a:bodyPr rtlCol="0" anchor="ctr"/>
              <a:lstStyle/>
              <a:p>
                <a:endParaRPr lang="en-US" dirty="0"/>
              </a:p>
            </p:txBody>
          </p:sp>
        </p:grpSp>
      </p:grpSp>
      <p:grpSp>
        <p:nvGrpSpPr>
          <p:cNvPr id="17" name="Group 16">
            <a:extLst>
              <a:ext uri="{FF2B5EF4-FFF2-40B4-BE49-F238E27FC236}">
                <a16:creationId xmlns:a16="http://schemas.microsoft.com/office/drawing/2014/main" id="{A8EB0C06-EC85-7441-C979-6C1426446077}"/>
              </a:ext>
            </a:extLst>
          </p:cNvPr>
          <p:cNvGrpSpPr/>
          <p:nvPr/>
        </p:nvGrpSpPr>
        <p:grpSpPr>
          <a:xfrm>
            <a:off x="6502742" y="1971459"/>
            <a:ext cx="731520" cy="731520"/>
            <a:chOff x="6502742" y="1971459"/>
            <a:chExt cx="731520" cy="731520"/>
          </a:xfrm>
        </p:grpSpPr>
        <p:sp>
          <p:nvSpPr>
            <p:cNvPr id="48" name="Google Shape;518;p34">
              <a:extLst>
                <a:ext uri="{FF2B5EF4-FFF2-40B4-BE49-F238E27FC236}">
                  <a16:creationId xmlns:a16="http://schemas.microsoft.com/office/drawing/2014/main" id="{93E04558-A877-F132-9FD2-327BE360068F}"/>
                </a:ext>
              </a:extLst>
            </p:cNvPr>
            <p:cNvSpPr>
              <a:spLocks noChangeAspect="1"/>
            </p:cNvSpPr>
            <p:nvPr/>
          </p:nvSpPr>
          <p:spPr>
            <a:xfrm>
              <a:off x="6502742" y="1971459"/>
              <a:ext cx="731520" cy="731520"/>
            </a:xfrm>
            <a:custGeom>
              <a:avLst/>
              <a:gdLst/>
              <a:ahLst/>
              <a:cxnLst/>
              <a:rect l="l" t="t" r="r" b="b"/>
              <a:pathLst>
                <a:path w="209017" h="209017" extrusionOk="0">
                  <a:moveTo>
                    <a:pt x="104508" y="0"/>
                  </a:moveTo>
                  <a:cubicBezTo>
                    <a:pt x="46781" y="0"/>
                    <a:pt x="0" y="46781"/>
                    <a:pt x="0" y="104508"/>
                  </a:cubicBezTo>
                  <a:cubicBezTo>
                    <a:pt x="0" y="132211"/>
                    <a:pt x="11007" y="158805"/>
                    <a:pt x="30599" y="178397"/>
                  </a:cubicBezTo>
                  <a:cubicBezTo>
                    <a:pt x="50211" y="197988"/>
                    <a:pt x="76784" y="209016"/>
                    <a:pt x="104508" y="209016"/>
                  </a:cubicBezTo>
                  <a:cubicBezTo>
                    <a:pt x="132211" y="209016"/>
                    <a:pt x="158805" y="197988"/>
                    <a:pt x="178397" y="178397"/>
                  </a:cubicBezTo>
                  <a:cubicBezTo>
                    <a:pt x="197988" y="158805"/>
                    <a:pt x="209016" y="132211"/>
                    <a:pt x="209016" y="104508"/>
                  </a:cubicBezTo>
                  <a:cubicBezTo>
                    <a:pt x="209016" y="76784"/>
                    <a:pt x="197988" y="50211"/>
                    <a:pt x="178397" y="30599"/>
                  </a:cubicBezTo>
                  <a:cubicBezTo>
                    <a:pt x="158805" y="11007"/>
                    <a:pt x="132211" y="0"/>
                    <a:pt x="104508" y="0"/>
                  </a:cubicBezTo>
                  <a:close/>
                </a:path>
              </a:pathLst>
            </a:custGeom>
            <a:solidFill>
              <a:srgbClr val="F2F2F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241" name="Freeform: Shape 240">
              <a:extLst>
                <a:ext uri="{FF2B5EF4-FFF2-40B4-BE49-F238E27FC236}">
                  <a16:creationId xmlns:a16="http://schemas.microsoft.com/office/drawing/2014/main" id="{327727C5-0739-00ED-674A-D75B8FFDE84A}"/>
                </a:ext>
              </a:extLst>
            </p:cNvPr>
            <p:cNvSpPr>
              <a:spLocks noChangeAspect="1"/>
            </p:cNvSpPr>
            <p:nvPr/>
          </p:nvSpPr>
          <p:spPr>
            <a:xfrm>
              <a:off x="6639902" y="2140352"/>
              <a:ext cx="457200" cy="393735"/>
            </a:xfrm>
            <a:custGeom>
              <a:avLst/>
              <a:gdLst>
                <a:gd name="connsiteX0" fmla="*/ 2208019 w 5309416"/>
                <a:gd name="connsiteY0" fmla="*/ 4259524 h 4572407"/>
                <a:gd name="connsiteX1" fmla="*/ 2270131 w 5309416"/>
                <a:gd name="connsiteY1" fmla="*/ 4197489 h 4572407"/>
                <a:gd name="connsiteX2" fmla="*/ 3039432 w 5309416"/>
                <a:gd name="connsiteY2" fmla="*/ 4197489 h 4572407"/>
                <a:gd name="connsiteX3" fmla="*/ 3101660 w 5309416"/>
                <a:gd name="connsiteY3" fmla="*/ 4259716 h 4572407"/>
                <a:gd name="connsiteX4" fmla="*/ 3039432 w 5309416"/>
                <a:gd name="connsiteY4" fmla="*/ 4321944 h 4572407"/>
                <a:gd name="connsiteX5" fmla="*/ 2270131 w 5309416"/>
                <a:gd name="connsiteY5" fmla="*/ 4321944 h 4572407"/>
                <a:gd name="connsiteX6" fmla="*/ 2226197 w 5309416"/>
                <a:gd name="connsiteY6" fmla="*/ 4303689 h 4572407"/>
                <a:gd name="connsiteX7" fmla="*/ 2208018 w 5309416"/>
                <a:gd name="connsiteY7" fmla="*/ 4259716 h 4572407"/>
                <a:gd name="connsiteX8" fmla="*/ 2208019 w 5309416"/>
                <a:gd name="connsiteY8" fmla="*/ 3777436 h 4572407"/>
                <a:gd name="connsiteX9" fmla="*/ 2270131 w 5309416"/>
                <a:gd name="connsiteY9" fmla="*/ 3715209 h 4572407"/>
                <a:gd name="connsiteX10" fmla="*/ 3039432 w 5309416"/>
                <a:gd name="connsiteY10" fmla="*/ 3715209 h 4572407"/>
                <a:gd name="connsiteX11" fmla="*/ 3084668 w 5309416"/>
                <a:gd name="connsiteY11" fmla="*/ 3732737 h 4572407"/>
                <a:gd name="connsiteX12" fmla="*/ 3103573 w 5309416"/>
                <a:gd name="connsiteY12" fmla="*/ 3777398 h 4572407"/>
                <a:gd name="connsiteX13" fmla="*/ 3084668 w 5309416"/>
                <a:gd name="connsiteY13" fmla="*/ 3822098 h 4572407"/>
                <a:gd name="connsiteX14" fmla="*/ 3039432 w 5309416"/>
                <a:gd name="connsiteY14" fmla="*/ 3839626 h 4572407"/>
                <a:gd name="connsiteX15" fmla="*/ 2270131 w 5309416"/>
                <a:gd name="connsiteY15" fmla="*/ 3839626 h 4572407"/>
                <a:gd name="connsiteX16" fmla="*/ 2208019 w 5309416"/>
                <a:gd name="connsiteY16" fmla="*/ 3777436 h 4572407"/>
                <a:gd name="connsiteX17" fmla="*/ 2208019 w 5309416"/>
                <a:gd name="connsiteY17" fmla="*/ 4018534 h 4572407"/>
                <a:gd name="connsiteX18" fmla="*/ 2226198 w 5309416"/>
                <a:gd name="connsiteY18" fmla="*/ 3974562 h 4572407"/>
                <a:gd name="connsiteX19" fmla="*/ 2270132 w 5309416"/>
                <a:gd name="connsiteY19" fmla="*/ 3956307 h 4572407"/>
                <a:gd name="connsiteX20" fmla="*/ 3039433 w 5309416"/>
                <a:gd name="connsiteY20" fmla="*/ 3956307 h 4572407"/>
                <a:gd name="connsiteX21" fmla="*/ 3101584 w 5309416"/>
                <a:gd name="connsiteY21" fmla="*/ 4018496 h 4572407"/>
                <a:gd name="connsiteX22" fmla="*/ 3039433 w 5309416"/>
                <a:gd name="connsiteY22" fmla="*/ 4080686 h 4572407"/>
                <a:gd name="connsiteX23" fmla="*/ 2270132 w 5309416"/>
                <a:gd name="connsiteY23" fmla="*/ 4080686 h 4572407"/>
                <a:gd name="connsiteX24" fmla="*/ 2208020 w 5309416"/>
                <a:gd name="connsiteY24" fmla="*/ 4018534 h 4572407"/>
                <a:gd name="connsiteX25" fmla="*/ 1154826 w 5309416"/>
                <a:gd name="connsiteY25" fmla="*/ 4259524 h 4572407"/>
                <a:gd name="connsiteX26" fmla="*/ 1092561 w 5309416"/>
                <a:gd name="connsiteY26" fmla="*/ 4321790 h 4572407"/>
                <a:gd name="connsiteX27" fmla="*/ 323289 w 5309416"/>
                <a:gd name="connsiteY27" fmla="*/ 4321790 h 4572407"/>
                <a:gd name="connsiteX28" fmla="*/ 261062 w 5309416"/>
                <a:gd name="connsiteY28" fmla="*/ 4259524 h 4572407"/>
                <a:gd name="connsiteX29" fmla="*/ 323289 w 5309416"/>
                <a:gd name="connsiteY29" fmla="*/ 4197297 h 4572407"/>
                <a:gd name="connsiteX30" fmla="*/ 1092561 w 5309416"/>
                <a:gd name="connsiteY30" fmla="*/ 4197297 h 4572407"/>
                <a:gd name="connsiteX31" fmla="*/ 1154826 w 5309416"/>
                <a:gd name="connsiteY31" fmla="*/ 4259524 h 4572407"/>
                <a:gd name="connsiteX32" fmla="*/ 323029 w 5309416"/>
                <a:gd name="connsiteY32" fmla="*/ 3715205 h 4572407"/>
                <a:gd name="connsiteX33" fmla="*/ 1092301 w 5309416"/>
                <a:gd name="connsiteY33" fmla="*/ 3715205 h 4572407"/>
                <a:gd name="connsiteX34" fmla="*/ 1137536 w 5309416"/>
                <a:gd name="connsiteY34" fmla="*/ 3732733 h 4572407"/>
                <a:gd name="connsiteX35" fmla="*/ 1156442 w 5309416"/>
                <a:gd name="connsiteY35" fmla="*/ 3777394 h 4572407"/>
                <a:gd name="connsiteX36" fmla="*/ 1137536 w 5309416"/>
                <a:gd name="connsiteY36" fmla="*/ 3822094 h 4572407"/>
                <a:gd name="connsiteX37" fmla="*/ 1092301 w 5309416"/>
                <a:gd name="connsiteY37" fmla="*/ 3839622 h 4572407"/>
                <a:gd name="connsiteX38" fmla="*/ 323304 w 5309416"/>
                <a:gd name="connsiteY38" fmla="*/ 3839622 h 4572407"/>
                <a:gd name="connsiteX39" fmla="*/ 278068 w 5309416"/>
                <a:gd name="connsiteY39" fmla="*/ 3822094 h 4572407"/>
                <a:gd name="connsiteX40" fmla="*/ 259163 w 5309416"/>
                <a:gd name="connsiteY40" fmla="*/ 3777394 h 4572407"/>
                <a:gd name="connsiteX41" fmla="*/ 278068 w 5309416"/>
                <a:gd name="connsiteY41" fmla="*/ 3732733 h 4572407"/>
                <a:gd name="connsiteX42" fmla="*/ 323304 w 5309416"/>
                <a:gd name="connsiteY42" fmla="*/ 3715205 h 4572407"/>
                <a:gd name="connsiteX43" fmla="*/ 1154826 w 5309416"/>
                <a:gd name="connsiteY43" fmla="*/ 4018534 h 4572407"/>
                <a:gd name="connsiteX44" fmla="*/ 1092561 w 5309416"/>
                <a:gd name="connsiteY44" fmla="*/ 4080686 h 4572407"/>
                <a:gd name="connsiteX45" fmla="*/ 323289 w 5309416"/>
                <a:gd name="connsiteY45" fmla="*/ 4080686 h 4572407"/>
                <a:gd name="connsiteX46" fmla="*/ 261100 w 5309416"/>
                <a:gd name="connsiteY46" fmla="*/ 4018496 h 4572407"/>
                <a:gd name="connsiteX47" fmla="*/ 323289 w 5309416"/>
                <a:gd name="connsiteY47" fmla="*/ 3956307 h 4572407"/>
                <a:gd name="connsiteX48" fmla="*/ 1092561 w 5309416"/>
                <a:gd name="connsiteY48" fmla="*/ 3956307 h 4572407"/>
                <a:gd name="connsiteX49" fmla="*/ 1154826 w 5309416"/>
                <a:gd name="connsiteY49" fmla="*/ 4018534 h 4572407"/>
                <a:gd name="connsiteX50" fmla="*/ 5048407 w 5309416"/>
                <a:gd name="connsiteY50" fmla="*/ 4259524 h 4572407"/>
                <a:gd name="connsiteX51" fmla="*/ 5030228 w 5309416"/>
                <a:gd name="connsiteY51" fmla="*/ 4303573 h 4572407"/>
                <a:gd name="connsiteX52" fmla="*/ 4986180 w 5309416"/>
                <a:gd name="connsiteY52" fmla="*/ 4321790 h 4572407"/>
                <a:gd name="connsiteX53" fmla="*/ 4217025 w 5309416"/>
                <a:gd name="connsiteY53" fmla="*/ 4321790 h 4572407"/>
                <a:gd name="connsiteX54" fmla="*/ 4154760 w 5309416"/>
                <a:gd name="connsiteY54" fmla="*/ 4259524 h 4572407"/>
                <a:gd name="connsiteX55" fmla="*/ 4217025 w 5309416"/>
                <a:gd name="connsiteY55" fmla="*/ 4197297 h 4572407"/>
                <a:gd name="connsiteX56" fmla="*/ 4986297 w 5309416"/>
                <a:gd name="connsiteY56" fmla="*/ 4197297 h 4572407"/>
                <a:gd name="connsiteX57" fmla="*/ 5030308 w 5309416"/>
                <a:gd name="connsiteY57" fmla="*/ 4215514 h 4572407"/>
                <a:gd name="connsiteX58" fmla="*/ 5048525 w 5309416"/>
                <a:gd name="connsiteY58" fmla="*/ 4259524 h 4572407"/>
                <a:gd name="connsiteX59" fmla="*/ 4217031 w 5309416"/>
                <a:gd name="connsiteY59" fmla="*/ 3715205 h 4572407"/>
                <a:gd name="connsiteX60" fmla="*/ 4986303 w 5309416"/>
                <a:gd name="connsiteY60" fmla="*/ 3715205 h 4572407"/>
                <a:gd name="connsiteX61" fmla="*/ 5031539 w 5309416"/>
                <a:gd name="connsiteY61" fmla="*/ 3732733 h 4572407"/>
                <a:gd name="connsiteX62" fmla="*/ 5050444 w 5309416"/>
                <a:gd name="connsiteY62" fmla="*/ 3777394 h 4572407"/>
                <a:gd name="connsiteX63" fmla="*/ 5031539 w 5309416"/>
                <a:gd name="connsiteY63" fmla="*/ 3822094 h 4572407"/>
                <a:gd name="connsiteX64" fmla="*/ 4986303 w 5309416"/>
                <a:gd name="connsiteY64" fmla="*/ 3839622 h 4572407"/>
                <a:gd name="connsiteX65" fmla="*/ 4217031 w 5309416"/>
                <a:gd name="connsiteY65" fmla="*/ 3839622 h 4572407"/>
                <a:gd name="connsiteX66" fmla="*/ 4156679 w 5309416"/>
                <a:gd name="connsiteY66" fmla="*/ 3777394 h 4572407"/>
                <a:gd name="connsiteX67" fmla="*/ 4217031 w 5309416"/>
                <a:gd name="connsiteY67" fmla="*/ 3715205 h 4572407"/>
                <a:gd name="connsiteX68" fmla="*/ 5048828 w 5309416"/>
                <a:gd name="connsiteY68" fmla="*/ 4018534 h 4572407"/>
                <a:gd name="connsiteX69" fmla="*/ 5030573 w 5309416"/>
                <a:gd name="connsiteY69" fmla="*/ 4062507 h 4572407"/>
                <a:gd name="connsiteX70" fmla="*/ 4986601 w 5309416"/>
                <a:gd name="connsiteY70" fmla="*/ 4080686 h 4572407"/>
                <a:gd name="connsiteX71" fmla="*/ 4217025 w 5309416"/>
                <a:gd name="connsiteY71" fmla="*/ 4080686 h 4572407"/>
                <a:gd name="connsiteX72" fmla="*/ 4154836 w 5309416"/>
                <a:gd name="connsiteY72" fmla="*/ 4018496 h 4572407"/>
                <a:gd name="connsiteX73" fmla="*/ 4217025 w 5309416"/>
                <a:gd name="connsiteY73" fmla="*/ 3956307 h 4572407"/>
                <a:gd name="connsiteX74" fmla="*/ 4986297 w 5309416"/>
                <a:gd name="connsiteY74" fmla="*/ 3956307 h 4572407"/>
                <a:gd name="connsiteX75" fmla="*/ 5030346 w 5309416"/>
                <a:gd name="connsiteY75" fmla="*/ 3974524 h 4572407"/>
                <a:gd name="connsiteX76" fmla="*/ 5048525 w 5309416"/>
                <a:gd name="connsiteY76" fmla="*/ 4018534 h 4572407"/>
                <a:gd name="connsiteX77" fmla="*/ 5185411 w 5309416"/>
                <a:gd name="connsiteY77" fmla="*/ 4448080 h 4572407"/>
                <a:gd name="connsiteX78" fmla="*/ 5185372 w 5309416"/>
                <a:gd name="connsiteY78" fmla="*/ 3588841 h 4572407"/>
                <a:gd name="connsiteX79" fmla="*/ 4018336 w 5309416"/>
                <a:gd name="connsiteY79" fmla="*/ 3588841 h 4572407"/>
                <a:gd name="connsiteX80" fmla="*/ 4018336 w 5309416"/>
                <a:gd name="connsiteY80" fmla="*/ 4448080 h 4572407"/>
                <a:gd name="connsiteX81" fmla="*/ 2654808 w 5309416"/>
                <a:gd name="connsiteY81" fmla="*/ 3134773 h 4572407"/>
                <a:gd name="connsiteX82" fmla="*/ 2546961 w 5309416"/>
                <a:gd name="connsiteY82" fmla="*/ 3090112 h 4572407"/>
                <a:gd name="connsiteX83" fmla="*/ 2502262 w 5309416"/>
                <a:gd name="connsiteY83" fmla="*/ 2982304 h 4572407"/>
                <a:gd name="connsiteX84" fmla="*/ 2546885 w 5309416"/>
                <a:gd name="connsiteY84" fmla="*/ 2874457 h 4572407"/>
                <a:gd name="connsiteX85" fmla="*/ 2654732 w 5309416"/>
                <a:gd name="connsiteY85" fmla="*/ 2829758 h 4572407"/>
                <a:gd name="connsiteX86" fmla="*/ 2762579 w 5309416"/>
                <a:gd name="connsiteY86" fmla="*/ 2874419 h 4572407"/>
                <a:gd name="connsiteX87" fmla="*/ 2807240 w 5309416"/>
                <a:gd name="connsiteY87" fmla="*/ 2982266 h 4572407"/>
                <a:gd name="connsiteX88" fmla="*/ 2762541 w 5309416"/>
                <a:gd name="connsiteY88" fmla="*/ 3090035 h 4572407"/>
                <a:gd name="connsiteX89" fmla="*/ 2654811 w 5309416"/>
                <a:gd name="connsiteY89" fmla="*/ 3134772 h 4572407"/>
                <a:gd name="connsiteX90" fmla="*/ 3238238 w 5309416"/>
                <a:gd name="connsiteY90" fmla="*/ 4448178 h 4572407"/>
                <a:gd name="connsiteX91" fmla="*/ 3238238 w 5309416"/>
                <a:gd name="connsiteY91" fmla="*/ 3588900 h 4572407"/>
                <a:gd name="connsiteX92" fmla="*/ 2071398 w 5309416"/>
                <a:gd name="connsiteY92" fmla="*/ 3588900 h 4572407"/>
                <a:gd name="connsiteX93" fmla="*/ 2071398 w 5309416"/>
                <a:gd name="connsiteY93" fmla="*/ 4448139 h 4572407"/>
                <a:gd name="connsiteX94" fmla="*/ 1291448 w 5309416"/>
                <a:gd name="connsiteY94" fmla="*/ 4448178 h 4572407"/>
                <a:gd name="connsiteX95" fmla="*/ 1291486 w 5309416"/>
                <a:gd name="connsiteY95" fmla="*/ 3588900 h 4572407"/>
                <a:gd name="connsiteX96" fmla="*/ 124548 w 5309416"/>
                <a:gd name="connsiteY96" fmla="*/ 3588900 h 4572407"/>
                <a:gd name="connsiteX97" fmla="*/ 124548 w 5309416"/>
                <a:gd name="connsiteY97" fmla="*/ 4448139 h 4572407"/>
                <a:gd name="connsiteX98" fmla="*/ 1249695 w 5309416"/>
                <a:gd name="connsiteY98" fmla="*/ 124209 h 4572407"/>
                <a:gd name="connsiteX99" fmla="*/ 2039511 w 5309416"/>
                <a:gd name="connsiteY99" fmla="*/ 124209 h 4572407"/>
                <a:gd name="connsiteX100" fmla="*/ 2378542 w 5309416"/>
                <a:gd name="connsiteY100" fmla="*/ 610010 h 4572407"/>
                <a:gd name="connsiteX101" fmla="*/ 2378542 w 5309416"/>
                <a:gd name="connsiteY101" fmla="*/ 610049 h 4572407"/>
                <a:gd name="connsiteX102" fmla="*/ 2429594 w 5309416"/>
                <a:gd name="connsiteY102" fmla="*/ 636646 h 4572407"/>
                <a:gd name="connsiteX103" fmla="*/ 4059936 w 5309416"/>
                <a:gd name="connsiteY103" fmla="*/ 636646 h 4572407"/>
                <a:gd name="connsiteX104" fmla="*/ 4059936 w 5309416"/>
                <a:gd name="connsiteY104" fmla="*/ 2282566 h 4572407"/>
                <a:gd name="connsiteX105" fmla="*/ 1249626 w 5309416"/>
                <a:gd name="connsiteY105" fmla="*/ 2282566 h 4572407"/>
                <a:gd name="connsiteX106" fmla="*/ 3920102 w 5309416"/>
                <a:gd name="connsiteY106" fmla="*/ 253982 h 4572407"/>
                <a:gd name="connsiteX107" fmla="*/ 2281530 w 5309416"/>
                <a:gd name="connsiteY107" fmla="*/ 254020 h 4572407"/>
                <a:gd name="connsiteX108" fmla="*/ 2461974 w 5309416"/>
                <a:gd name="connsiteY108" fmla="*/ 512420 h 4572407"/>
                <a:gd name="connsiteX109" fmla="*/ 3920083 w 5309416"/>
                <a:gd name="connsiteY109" fmla="*/ 512420 h 4572407"/>
                <a:gd name="connsiteX110" fmla="*/ 3920083 w 5309416"/>
                <a:gd name="connsiteY110" fmla="*/ 253824 h 4572407"/>
                <a:gd name="connsiteX111" fmla="*/ 5247420 w 5309416"/>
                <a:gd name="connsiteY111" fmla="*/ 3464604 h 4572407"/>
                <a:gd name="connsiteX112" fmla="*/ 4743092 w 5309416"/>
                <a:gd name="connsiteY112" fmla="*/ 3464642 h 4572407"/>
                <a:gd name="connsiteX113" fmla="*/ 4743092 w 5309416"/>
                <a:gd name="connsiteY113" fmla="*/ 2982250 h 4572407"/>
                <a:gd name="connsiteX114" fmla="*/ 4680864 w 5309416"/>
                <a:gd name="connsiteY114" fmla="*/ 2919985 h 4572407"/>
                <a:gd name="connsiteX115" fmla="*/ 2924432 w 5309416"/>
                <a:gd name="connsiteY115" fmla="*/ 2919985 h 4572407"/>
                <a:gd name="connsiteX116" fmla="*/ 2850304 w 5309416"/>
                <a:gd name="connsiteY116" fmla="*/ 2786616 h 4572407"/>
                <a:gd name="connsiteX117" fmla="*/ 2716935 w 5309416"/>
                <a:gd name="connsiteY117" fmla="*/ 2712525 h 4572407"/>
                <a:gd name="connsiteX118" fmla="*/ 2716935 w 5309416"/>
                <a:gd name="connsiteY118" fmla="*/ 2406708 h 4572407"/>
                <a:gd name="connsiteX119" fmla="*/ 4122139 w 5309416"/>
                <a:gd name="connsiteY119" fmla="*/ 2406708 h 4572407"/>
                <a:gd name="connsiteX120" fmla="*/ 4166112 w 5309416"/>
                <a:gd name="connsiteY120" fmla="*/ 2388452 h 4572407"/>
                <a:gd name="connsiteX121" fmla="*/ 4184290 w 5309416"/>
                <a:gd name="connsiteY121" fmla="*/ 2344480 h 4572407"/>
                <a:gd name="connsiteX122" fmla="*/ 4184290 w 5309416"/>
                <a:gd name="connsiteY122" fmla="*/ 574626 h 4572407"/>
                <a:gd name="connsiteX123" fmla="*/ 4122139 w 5309416"/>
                <a:gd name="connsiteY123" fmla="*/ 512475 h 4572407"/>
                <a:gd name="connsiteX124" fmla="*/ 4044527 w 5309416"/>
                <a:gd name="connsiteY124" fmla="*/ 512475 h 4572407"/>
                <a:gd name="connsiteX125" fmla="*/ 4044527 w 5309416"/>
                <a:gd name="connsiteY125" fmla="*/ 191462 h 4572407"/>
                <a:gd name="connsiteX126" fmla="*/ 4026234 w 5309416"/>
                <a:gd name="connsiteY126" fmla="*/ 147413 h 4572407"/>
                <a:gd name="connsiteX127" fmla="*/ 3982109 w 5309416"/>
                <a:gd name="connsiteY127" fmla="*/ 129311 h 4572407"/>
                <a:gd name="connsiteX128" fmla="*/ 2194620 w 5309416"/>
                <a:gd name="connsiteY128" fmla="*/ 129311 h 4572407"/>
                <a:gd name="connsiteX129" fmla="*/ 2122940 w 5309416"/>
                <a:gd name="connsiteY129" fmla="*/ 26636 h 4572407"/>
                <a:gd name="connsiteX130" fmla="*/ 2071926 w 5309416"/>
                <a:gd name="connsiteY130" fmla="*/ 0 h 4572407"/>
                <a:gd name="connsiteX131" fmla="*/ 1187430 w 5309416"/>
                <a:gd name="connsiteY131" fmla="*/ 0 h 4572407"/>
                <a:gd name="connsiteX132" fmla="*/ 1125241 w 5309416"/>
                <a:gd name="connsiteY132" fmla="*/ 62036 h 4572407"/>
                <a:gd name="connsiteX133" fmla="*/ 1125241 w 5309416"/>
                <a:gd name="connsiteY133" fmla="*/ 2344476 h 4572407"/>
                <a:gd name="connsiteX134" fmla="*/ 1143458 w 5309416"/>
                <a:gd name="connsiteY134" fmla="*/ 2388487 h 4572407"/>
                <a:gd name="connsiteX135" fmla="*/ 1187430 w 5309416"/>
                <a:gd name="connsiteY135" fmla="*/ 2406703 h 4572407"/>
                <a:gd name="connsiteX136" fmla="*/ 2592537 w 5309416"/>
                <a:gd name="connsiteY136" fmla="*/ 2406703 h 4572407"/>
                <a:gd name="connsiteX137" fmla="*/ 2592537 w 5309416"/>
                <a:gd name="connsiteY137" fmla="*/ 2712561 h 4572407"/>
                <a:gd name="connsiteX138" fmla="*/ 2459168 w 5309416"/>
                <a:gd name="connsiteY138" fmla="*/ 2786652 h 4572407"/>
                <a:gd name="connsiteX139" fmla="*/ 2385039 w 5309416"/>
                <a:gd name="connsiteY139" fmla="*/ 2920020 h 4572407"/>
                <a:gd name="connsiteX140" fmla="*/ 628509 w 5309416"/>
                <a:gd name="connsiteY140" fmla="*/ 2920020 h 4572407"/>
                <a:gd name="connsiteX141" fmla="*/ 566358 w 5309416"/>
                <a:gd name="connsiteY141" fmla="*/ 2982209 h 4572407"/>
                <a:gd name="connsiteX142" fmla="*/ 566358 w 5309416"/>
                <a:gd name="connsiteY142" fmla="*/ 3464415 h 4572407"/>
                <a:gd name="connsiteX143" fmla="*/ 62266 w 5309416"/>
                <a:gd name="connsiteY143" fmla="*/ 3464415 h 4572407"/>
                <a:gd name="connsiteX144" fmla="*/ 0 w 5309416"/>
                <a:gd name="connsiteY144" fmla="*/ 3526642 h 4572407"/>
                <a:gd name="connsiteX145" fmla="*/ 0 w 5309416"/>
                <a:gd name="connsiteY145" fmla="*/ 4510178 h 4572407"/>
                <a:gd name="connsiteX146" fmla="*/ 62266 w 5309416"/>
                <a:gd name="connsiteY146" fmla="*/ 4572405 h 4572407"/>
                <a:gd name="connsiteX147" fmla="*/ 1353431 w 5309416"/>
                <a:gd name="connsiteY147" fmla="*/ 4572405 h 4572407"/>
                <a:gd name="connsiteX148" fmla="*/ 1397595 w 5309416"/>
                <a:gd name="connsiteY148" fmla="*/ 4554265 h 4572407"/>
                <a:gd name="connsiteX149" fmla="*/ 1415850 w 5309416"/>
                <a:gd name="connsiteY149" fmla="*/ 4510178 h 4572407"/>
                <a:gd name="connsiteX150" fmla="*/ 1415850 w 5309416"/>
                <a:gd name="connsiteY150" fmla="*/ 3526642 h 4572407"/>
                <a:gd name="connsiteX151" fmla="*/ 1397671 w 5309416"/>
                <a:gd name="connsiteY151" fmla="*/ 3482632 h 4572407"/>
                <a:gd name="connsiteX152" fmla="*/ 1353699 w 5309416"/>
                <a:gd name="connsiteY152" fmla="*/ 3464415 h 4572407"/>
                <a:gd name="connsiteX153" fmla="*/ 690785 w 5309416"/>
                <a:gd name="connsiteY153" fmla="*/ 3464415 h 4572407"/>
                <a:gd name="connsiteX154" fmla="*/ 690785 w 5309416"/>
                <a:gd name="connsiteY154" fmla="*/ 3044441 h 4572407"/>
                <a:gd name="connsiteX155" fmla="*/ 2385005 w 5309416"/>
                <a:gd name="connsiteY155" fmla="*/ 3044441 h 4572407"/>
                <a:gd name="connsiteX156" fmla="*/ 2459096 w 5309416"/>
                <a:gd name="connsiteY156" fmla="*/ 3177888 h 4572407"/>
                <a:gd name="connsiteX157" fmla="*/ 2592503 w 5309416"/>
                <a:gd name="connsiteY157" fmla="*/ 3252055 h 4572407"/>
                <a:gd name="connsiteX158" fmla="*/ 2592503 w 5309416"/>
                <a:gd name="connsiteY158" fmla="*/ 3464418 h 4572407"/>
                <a:gd name="connsiteX159" fmla="*/ 2009113 w 5309416"/>
                <a:gd name="connsiteY159" fmla="*/ 3464418 h 4572407"/>
                <a:gd name="connsiteX160" fmla="*/ 1946809 w 5309416"/>
                <a:gd name="connsiteY160" fmla="*/ 3526645 h 4572407"/>
                <a:gd name="connsiteX161" fmla="*/ 1946809 w 5309416"/>
                <a:gd name="connsiteY161" fmla="*/ 4510181 h 4572407"/>
                <a:gd name="connsiteX162" fmla="*/ 2009036 w 5309416"/>
                <a:gd name="connsiteY162" fmla="*/ 4572408 h 4572407"/>
                <a:gd name="connsiteX163" fmla="*/ 3300300 w 5309416"/>
                <a:gd name="connsiteY163" fmla="*/ 4572408 h 4572407"/>
                <a:gd name="connsiteX164" fmla="*/ 3344349 w 5309416"/>
                <a:gd name="connsiteY164" fmla="*/ 4554191 h 4572407"/>
                <a:gd name="connsiteX165" fmla="*/ 3362604 w 5309416"/>
                <a:gd name="connsiteY165" fmla="*/ 4510181 h 4572407"/>
                <a:gd name="connsiteX166" fmla="*/ 3362604 w 5309416"/>
                <a:gd name="connsiteY166" fmla="*/ 3526645 h 4572407"/>
                <a:gd name="connsiteX167" fmla="*/ 3300376 w 5309416"/>
                <a:gd name="connsiteY167" fmla="*/ 3464418 h 4572407"/>
                <a:gd name="connsiteX168" fmla="*/ 2716908 w 5309416"/>
                <a:gd name="connsiteY168" fmla="*/ 3464418 h 4572407"/>
                <a:gd name="connsiteX169" fmla="*/ 2716908 w 5309416"/>
                <a:gd name="connsiteY169" fmla="*/ 3252055 h 4572407"/>
                <a:gd name="connsiteX170" fmla="*/ 2850315 w 5309416"/>
                <a:gd name="connsiteY170" fmla="*/ 3177888 h 4572407"/>
                <a:gd name="connsiteX171" fmla="*/ 2924406 w 5309416"/>
                <a:gd name="connsiteY171" fmla="*/ 3044441 h 4572407"/>
                <a:gd name="connsiteX172" fmla="*/ 4618626 w 5309416"/>
                <a:gd name="connsiteY172" fmla="*/ 3044441 h 4572407"/>
                <a:gd name="connsiteX173" fmla="*/ 4618626 w 5309416"/>
                <a:gd name="connsiteY173" fmla="*/ 3464415 h 4572407"/>
                <a:gd name="connsiteX174" fmla="*/ 3956133 w 5309416"/>
                <a:gd name="connsiteY174" fmla="*/ 3464415 h 4572407"/>
                <a:gd name="connsiteX175" fmla="*/ 3911932 w 5309416"/>
                <a:gd name="connsiteY175" fmla="*/ 3482555 h 4572407"/>
                <a:gd name="connsiteX176" fmla="*/ 3893600 w 5309416"/>
                <a:gd name="connsiteY176" fmla="*/ 3526642 h 4572407"/>
                <a:gd name="connsiteX177" fmla="*/ 3893600 w 5309416"/>
                <a:gd name="connsiteY177" fmla="*/ 4510178 h 4572407"/>
                <a:gd name="connsiteX178" fmla="*/ 3911817 w 5309416"/>
                <a:gd name="connsiteY178" fmla="*/ 4554188 h 4572407"/>
                <a:gd name="connsiteX179" fmla="*/ 3955866 w 5309416"/>
                <a:gd name="connsiteY179" fmla="*/ 4572405 h 4572407"/>
                <a:gd name="connsiteX180" fmla="*/ 5247228 w 5309416"/>
                <a:gd name="connsiteY180" fmla="*/ 4572405 h 4572407"/>
                <a:gd name="connsiteX181" fmla="*/ 5291200 w 5309416"/>
                <a:gd name="connsiteY181" fmla="*/ 4554188 h 4572407"/>
                <a:gd name="connsiteX182" fmla="*/ 5309417 w 5309416"/>
                <a:gd name="connsiteY182" fmla="*/ 4510178 h 4572407"/>
                <a:gd name="connsiteX183" fmla="*/ 5309417 w 5309416"/>
                <a:gd name="connsiteY183" fmla="*/ 3526642 h 4572407"/>
                <a:gd name="connsiteX184" fmla="*/ 5247228 w 5309416"/>
                <a:gd name="connsiteY184" fmla="*/ 3464415 h 457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5309416" h="4572407">
                  <a:moveTo>
                    <a:pt x="2208019" y="4259524"/>
                  </a:moveTo>
                  <a:cubicBezTo>
                    <a:pt x="2208096" y="4225273"/>
                    <a:pt x="2235881" y="4197527"/>
                    <a:pt x="2270131" y="4197489"/>
                  </a:cubicBezTo>
                  <a:lnTo>
                    <a:pt x="3039432" y="4197489"/>
                  </a:lnTo>
                  <a:cubicBezTo>
                    <a:pt x="3073799" y="4197489"/>
                    <a:pt x="3101660" y="4225350"/>
                    <a:pt x="3101660" y="4259716"/>
                  </a:cubicBezTo>
                  <a:cubicBezTo>
                    <a:pt x="3101660" y="4294083"/>
                    <a:pt x="3073799" y="4321944"/>
                    <a:pt x="3039432" y="4321944"/>
                  </a:cubicBezTo>
                  <a:lnTo>
                    <a:pt x="2270131" y="4321944"/>
                  </a:lnTo>
                  <a:cubicBezTo>
                    <a:pt x="2253637" y="4321944"/>
                    <a:pt x="2237831" y="4315362"/>
                    <a:pt x="2226197" y="4303689"/>
                  </a:cubicBezTo>
                  <a:cubicBezTo>
                    <a:pt x="2214563" y="4292017"/>
                    <a:pt x="2208018" y="4276211"/>
                    <a:pt x="2208018" y="4259716"/>
                  </a:cubicBezTo>
                  <a:close/>
                  <a:moveTo>
                    <a:pt x="2208019" y="3777436"/>
                  </a:moveTo>
                  <a:cubicBezTo>
                    <a:pt x="2208019" y="3743108"/>
                    <a:pt x="2235803" y="3715285"/>
                    <a:pt x="2270131" y="3715209"/>
                  </a:cubicBezTo>
                  <a:lnTo>
                    <a:pt x="3039432" y="3715209"/>
                  </a:lnTo>
                  <a:cubicBezTo>
                    <a:pt x="3056233" y="3714673"/>
                    <a:pt x="3072574" y="3721026"/>
                    <a:pt x="3084668" y="3732737"/>
                  </a:cubicBezTo>
                  <a:cubicBezTo>
                    <a:pt x="3096761" y="3744448"/>
                    <a:pt x="3103573" y="3760559"/>
                    <a:pt x="3103573" y="3777398"/>
                  </a:cubicBezTo>
                  <a:cubicBezTo>
                    <a:pt x="3103573" y="3794238"/>
                    <a:pt x="3096761" y="3810387"/>
                    <a:pt x="3084668" y="3822098"/>
                  </a:cubicBezTo>
                  <a:cubicBezTo>
                    <a:pt x="3072574" y="3833808"/>
                    <a:pt x="3056233" y="3840162"/>
                    <a:pt x="3039432" y="3839626"/>
                  </a:cubicBezTo>
                  <a:lnTo>
                    <a:pt x="2270131" y="3839626"/>
                  </a:lnTo>
                  <a:cubicBezTo>
                    <a:pt x="2235841" y="3839588"/>
                    <a:pt x="2208019" y="3811765"/>
                    <a:pt x="2208019" y="3777436"/>
                  </a:cubicBezTo>
                  <a:close/>
                  <a:moveTo>
                    <a:pt x="2208019" y="4018534"/>
                  </a:moveTo>
                  <a:cubicBezTo>
                    <a:pt x="2208019" y="4002040"/>
                    <a:pt x="2214564" y="3986234"/>
                    <a:pt x="2226198" y="3974562"/>
                  </a:cubicBezTo>
                  <a:cubicBezTo>
                    <a:pt x="2237832" y="3962890"/>
                    <a:pt x="2253638" y="3956345"/>
                    <a:pt x="2270132" y="3956307"/>
                  </a:cubicBezTo>
                  <a:lnTo>
                    <a:pt x="3039433" y="3956307"/>
                  </a:lnTo>
                  <a:cubicBezTo>
                    <a:pt x="3073762" y="3956307"/>
                    <a:pt x="3101584" y="3984168"/>
                    <a:pt x="3101584" y="4018496"/>
                  </a:cubicBezTo>
                  <a:cubicBezTo>
                    <a:pt x="3101584" y="4052824"/>
                    <a:pt x="3073763" y="4080686"/>
                    <a:pt x="3039433" y="4080686"/>
                  </a:cubicBezTo>
                  <a:lnTo>
                    <a:pt x="2270132" y="4080686"/>
                  </a:lnTo>
                  <a:cubicBezTo>
                    <a:pt x="2235842" y="4080647"/>
                    <a:pt x="2208059" y="4052863"/>
                    <a:pt x="2208020" y="4018534"/>
                  </a:cubicBezTo>
                  <a:close/>
                  <a:moveTo>
                    <a:pt x="1154826" y="4259524"/>
                  </a:moveTo>
                  <a:cubicBezTo>
                    <a:pt x="1154826" y="4293929"/>
                    <a:pt x="1126965" y="4321790"/>
                    <a:pt x="1092561" y="4321790"/>
                  </a:cubicBezTo>
                  <a:lnTo>
                    <a:pt x="323289" y="4321790"/>
                  </a:lnTo>
                  <a:cubicBezTo>
                    <a:pt x="288923" y="4321790"/>
                    <a:pt x="261062" y="4293929"/>
                    <a:pt x="261062" y="4259524"/>
                  </a:cubicBezTo>
                  <a:cubicBezTo>
                    <a:pt x="261062" y="4225158"/>
                    <a:pt x="288923" y="4197297"/>
                    <a:pt x="323289" y="4197297"/>
                  </a:cubicBezTo>
                  <a:lnTo>
                    <a:pt x="1092561" y="4197297"/>
                  </a:lnTo>
                  <a:cubicBezTo>
                    <a:pt x="1126965" y="4197297"/>
                    <a:pt x="1154826" y="4225158"/>
                    <a:pt x="1154826" y="4259524"/>
                  </a:cubicBezTo>
                  <a:close/>
                  <a:moveTo>
                    <a:pt x="323029" y="3715205"/>
                  </a:moveTo>
                  <a:lnTo>
                    <a:pt x="1092301" y="3715205"/>
                  </a:lnTo>
                  <a:cubicBezTo>
                    <a:pt x="1109101" y="3714669"/>
                    <a:pt x="1125443" y="3721022"/>
                    <a:pt x="1137536" y="3732733"/>
                  </a:cubicBezTo>
                  <a:cubicBezTo>
                    <a:pt x="1149630" y="3744444"/>
                    <a:pt x="1156442" y="3760555"/>
                    <a:pt x="1156442" y="3777394"/>
                  </a:cubicBezTo>
                  <a:cubicBezTo>
                    <a:pt x="1156442" y="3794234"/>
                    <a:pt x="1149630" y="3810383"/>
                    <a:pt x="1137536" y="3822094"/>
                  </a:cubicBezTo>
                  <a:cubicBezTo>
                    <a:pt x="1125443" y="3833804"/>
                    <a:pt x="1109102" y="3840158"/>
                    <a:pt x="1092301" y="3839622"/>
                  </a:cubicBezTo>
                  <a:lnTo>
                    <a:pt x="323304" y="3839622"/>
                  </a:lnTo>
                  <a:cubicBezTo>
                    <a:pt x="306464" y="3840158"/>
                    <a:pt x="290162" y="3833805"/>
                    <a:pt x="278068" y="3822094"/>
                  </a:cubicBezTo>
                  <a:cubicBezTo>
                    <a:pt x="265975" y="3810383"/>
                    <a:pt x="259163" y="3794233"/>
                    <a:pt x="259163" y="3777394"/>
                  </a:cubicBezTo>
                  <a:cubicBezTo>
                    <a:pt x="259163" y="3760556"/>
                    <a:pt x="265975" y="3744444"/>
                    <a:pt x="278068" y="3732733"/>
                  </a:cubicBezTo>
                  <a:cubicBezTo>
                    <a:pt x="290162" y="3721023"/>
                    <a:pt x="306464" y="3714669"/>
                    <a:pt x="323304" y="3715205"/>
                  </a:cubicBezTo>
                  <a:close/>
                  <a:moveTo>
                    <a:pt x="1154826" y="4018534"/>
                  </a:moveTo>
                  <a:cubicBezTo>
                    <a:pt x="1154750" y="4052863"/>
                    <a:pt x="1126889" y="4080686"/>
                    <a:pt x="1092561" y="4080686"/>
                  </a:cubicBezTo>
                  <a:lnTo>
                    <a:pt x="323289" y="4080686"/>
                  </a:lnTo>
                  <a:cubicBezTo>
                    <a:pt x="288961" y="4080686"/>
                    <a:pt x="261100" y="4052824"/>
                    <a:pt x="261100" y="4018496"/>
                  </a:cubicBezTo>
                  <a:cubicBezTo>
                    <a:pt x="261100" y="3984168"/>
                    <a:pt x="288961" y="3956307"/>
                    <a:pt x="323289" y="3956307"/>
                  </a:cubicBezTo>
                  <a:lnTo>
                    <a:pt x="1092561" y="3956307"/>
                  </a:lnTo>
                  <a:cubicBezTo>
                    <a:pt x="1126965" y="3956307"/>
                    <a:pt x="1154826" y="3984168"/>
                    <a:pt x="1154826" y="4018534"/>
                  </a:cubicBezTo>
                  <a:close/>
                  <a:moveTo>
                    <a:pt x="5048407" y="4259524"/>
                  </a:moveTo>
                  <a:cubicBezTo>
                    <a:pt x="5048446" y="4276057"/>
                    <a:pt x="5041901" y="4291901"/>
                    <a:pt x="5030228" y="4303573"/>
                  </a:cubicBezTo>
                  <a:cubicBezTo>
                    <a:pt x="5018518" y="4315246"/>
                    <a:pt x="5002674" y="4321829"/>
                    <a:pt x="4986180" y="4321790"/>
                  </a:cubicBezTo>
                  <a:lnTo>
                    <a:pt x="4217025" y="4321790"/>
                  </a:lnTo>
                  <a:cubicBezTo>
                    <a:pt x="4182621" y="4321790"/>
                    <a:pt x="4154760" y="4293929"/>
                    <a:pt x="4154760" y="4259524"/>
                  </a:cubicBezTo>
                  <a:cubicBezTo>
                    <a:pt x="4154760" y="4225158"/>
                    <a:pt x="4182621" y="4197297"/>
                    <a:pt x="4217025" y="4197297"/>
                  </a:cubicBezTo>
                  <a:lnTo>
                    <a:pt x="4986297" y="4197297"/>
                  </a:lnTo>
                  <a:cubicBezTo>
                    <a:pt x="5002792" y="4197297"/>
                    <a:pt x="5018636" y="4203841"/>
                    <a:pt x="5030308" y="4215514"/>
                  </a:cubicBezTo>
                  <a:cubicBezTo>
                    <a:pt x="5041980" y="4227187"/>
                    <a:pt x="5048563" y="4243030"/>
                    <a:pt x="5048525" y="4259524"/>
                  </a:cubicBezTo>
                  <a:close/>
                  <a:moveTo>
                    <a:pt x="4217031" y="3715205"/>
                  </a:moveTo>
                  <a:lnTo>
                    <a:pt x="4986303" y="3715205"/>
                  </a:lnTo>
                  <a:cubicBezTo>
                    <a:pt x="5003143" y="3714669"/>
                    <a:pt x="5019445" y="3721022"/>
                    <a:pt x="5031539" y="3732733"/>
                  </a:cubicBezTo>
                  <a:cubicBezTo>
                    <a:pt x="5043632" y="3744444"/>
                    <a:pt x="5050444" y="3760555"/>
                    <a:pt x="5050444" y="3777394"/>
                  </a:cubicBezTo>
                  <a:cubicBezTo>
                    <a:pt x="5050444" y="3794234"/>
                    <a:pt x="5043632" y="3810383"/>
                    <a:pt x="5031539" y="3822094"/>
                  </a:cubicBezTo>
                  <a:cubicBezTo>
                    <a:pt x="5019445" y="3833804"/>
                    <a:pt x="5003143" y="3840158"/>
                    <a:pt x="4986303" y="3839622"/>
                  </a:cubicBezTo>
                  <a:lnTo>
                    <a:pt x="4217031" y="3839622"/>
                  </a:lnTo>
                  <a:cubicBezTo>
                    <a:pt x="4183392" y="3838589"/>
                    <a:pt x="4156679" y="3811034"/>
                    <a:pt x="4156679" y="3777394"/>
                  </a:cubicBezTo>
                  <a:cubicBezTo>
                    <a:pt x="4156679" y="3743793"/>
                    <a:pt x="4183392" y="3716239"/>
                    <a:pt x="4217031" y="3715205"/>
                  </a:cubicBezTo>
                  <a:close/>
                  <a:moveTo>
                    <a:pt x="5048828" y="4018534"/>
                  </a:moveTo>
                  <a:cubicBezTo>
                    <a:pt x="5048790" y="4035029"/>
                    <a:pt x="5042246" y="4050835"/>
                    <a:pt x="5030573" y="4062507"/>
                  </a:cubicBezTo>
                  <a:cubicBezTo>
                    <a:pt x="5018901" y="4074141"/>
                    <a:pt x="5003057" y="4080686"/>
                    <a:pt x="4986601" y="4080686"/>
                  </a:cubicBezTo>
                  <a:lnTo>
                    <a:pt x="4217025" y="4080686"/>
                  </a:lnTo>
                  <a:cubicBezTo>
                    <a:pt x="4182659" y="4080686"/>
                    <a:pt x="4154836" y="4052824"/>
                    <a:pt x="4154836" y="4018496"/>
                  </a:cubicBezTo>
                  <a:cubicBezTo>
                    <a:pt x="4154836" y="3984168"/>
                    <a:pt x="4182658" y="3956307"/>
                    <a:pt x="4217025" y="3956307"/>
                  </a:cubicBezTo>
                  <a:lnTo>
                    <a:pt x="4986297" y="3956307"/>
                  </a:lnTo>
                  <a:cubicBezTo>
                    <a:pt x="5002792" y="3956269"/>
                    <a:pt x="5018674" y="3962813"/>
                    <a:pt x="5030346" y="3974524"/>
                  </a:cubicBezTo>
                  <a:cubicBezTo>
                    <a:pt x="5042019" y="3986196"/>
                    <a:pt x="5048563" y="4002040"/>
                    <a:pt x="5048525" y="4018534"/>
                  </a:cubicBezTo>
                  <a:close/>
                  <a:moveTo>
                    <a:pt x="5185411" y="4448080"/>
                  </a:moveTo>
                  <a:lnTo>
                    <a:pt x="5185372" y="3588841"/>
                  </a:lnTo>
                  <a:lnTo>
                    <a:pt x="4018336" y="3588841"/>
                  </a:lnTo>
                  <a:lnTo>
                    <a:pt x="4018336" y="4448080"/>
                  </a:lnTo>
                  <a:close/>
                  <a:moveTo>
                    <a:pt x="2654808" y="3134773"/>
                  </a:moveTo>
                  <a:cubicBezTo>
                    <a:pt x="2614357" y="3134773"/>
                    <a:pt x="2575552" y="3118700"/>
                    <a:pt x="2546961" y="3090112"/>
                  </a:cubicBezTo>
                  <a:cubicBezTo>
                    <a:pt x="2518335" y="3061524"/>
                    <a:pt x="2502262" y="3022757"/>
                    <a:pt x="2502262" y="2982304"/>
                  </a:cubicBezTo>
                  <a:cubicBezTo>
                    <a:pt x="2502224" y="2941853"/>
                    <a:pt x="2518297" y="2903047"/>
                    <a:pt x="2546885" y="2874457"/>
                  </a:cubicBezTo>
                  <a:cubicBezTo>
                    <a:pt x="2575473" y="2845831"/>
                    <a:pt x="2614279" y="2829758"/>
                    <a:pt x="2654732" y="2829758"/>
                  </a:cubicBezTo>
                  <a:cubicBezTo>
                    <a:pt x="2695183" y="2829758"/>
                    <a:pt x="2733989" y="2845831"/>
                    <a:pt x="2762579" y="2874419"/>
                  </a:cubicBezTo>
                  <a:cubicBezTo>
                    <a:pt x="2791169" y="2903007"/>
                    <a:pt x="2807240" y="2941813"/>
                    <a:pt x="2807240" y="2982266"/>
                  </a:cubicBezTo>
                  <a:cubicBezTo>
                    <a:pt x="2807202" y="3022679"/>
                    <a:pt x="2791129" y="3061447"/>
                    <a:pt x="2762541" y="3090035"/>
                  </a:cubicBezTo>
                  <a:cubicBezTo>
                    <a:pt x="2733991" y="3118623"/>
                    <a:pt x="2695224" y="3134696"/>
                    <a:pt x="2654811" y="3134772"/>
                  </a:cubicBezTo>
                  <a:close/>
                  <a:moveTo>
                    <a:pt x="3238238" y="4448178"/>
                  </a:moveTo>
                  <a:lnTo>
                    <a:pt x="3238238" y="3588900"/>
                  </a:lnTo>
                  <a:lnTo>
                    <a:pt x="2071398" y="3588900"/>
                  </a:lnTo>
                  <a:lnTo>
                    <a:pt x="2071398" y="4448139"/>
                  </a:lnTo>
                  <a:close/>
                  <a:moveTo>
                    <a:pt x="1291448" y="4448178"/>
                  </a:moveTo>
                  <a:lnTo>
                    <a:pt x="1291486" y="3588900"/>
                  </a:lnTo>
                  <a:lnTo>
                    <a:pt x="124548" y="3588900"/>
                  </a:lnTo>
                  <a:lnTo>
                    <a:pt x="124548" y="4448139"/>
                  </a:lnTo>
                  <a:close/>
                  <a:moveTo>
                    <a:pt x="1249695" y="124209"/>
                  </a:moveTo>
                  <a:lnTo>
                    <a:pt x="2039511" y="124209"/>
                  </a:lnTo>
                  <a:lnTo>
                    <a:pt x="2378542" y="610010"/>
                  </a:lnTo>
                  <a:lnTo>
                    <a:pt x="2378542" y="610049"/>
                  </a:lnTo>
                  <a:cubicBezTo>
                    <a:pt x="2390176" y="626734"/>
                    <a:pt x="2409234" y="636685"/>
                    <a:pt x="2429594" y="636646"/>
                  </a:cubicBezTo>
                  <a:lnTo>
                    <a:pt x="4059936" y="636646"/>
                  </a:lnTo>
                  <a:lnTo>
                    <a:pt x="4059936" y="2282566"/>
                  </a:lnTo>
                  <a:lnTo>
                    <a:pt x="1249626" y="2282566"/>
                  </a:lnTo>
                  <a:close/>
                  <a:moveTo>
                    <a:pt x="3920102" y="253982"/>
                  </a:moveTo>
                  <a:lnTo>
                    <a:pt x="2281530" y="254020"/>
                  </a:lnTo>
                  <a:lnTo>
                    <a:pt x="2461974" y="512420"/>
                  </a:lnTo>
                  <a:lnTo>
                    <a:pt x="3920083" y="512420"/>
                  </a:lnTo>
                  <a:lnTo>
                    <a:pt x="3920083" y="253824"/>
                  </a:lnTo>
                  <a:close/>
                  <a:moveTo>
                    <a:pt x="5247420" y="3464604"/>
                  </a:moveTo>
                  <a:lnTo>
                    <a:pt x="4743092" y="3464642"/>
                  </a:lnTo>
                  <a:lnTo>
                    <a:pt x="4743092" y="2982250"/>
                  </a:lnTo>
                  <a:cubicBezTo>
                    <a:pt x="4743054" y="2947884"/>
                    <a:pt x="4715231" y="2920023"/>
                    <a:pt x="4680864" y="2919985"/>
                  </a:cubicBezTo>
                  <a:lnTo>
                    <a:pt x="2924432" y="2919985"/>
                  </a:lnTo>
                  <a:cubicBezTo>
                    <a:pt x="2912646" y="2869507"/>
                    <a:pt x="2887005" y="2823314"/>
                    <a:pt x="2850304" y="2786616"/>
                  </a:cubicBezTo>
                  <a:cubicBezTo>
                    <a:pt x="2813641" y="2749953"/>
                    <a:pt x="2767449" y="2724274"/>
                    <a:pt x="2716935" y="2712525"/>
                  </a:cubicBezTo>
                  <a:lnTo>
                    <a:pt x="2716935" y="2406708"/>
                  </a:lnTo>
                  <a:lnTo>
                    <a:pt x="4122139" y="2406708"/>
                  </a:lnTo>
                  <a:cubicBezTo>
                    <a:pt x="4138634" y="2406669"/>
                    <a:pt x="4154439" y="2400125"/>
                    <a:pt x="4166112" y="2388452"/>
                  </a:cubicBezTo>
                  <a:cubicBezTo>
                    <a:pt x="4177746" y="2376780"/>
                    <a:pt x="4184290" y="2360936"/>
                    <a:pt x="4184290" y="2344480"/>
                  </a:cubicBezTo>
                  <a:lnTo>
                    <a:pt x="4184290" y="574626"/>
                  </a:lnTo>
                  <a:cubicBezTo>
                    <a:pt x="4184252" y="540336"/>
                    <a:pt x="4156468" y="512514"/>
                    <a:pt x="4122139" y="512475"/>
                  </a:cubicBezTo>
                  <a:lnTo>
                    <a:pt x="4044527" y="512475"/>
                  </a:lnTo>
                  <a:lnTo>
                    <a:pt x="4044527" y="191462"/>
                  </a:lnTo>
                  <a:cubicBezTo>
                    <a:pt x="4044527" y="174929"/>
                    <a:pt x="4037945" y="159085"/>
                    <a:pt x="4026234" y="147413"/>
                  </a:cubicBezTo>
                  <a:cubicBezTo>
                    <a:pt x="4014523" y="135740"/>
                    <a:pt x="3998641" y="129234"/>
                    <a:pt x="3982109" y="129311"/>
                  </a:cubicBezTo>
                  <a:lnTo>
                    <a:pt x="2194620" y="129311"/>
                  </a:lnTo>
                  <a:lnTo>
                    <a:pt x="2122940" y="26636"/>
                  </a:lnTo>
                  <a:cubicBezTo>
                    <a:pt x="2111306" y="9989"/>
                    <a:pt x="2092248" y="39"/>
                    <a:pt x="2071926" y="0"/>
                  </a:cubicBezTo>
                  <a:lnTo>
                    <a:pt x="1187430" y="0"/>
                  </a:lnTo>
                  <a:cubicBezTo>
                    <a:pt x="1153140" y="0"/>
                    <a:pt x="1125357" y="27746"/>
                    <a:pt x="1125241" y="62036"/>
                  </a:cubicBezTo>
                  <a:lnTo>
                    <a:pt x="1125241" y="2344476"/>
                  </a:lnTo>
                  <a:cubicBezTo>
                    <a:pt x="1125241" y="2360970"/>
                    <a:pt x="1131785" y="2376814"/>
                    <a:pt x="1143458" y="2388487"/>
                  </a:cubicBezTo>
                  <a:cubicBezTo>
                    <a:pt x="1155092" y="2400159"/>
                    <a:pt x="1170936" y="2406703"/>
                    <a:pt x="1187430" y="2406703"/>
                  </a:cubicBezTo>
                  <a:lnTo>
                    <a:pt x="2592537" y="2406703"/>
                  </a:lnTo>
                  <a:lnTo>
                    <a:pt x="2592537" y="2712561"/>
                  </a:lnTo>
                  <a:cubicBezTo>
                    <a:pt x="2542021" y="2724309"/>
                    <a:pt x="2495828" y="2749989"/>
                    <a:pt x="2459168" y="2786652"/>
                  </a:cubicBezTo>
                  <a:cubicBezTo>
                    <a:pt x="2422467" y="2823314"/>
                    <a:pt x="2396826" y="2869506"/>
                    <a:pt x="2385039" y="2920020"/>
                  </a:cubicBezTo>
                  <a:lnTo>
                    <a:pt x="628509" y="2920020"/>
                  </a:lnTo>
                  <a:cubicBezTo>
                    <a:pt x="594181" y="2920058"/>
                    <a:pt x="566397" y="2947881"/>
                    <a:pt x="566358" y="2982209"/>
                  </a:cubicBezTo>
                  <a:lnTo>
                    <a:pt x="566358" y="3464415"/>
                  </a:lnTo>
                  <a:lnTo>
                    <a:pt x="62266" y="3464415"/>
                  </a:lnTo>
                  <a:cubicBezTo>
                    <a:pt x="27899" y="3464453"/>
                    <a:pt x="38" y="3492276"/>
                    <a:pt x="0" y="3526642"/>
                  </a:cubicBezTo>
                  <a:lnTo>
                    <a:pt x="0" y="4510178"/>
                  </a:lnTo>
                  <a:cubicBezTo>
                    <a:pt x="38" y="4544544"/>
                    <a:pt x="27899" y="4572367"/>
                    <a:pt x="62266" y="4572405"/>
                  </a:cubicBezTo>
                  <a:lnTo>
                    <a:pt x="1353431" y="4572405"/>
                  </a:lnTo>
                  <a:cubicBezTo>
                    <a:pt x="1370002" y="4572482"/>
                    <a:pt x="1385884" y="4565938"/>
                    <a:pt x="1397595" y="4554265"/>
                  </a:cubicBezTo>
                  <a:cubicBezTo>
                    <a:pt x="1409305" y="4542593"/>
                    <a:pt x="1415888" y="4526710"/>
                    <a:pt x="1415850" y="4510178"/>
                  </a:cubicBezTo>
                  <a:lnTo>
                    <a:pt x="1415850" y="3526642"/>
                  </a:lnTo>
                  <a:cubicBezTo>
                    <a:pt x="1415888" y="3510148"/>
                    <a:pt x="1409344" y="3494304"/>
                    <a:pt x="1397671" y="3482632"/>
                  </a:cubicBezTo>
                  <a:cubicBezTo>
                    <a:pt x="1385999" y="3470959"/>
                    <a:pt x="1370193" y="3464415"/>
                    <a:pt x="1353699" y="3464415"/>
                  </a:cubicBezTo>
                  <a:lnTo>
                    <a:pt x="690785" y="3464415"/>
                  </a:lnTo>
                  <a:lnTo>
                    <a:pt x="690785" y="3044441"/>
                  </a:lnTo>
                  <a:lnTo>
                    <a:pt x="2385005" y="3044441"/>
                  </a:lnTo>
                  <a:cubicBezTo>
                    <a:pt x="2396754" y="3094957"/>
                    <a:pt x="2422433" y="3141187"/>
                    <a:pt x="2459096" y="3177888"/>
                  </a:cubicBezTo>
                  <a:cubicBezTo>
                    <a:pt x="2495759" y="3214588"/>
                    <a:pt x="2541988" y="3240268"/>
                    <a:pt x="2592503" y="3252055"/>
                  </a:cubicBezTo>
                  <a:lnTo>
                    <a:pt x="2592503" y="3464418"/>
                  </a:lnTo>
                  <a:lnTo>
                    <a:pt x="2009113" y="3464418"/>
                  </a:lnTo>
                  <a:cubicBezTo>
                    <a:pt x="1974708" y="3464418"/>
                    <a:pt x="1946847" y="3492279"/>
                    <a:pt x="1946809" y="3526645"/>
                  </a:cubicBezTo>
                  <a:lnTo>
                    <a:pt x="1946809" y="4510181"/>
                  </a:lnTo>
                  <a:cubicBezTo>
                    <a:pt x="1946847" y="4544547"/>
                    <a:pt x="1974670" y="4572370"/>
                    <a:pt x="2009036" y="4572408"/>
                  </a:cubicBezTo>
                  <a:lnTo>
                    <a:pt x="3300300" y="4572408"/>
                  </a:lnTo>
                  <a:cubicBezTo>
                    <a:pt x="3316833" y="4572408"/>
                    <a:pt x="3332677" y="4565864"/>
                    <a:pt x="3344349" y="4554191"/>
                  </a:cubicBezTo>
                  <a:cubicBezTo>
                    <a:pt x="3356059" y="4542519"/>
                    <a:pt x="3362604" y="4526675"/>
                    <a:pt x="3362604" y="4510181"/>
                  </a:cubicBezTo>
                  <a:lnTo>
                    <a:pt x="3362604" y="3526645"/>
                  </a:lnTo>
                  <a:cubicBezTo>
                    <a:pt x="3362604" y="3492279"/>
                    <a:pt x="3334743" y="3464418"/>
                    <a:pt x="3300376" y="3464418"/>
                  </a:cubicBezTo>
                  <a:lnTo>
                    <a:pt x="2716908" y="3464418"/>
                  </a:lnTo>
                  <a:lnTo>
                    <a:pt x="2716908" y="3252055"/>
                  </a:lnTo>
                  <a:cubicBezTo>
                    <a:pt x="2767423" y="3240268"/>
                    <a:pt x="2813654" y="3214589"/>
                    <a:pt x="2850315" y="3177888"/>
                  </a:cubicBezTo>
                  <a:cubicBezTo>
                    <a:pt x="2886976" y="3141187"/>
                    <a:pt x="2912658" y="3094957"/>
                    <a:pt x="2924406" y="3044441"/>
                  </a:cubicBezTo>
                  <a:lnTo>
                    <a:pt x="4618626" y="3044441"/>
                  </a:lnTo>
                  <a:lnTo>
                    <a:pt x="4618626" y="3464415"/>
                  </a:lnTo>
                  <a:lnTo>
                    <a:pt x="3956133" y="3464415"/>
                  </a:lnTo>
                  <a:cubicBezTo>
                    <a:pt x="3939562" y="3464338"/>
                    <a:pt x="3923642" y="3470844"/>
                    <a:pt x="3911932" y="3482555"/>
                  </a:cubicBezTo>
                  <a:cubicBezTo>
                    <a:pt x="3900183" y="3494228"/>
                    <a:pt x="3893600" y="3510110"/>
                    <a:pt x="3893600" y="3526642"/>
                  </a:cubicBezTo>
                  <a:lnTo>
                    <a:pt x="3893600" y="4510178"/>
                  </a:lnTo>
                  <a:cubicBezTo>
                    <a:pt x="3893600" y="4526672"/>
                    <a:pt x="3900145" y="4542516"/>
                    <a:pt x="3911817" y="4554188"/>
                  </a:cubicBezTo>
                  <a:cubicBezTo>
                    <a:pt x="3923528" y="4565861"/>
                    <a:pt x="3939371" y="4572405"/>
                    <a:pt x="3955866" y="4572405"/>
                  </a:cubicBezTo>
                  <a:lnTo>
                    <a:pt x="5247228" y="4572405"/>
                  </a:lnTo>
                  <a:cubicBezTo>
                    <a:pt x="5263722" y="4572405"/>
                    <a:pt x="5279566" y="4565861"/>
                    <a:pt x="5291200" y="4554188"/>
                  </a:cubicBezTo>
                  <a:cubicBezTo>
                    <a:pt x="5302872" y="4542516"/>
                    <a:pt x="5309417" y="4526672"/>
                    <a:pt x="5309417" y="4510178"/>
                  </a:cubicBezTo>
                  <a:lnTo>
                    <a:pt x="5309417" y="3526642"/>
                  </a:lnTo>
                  <a:cubicBezTo>
                    <a:pt x="5309417" y="3492314"/>
                    <a:pt x="5281595" y="3464453"/>
                    <a:pt x="5247228" y="3464415"/>
                  </a:cubicBezTo>
                  <a:close/>
                </a:path>
              </a:pathLst>
            </a:custGeom>
            <a:solidFill>
              <a:schemeClr val="tx1"/>
            </a:solidFill>
            <a:ln w="9797" cap="flat">
              <a:noFill/>
              <a:prstDash val="solid"/>
              <a:miter/>
            </a:ln>
          </p:spPr>
          <p:txBody>
            <a:bodyPr rtlCol="0" anchor="ctr"/>
            <a:lstStyle/>
            <a:p>
              <a:endParaRPr lang="en-US" dirty="0"/>
            </a:p>
          </p:txBody>
        </p:sp>
      </p:grpSp>
      <p:grpSp>
        <p:nvGrpSpPr>
          <p:cNvPr id="40" name="Group 39">
            <a:extLst>
              <a:ext uri="{FF2B5EF4-FFF2-40B4-BE49-F238E27FC236}">
                <a16:creationId xmlns:a16="http://schemas.microsoft.com/office/drawing/2014/main" id="{DBC414EE-AFFB-7EFD-4DC2-9FD159774E47}"/>
              </a:ext>
            </a:extLst>
          </p:cNvPr>
          <p:cNvGrpSpPr/>
          <p:nvPr/>
        </p:nvGrpSpPr>
        <p:grpSpPr>
          <a:xfrm>
            <a:off x="6502742" y="3087377"/>
            <a:ext cx="731520" cy="731520"/>
            <a:chOff x="6502742" y="3087377"/>
            <a:chExt cx="731520" cy="731520"/>
          </a:xfrm>
        </p:grpSpPr>
        <p:sp>
          <p:nvSpPr>
            <p:cNvPr id="49" name="Google Shape;518;p34">
              <a:extLst>
                <a:ext uri="{FF2B5EF4-FFF2-40B4-BE49-F238E27FC236}">
                  <a16:creationId xmlns:a16="http://schemas.microsoft.com/office/drawing/2014/main" id="{ACDE7EE6-330E-3BBB-19B2-F0253F8E94EA}"/>
                </a:ext>
              </a:extLst>
            </p:cNvPr>
            <p:cNvSpPr>
              <a:spLocks noChangeAspect="1"/>
            </p:cNvSpPr>
            <p:nvPr/>
          </p:nvSpPr>
          <p:spPr>
            <a:xfrm>
              <a:off x="6502742" y="3087377"/>
              <a:ext cx="731520" cy="731520"/>
            </a:xfrm>
            <a:custGeom>
              <a:avLst/>
              <a:gdLst/>
              <a:ahLst/>
              <a:cxnLst/>
              <a:rect l="l" t="t" r="r" b="b"/>
              <a:pathLst>
                <a:path w="209017" h="209017" extrusionOk="0">
                  <a:moveTo>
                    <a:pt x="104508" y="0"/>
                  </a:moveTo>
                  <a:cubicBezTo>
                    <a:pt x="46781" y="0"/>
                    <a:pt x="0" y="46781"/>
                    <a:pt x="0" y="104508"/>
                  </a:cubicBezTo>
                  <a:cubicBezTo>
                    <a:pt x="0" y="132211"/>
                    <a:pt x="11007" y="158805"/>
                    <a:pt x="30599" y="178397"/>
                  </a:cubicBezTo>
                  <a:cubicBezTo>
                    <a:pt x="50211" y="197988"/>
                    <a:pt x="76784" y="209016"/>
                    <a:pt x="104508" y="209016"/>
                  </a:cubicBezTo>
                  <a:cubicBezTo>
                    <a:pt x="132211" y="209016"/>
                    <a:pt x="158805" y="197988"/>
                    <a:pt x="178397" y="178397"/>
                  </a:cubicBezTo>
                  <a:cubicBezTo>
                    <a:pt x="197988" y="158805"/>
                    <a:pt x="209016" y="132211"/>
                    <a:pt x="209016" y="104508"/>
                  </a:cubicBezTo>
                  <a:cubicBezTo>
                    <a:pt x="209016" y="76784"/>
                    <a:pt x="197988" y="50211"/>
                    <a:pt x="178397" y="30599"/>
                  </a:cubicBezTo>
                  <a:cubicBezTo>
                    <a:pt x="158805" y="11007"/>
                    <a:pt x="132211" y="0"/>
                    <a:pt x="104508" y="0"/>
                  </a:cubicBezTo>
                  <a:close/>
                </a:path>
              </a:pathLst>
            </a:custGeom>
            <a:solidFill>
              <a:srgbClr val="F2F2F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308" name="Graphic 307" descr="Target Audience outline">
              <a:extLst>
                <a:ext uri="{FF2B5EF4-FFF2-40B4-BE49-F238E27FC236}">
                  <a16:creationId xmlns:a16="http://schemas.microsoft.com/office/drawing/2014/main" id="{D294BCB6-E374-9B56-D982-46D028485B8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33281" y="3217916"/>
              <a:ext cx="470442" cy="470442"/>
            </a:xfrm>
            <a:prstGeom prst="rect">
              <a:avLst/>
            </a:prstGeom>
          </p:spPr>
        </p:pic>
      </p:grpSp>
      <p:grpSp>
        <p:nvGrpSpPr>
          <p:cNvPr id="56" name="Group 55">
            <a:extLst>
              <a:ext uri="{FF2B5EF4-FFF2-40B4-BE49-F238E27FC236}">
                <a16:creationId xmlns:a16="http://schemas.microsoft.com/office/drawing/2014/main" id="{DCA3A96B-450A-CDF3-1613-68F7435ABA1E}"/>
              </a:ext>
            </a:extLst>
          </p:cNvPr>
          <p:cNvGrpSpPr/>
          <p:nvPr/>
        </p:nvGrpSpPr>
        <p:grpSpPr>
          <a:xfrm>
            <a:off x="6502742" y="4231208"/>
            <a:ext cx="731520" cy="731520"/>
            <a:chOff x="6502742" y="4231208"/>
            <a:chExt cx="731520" cy="731520"/>
          </a:xfrm>
        </p:grpSpPr>
        <p:sp>
          <p:nvSpPr>
            <p:cNvPr id="50" name="Google Shape;518;p34">
              <a:extLst>
                <a:ext uri="{FF2B5EF4-FFF2-40B4-BE49-F238E27FC236}">
                  <a16:creationId xmlns:a16="http://schemas.microsoft.com/office/drawing/2014/main" id="{72FAB73F-38EF-211C-8BDE-51494CB65C35}"/>
                </a:ext>
              </a:extLst>
            </p:cNvPr>
            <p:cNvSpPr>
              <a:spLocks noChangeAspect="1"/>
            </p:cNvSpPr>
            <p:nvPr/>
          </p:nvSpPr>
          <p:spPr>
            <a:xfrm>
              <a:off x="6502742" y="4231208"/>
              <a:ext cx="731520" cy="731520"/>
            </a:xfrm>
            <a:custGeom>
              <a:avLst/>
              <a:gdLst/>
              <a:ahLst/>
              <a:cxnLst/>
              <a:rect l="l" t="t" r="r" b="b"/>
              <a:pathLst>
                <a:path w="209017" h="209017" extrusionOk="0">
                  <a:moveTo>
                    <a:pt x="104508" y="0"/>
                  </a:moveTo>
                  <a:cubicBezTo>
                    <a:pt x="46781" y="0"/>
                    <a:pt x="0" y="46781"/>
                    <a:pt x="0" y="104508"/>
                  </a:cubicBezTo>
                  <a:cubicBezTo>
                    <a:pt x="0" y="132211"/>
                    <a:pt x="11007" y="158805"/>
                    <a:pt x="30599" y="178397"/>
                  </a:cubicBezTo>
                  <a:cubicBezTo>
                    <a:pt x="50211" y="197988"/>
                    <a:pt x="76784" y="209016"/>
                    <a:pt x="104508" y="209016"/>
                  </a:cubicBezTo>
                  <a:cubicBezTo>
                    <a:pt x="132211" y="209016"/>
                    <a:pt x="158805" y="197988"/>
                    <a:pt x="178397" y="178397"/>
                  </a:cubicBezTo>
                  <a:cubicBezTo>
                    <a:pt x="197988" y="158805"/>
                    <a:pt x="209016" y="132211"/>
                    <a:pt x="209016" y="104508"/>
                  </a:cubicBezTo>
                  <a:cubicBezTo>
                    <a:pt x="209016" y="76784"/>
                    <a:pt x="197988" y="50211"/>
                    <a:pt x="178397" y="30599"/>
                  </a:cubicBezTo>
                  <a:cubicBezTo>
                    <a:pt x="158805" y="11007"/>
                    <a:pt x="132211" y="0"/>
                    <a:pt x="104508" y="0"/>
                  </a:cubicBezTo>
                  <a:close/>
                </a:path>
              </a:pathLst>
            </a:custGeom>
            <a:solidFill>
              <a:srgbClr val="F2F2F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354" name="Group 353">
              <a:extLst>
                <a:ext uri="{FF2B5EF4-FFF2-40B4-BE49-F238E27FC236}">
                  <a16:creationId xmlns:a16="http://schemas.microsoft.com/office/drawing/2014/main" id="{8E0CDE58-0D69-3AD0-4055-1A1BF3FB7616}"/>
                </a:ext>
              </a:extLst>
            </p:cNvPr>
            <p:cNvGrpSpPr/>
            <p:nvPr/>
          </p:nvGrpSpPr>
          <p:grpSpPr>
            <a:xfrm>
              <a:off x="6646676" y="4436963"/>
              <a:ext cx="443652" cy="320011"/>
              <a:chOff x="3736870" y="1041534"/>
              <a:chExt cx="4718274" cy="3403344"/>
            </a:xfrm>
            <a:solidFill>
              <a:schemeClr val="tx1"/>
            </a:solidFill>
          </p:grpSpPr>
          <p:sp>
            <p:nvSpPr>
              <p:cNvPr id="312" name="Freeform: Shape 311">
                <a:extLst>
                  <a:ext uri="{FF2B5EF4-FFF2-40B4-BE49-F238E27FC236}">
                    <a16:creationId xmlns:a16="http://schemas.microsoft.com/office/drawing/2014/main" id="{69F103EC-6CE6-8691-4C53-8616112F9BFC}"/>
                  </a:ext>
                </a:extLst>
              </p:cNvPr>
              <p:cNvSpPr/>
              <p:nvPr/>
            </p:nvSpPr>
            <p:spPr>
              <a:xfrm>
                <a:off x="3736870" y="1041534"/>
                <a:ext cx="4718274" cy="3403344"/>
              </a:xfrm>
              <a:custGeom>
                <a:avLst/>
                <a:gdLst>
                  <a:gd name="connsiteX0" fmla="*/ 3226666 w 4718274"/>
                  <a:gd name="connsiteY0" fmla="*/ 0 h 3403344"/>
                  <a:gd name="connsiteX1" fmla="*/ 3281508 w 4718274"/>
                  <a:gd name="connsiteY1" fmla="*/ 54841 h 3403344"/>
                  <a:gd name="connsiteX2" fmla="*/ 3281508 w 4718274"/>
                  <a:gd name="connsiteY2" fmla="*/ 665213 h 3403344"/>
                  <a:gd name="connsiteX3" fmla="*/ 4663395 w 4718274"/>
                  <a:gd name="connsiteY3" fmla="*/ 665213 h 3403344"/>
                  <a:gd name="connsiteX4" fmla="*/ 4718275 w 4718274"/>
                  <a:gd name="connsiteY4" fmla="*/ 720093 h 3403344"/>
                  <a:gd name="connsiteX5" fmla="*/ 4718275 w 4718274"/>
                  <a:gd name="connsiteY5" fmla="*/ 2698626 h 3403344"/>
                  <a:gd name="connsiteX6" fmla="*/ 4663395 w 4718274"/>
                  <a:gd name="connsiteY6" fmla="*/ 2753468 h 3403344"/>
                  <a:gd name="connsiteX7" fmla="*/ 4131900 w 4718274"/>
                  <a:gd name="connsiteY7" fmla="*/ 2753468 h 3403344"/>
                  <a:gd name="connsiteX8" fmla="*/ 4135344 w 4718274"/>
                  <a:gd name="connsiteY8" fmla="*/ 3346694 h 3403344"/>
                  <a:gd name="connsiteX9" fmla="*/ 4099446 w 4718274"/>
                  <a:gd name="connsiteY9" fmla="*/ 3399966 h 3403344"/>
                  <a:gd name="connsiteX10" fmla="*/ 4037602 w 4718274"/>
                  <a:gd name="connsiteY10" fmla="*/ 3382707 h 3403344"/>
                  <a:gd name="connsiteX11" fmla="*/ 3504383 w 4718274"/>
                  <a:gd name="connsiteY11" fmla="*/ 2753465 h 3403344"/>
                  <a:gd name="connsiteX12" fmla="*/ 1489894 w 4718274"/>
                  <a:gd name="connsiteY12" fmla="*/ 2753465 h 3403344"/>
                  <a:gd name="connsiteX13" fmla="*/ 1435052 w 4718274"/>
                  <a:gd name="connsiteY13" fmla="*/ 2698624 h 3403344"/>
                  <a:gd name="connsiteX14" fmla="*/ 1435052 w 4718274"/>
                  <a:gd name="connsiteY14" fmla="*/ 2088252 h 3403344"/>
                  <a:gd name="connsiteX15" fmla="*/ 1212167 w 4718274"/>
                  <a:gd name="connsiteY15" fmla="*/ 2088252 h 3403344"/>
                  <a:gd name="connsiteX16" fmla="*/ 678948 w 4718274"/>
                  <a:gd name="connsiteY16" fmla="*/ 2717493 h 3403344"/>
                  <a:gd name="connsiteX17" fmla="*/ 618558 w 4718274"/>
                  <a:gd name="connsiteY17" fmla="*/ 2732534 h 3403344"/>
                  <a:gd name="connsiteX18" fmla="*/ 582928 w 4718274"/>
                  <a:gd name="connsiteY18" fmla="*/ 2681482 h 3403344"/>
                  <a:gd name="connsiteX19" fmla="*/ 584650 w 4718274"/>
                  <a:gd name="connsiteY19" fmla="*/ 2088255 h 3403344"/>
                  <a:gd name="connsiteX20" fmla="*/ 54880 w 4718274"/>
                  <a:gd name="connsiteY20" fmla="*/ 2088255 h 3403344"/>
                  <a:gd name="connsiteX21" fmla="*/ 0 w 4718274"/>
                  <a:gd name="connsiteY21" fmla="*/ 2033375 h 3403344"/>
                  <a:gd name="connsiteX22" fmla="*/ 0 w 4718274"/>
                  <a:gd name="connsiteY22" fmla="*/ 54842 h 3403344"/>
                  <a:gd name="connsiteX23" fmla="*/ 54880 w 4718274"/>
                  <a:gd name="connsiteY23" fmla="*/ 1 h 3403344"/>
                  <a:gd name="connsiteX24" fmla="*/ 3171786 w 4718274"/>
                  <a:gd name="connsiteY24" fmla="*/ 109718 h 3403344"/>
                  <a:gd name="connsiteX25" fmla="*/ 109689 w 4718274"/>
                  <a:gd name="connsiteY25" fmla="*/ 109718 h 3403344"/>
                  <a:gd name="connsiteX26" fmla="*/ 109689 w 4718274"/>
                  <a:gd name="connsiteY26" fmla="*/ 1978523 h 3403344"/>
                  <a:gd name="connsiteX27" fmla="*/ 639499 w 4718274"/>
                  <a:gd name="connsiteY27" fmla="*/ 1978523 h 3403344"/>
                  <a:gd name="connsiteX28" fmla="*/ 694341 w 4718274"/>
                  <a:gd name="connsiteY28" fmla="*/ 2033365 h 3403344"/>
                  <a:gd name="connsiteX29" fmla="*/ 692619 w 4718274"/>
                  <a:gd name="connsiteY29" fmla="*/ 2532294 h 3403344"/>
                  <a:gd name="connsiteX30" fmla="*/ 1145237 w 4718274"/>
                  <a:gd name="connsiteY30" fmla="*/ 1999075 h 3403344"/>
                  <a:gd name="connsiteX31" fmla="*/ 1145275 w 4718274"/>
                  <a:gd name="connsiteY31" fmla="*/ 1999075 h 3403344"/>
                  <a:gd name="connsiteX32" fmla="*/ 1186415 w 4718274"/>
                  <a:gd name="connsiteY32" fmla="*/ 1978523 h 3403344"/>
                  <a:gd name="connsiteX33" fmla="*/ 3171807 w 4718274"/>
                  <a:gd name="connsiteY33" fmla="*/ 1978523 h 3403344"/>
                  <a:gd name="connsiteX34" fmla="*/ 3171807 w 4718274"/>
                  <a:gd name="connsiteY34" fmla="*/ 109718 h 3403344"/>
                  <a:gd name="connsiteX35" fmla="*/ 4608538 w 4718274"/>
                  <a:gd name="connsiteY35" fmla="*/ 774925 h 3403344"/>
                  <a:gd name="connsiteX36" fmla="*/ 3281515 w 4718274"/>
                  <a:gd name="connsiteY36" fmla="*/ 774925 h 3403344"/>
                  <a:gd name="connsiteX37" fmla="*/ 3281515 w 4718274"/>
                  <a:gd name="connsiteY37" fmla="*/ 2033368 h 3403344"/>
                  <a:gd name="connsiteX38" fmla="*/ 3226673 w 4718274"/>
                  <a:gd name="connsiteY38" fmla="*/ 2088247 h 3403344"/>
                  <a:gd name="connsiteX39" fmla="*/ 1544699 w 4718274"/>
                  <a:gd name="connsiteY39" fmla="*/ 2088247 h 3403344"/>
                  <a:gd name="connsiteX40" fmla="*/ 1544699 w 4718274"/>
                  <a:gd name="connsiteY40" fmla="*/ 2643736 h 3403344"/>
                  <a:gd name="connsiteX41" fmla="*/ 3530090 w 4718274"/>
                  <a:gd name="connsiteY41" fmla="*/ 2643736 h 3403344"/>
                  <a:gd name="connsiteX42" fmla="*/ 3571269 w 4718274"/>
                  <a:gd name="connsiteY42" fmla="*/ 2662603 h 3403344"/>
                  <a:gd name="connsiteX43" fmla="*/ 4023887 w 4718274"/>
                  <a:gd name="connsiteY43" fmla="*/ 3197547 h 3403344"/>
                  <a:gd name="connsiteX44" fmla="*/ 4022165 w 4718274"/>
                  <a:gd name="connsiteY44" fmla="*/ 2698617 h 3403344"/>
                  <a:gd name="connsiteX45" fmla="*/ 4077045 w 4718274"/>
                  <a:gd name="connsiteY45" fmla="*/ 2643738 h 3403344"/>
                  <a:gd name="connsiteX46" fmla="*/ 4608540 w 4718274"/>
                  <a:gd name="connsiteY46" fmla="*/ 2643738 h 3403344"/>
                  <a:gd name="connsiteX47" fmla="*/ 4608540 w 4718274"/>
                  <a:gd name="connsiteY47" fmla="*/ 774933 h 340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718274" h="3403344">
                    <a:moveTo>
                      <a:pt x="3226666" y="0"/>
                    </a:moveTo>
                    <a:cubicBezTo>
                      <a:pt x="3256977" y="0"/>
                      <a:pt x="3281508" y="24531"/>
                      <a:pt x="3281508" y="54841"/>
                    </a:cubicBezTo>
                    <a:lnTo>
                      <a:pt x="3281508" y="665213"/>
                    </a:lnTo>
                    <a:lnTo>
                      <a:pt x="4663395" y="665213"/>
                    </a:lnTo>
                    <a:cubicBezTo>
                      <a:pt x="4693705" y="665213"/>
                      <a:pt x="4718275" y="689783"/>
                      <a:pt x="4718275" y="720093"/>
                    </a:cubicBezTo>
                    <a:lnTo>
                      <a:pt x="4718275" y="2698626"/>
                    </a:lnTo>
                    <a:cubicBezTo>
                      <a:pt x="4718275" y="2728936"/>
                      <a:pt x="4693705" y="2753468"/>
                      <a:pt x="4663395" y="2753468"/>
                    </a:cubicBezTo>
                    <a:lnTo>
                      <a:pt x="4131900" y="2753468"/>
                    </a:lnTo>
                    <a:lnTo>
                      <a:pt x="4135344" y="3346694"/>
                    </a:lnTo>
                    <a:cubicBezTo>
                      <a:pt x="4136109" y="3370346"/>
                      <a:pt x="4121644" y="3391777"/>
                      <a:pt x="4099446" y="3399966"/>
                    </a:cubicBezTo>
                    <a:cubicBezTo>
                      <a:pt x="4077288" y="3408118"/>
                      <a:pt x="4052374" y="3401191"/>
                      <a:pt x="4037602" y="3382707"/>
                    </a:cubicBezTo>
                    <a:lnTo>
                      <a:pt x="3504383" y="2753465"/>
                    </a:lnTo>
                    <a:lnTo>
                      <a:pt x="1489894" y="2753465"/>
                    </a:lnTo>
                    <a:cubicBezTo>
                      <a:pt x="1459623" y="2753465"/>
                      <a:pt x="1435052" y="2728935"/>
                      <a:pt x="1435052" y="2698624"/>
                    </a:cubicBezTo>
                    <a:lnTo>
                      <a:pt x="1435052" y="2088252"/>
                    </a:lnTo>
                    <a:lnTo>
                      <a:pt x="1212167" y="2088252"/>
                    </a:lnTo>
                    <a:lnTo>
                      <a:pt x="678948" y="2717493"/>
                    </a:lnTo>
                    <a:cubicBezTo>
                      <a:pt x="663908" y="2734562"/>
                      <a:pt x="639836" y="2740532"/>
                      <a:pt x="618558" y="2732534"/>
                    </a:cubicBezTo>
                    <a:cubicBezTo>
                      <a:pt x="597241" y="2724574"/>
                      <a:pt x="583043" y="2704253"/>
                      <a:pt x="582928" y="2681482"/>
                    </a:cubicBezTo>
                    <a:lnTo>
                      <a:pt x="584650" y="2088255"/>
                    </a:lnTo>
                    <a:lnTo>
                      <a:pt x="54880" y="2088255"/>
                    </a:lnTo>
                    <a:cubicBezTo>
                      <a:pt x="24569" y="2088255"/>
                      <a:pt x="0" y="2063686"/>
                      <a:pt x="0" y="2033375"/>
                    </a:cubicBezTo>
                    <a:lnTo>
                      <a:pt x="0" y="54842"/>
                    </a:lnTo>
                    <a:cubicBezTo>
                      <a:pt x="0" y="24532"/>
                      <a:pt x="24569" y="1"/>
                      <a:pt x="54880" y="1"/>
                    </a:cubicBezTo>
                    <a:close/>
                    <a:moveTo>
                      <a:pt x="3171786" y="109718"/>
                    </a:moveTo>
                    <a:lnTo>
                      <a:pt x="109689" y="109718"/>
                    </a:lnTo>
                    <a:lnTo>
                      <a:pt x="109689" y="1978523"/>
                    </a:lnTo>
                    <a:lnTo>
                      <a:pt x="639499" y="1978523"/>
                    </a:lnTo>
                    <a:cubicBezTo>
                      <a:pt x="669770" y="1978523"/>
                      <a:pt x="694341" y="2003093"/>
                      <a:pt x="694341" y="2033365"/>
                    </a:cubicBezTo>
                    <a:lnTo>
                      <a:pt x="692619" y="2532294"/>
                    </a:lnTo>
                    <a:lnTo>
                      <a:pt x="1145237" y="1999075"/>
                    </a:lnTo>
                    <a:lnTo>
                      <a:pt x="1145275" y="1999075"/>
                    </a:lnTo>
                    <a:cubicBezTo>
                      <a:pt x="1155301" y="1986523"/>
                      <a:pt x="1170342" y="1979021"/>
                      <a:pt x="1186415" y="1978523"/>
                    </a:cubicBezTo>
                    <a:lnTo>
                      <a:pt x="3171807" y="1978523"/>
                    </a:lnTo>
                    <a:lnTo>
                      <a:pt x="3171807" y="109718"/>
                    </a:lnTo>
                    <a:close/>
                    <a:moveTo>
                      <a:pt x="4608538" y="774925"/>
                    </a:moveTo>
                    <a:lnTo>
                      <a:pt x="3281515" y="774925"/>
                    </a:lnTo>
                    <a:lnTo>
                      <a:pt x="3281515" y="2033368"/>
                    </a:lnTo>
                    <a:cubicBezTo>
                      <a:pt x="3281515" y="2063678"/>
                      <a:pt x="3256983" y="2088247"/>
                      <a:pt x="3226673" y="2088247"/>
                    </a:cubicBezTo>
                    <a:lnTo>
                      <a:pt x="1544699" y="2088247"/>
                    </a:lnTo>
                    <a:lnTo>
                      <a:pt x="1544699" y="2643736"/>
                    </a:lnTo>
                    <a:lnTo>
                      <a:pt x="3530090" y="2643736"/>
                    </a:lnTo>
                    <a:cubicBezTo>
                      <a:pt x="3545896" y="2643812"/>
                      <a:pt x="3560898" y="2650701"/>
                      <a:pt x="3571269" y="2662603"/>
                    </a:cubicBezTo>
                    <a:lnTo>
                      <a:pt x="4023887" y="3197547"/>
                    </a:lnTo>
                    <a:lnTo>
                      <a:pt x="4022165" y="2698617"/>
                    </a:lnTo>
                    <a:cubicBezTo>
                      <a:pt x="4022165" y="2668307"/>
                      <a:pt x="4046734" y="2643738"/>
                      <a:pt x="4077045" y="2643738"/>
                    </a:cubicBezTo>
                    <a:lnTo>
                      <a:pt x="4608540" y="2643738"/>
                    </a:lnTo>
                    <a:lnTo>
                      <a:pt x="4608540" y="774933"/>
                    </a:lnTo>
                    <a:close/>
                  </a:path>
                </a:pathLst>
              </a:custGeom>
              <a:grpFill/>
              <a:ln w="9797" cap="flat">
                <a:noFill/>
                <a:prstDash val="solid"/>
                <a:miter/>
              </a:ln>
            </p:spPr>
            <p:txBody>
              <a:bodyPr rtlCol="0" anchor="ctr"/>
              <a:lstStyle/>
              <a:p>
                <a:endParaRPr lang="en-US" dirty="0"/>
              </a:p>
            </p:txBody>
          </p:sp>
          <p:sp>
            <p:nvSpPr>
              <p:cNvPr id="313" name="Freeform: Shape 312">
                <a:extLst>
                  <a:ext uri="{FF2B5EF4-FFF2-40B4-BE49-F238E27FC236}">
                    <a16:creationId xmlns:a16="http://schemas.microsoft.com/office/drawing/2014/main" id="{B129C854-B77A-1AF9-22CA-83771AF477F8}"/>
                  </a:ext>
                </a:extLst>
              </p:cNvPr>
              <p:cNvSpPr/>
              <p:nvPr/>
            </p:nvSpPr>
            <p:spPr>
              <a:xfrm>
                <a:off x="5070729" y="1804731"/>
                <a:ext cx="548640" cy="548640"/>
              </a:xfrm>
              <a:custGeom>
                <a:avLst/>
                <a:gdLst>
                  <a:gd name="connsiteX0" fmla="*/ 274320 w 548640"/>
                  <a:gd name="connsiteY0" fmla="*/ 0 h 548640"/>
                  <a:gd name="connsiteX1" fmla="*/ 548640 w 548640"/>
                  <a:gd name="connsiteY1" fmla="*/ 274320 h 548640"/>
                  <a:gd name="connsiteX2" fmla="*/ 274320 w 548640"/>
                  <a:gd name="connsiteY2" fmla="*/ 548640 h 548640"/>
                  <a:gd name="connsiteX3" fmla="*/ 0 w 548640"/>
                  <a:gd name="connsiteY3" fmla="*/ 274320 h 548640"/>
                  <a:gd name="connsiteX4" fmla="*/ 274320 w 548640"/>
                  <a:gd name="connsiteY4" fmla="*/ 0 h 548640"/>
                  <a:gd name="connsiteX5" fmla="*/ 274320 w 548640"/>
                  <a:gd name="connsiteY5" fmla="*/ 109718 h 548640"/>
                  <a:gd name="connsiteX6" fmla="*/ 109718 w 548640"/>
                  <a:gd name="connsiteY6" fmla="*/ 274320 h 548640"/>
                  <a:gd name="connsiteX7" fmla="*/ 274320 w 548640"/>
                  <a:gd name="connsiteY7" fmla="*/ 438922 h 548640"/>
                  <a:gd name="connsiteX8" fmla="*/ 438922 w 548640"/>
                  <a:gd name="connsiteY8" fmla="*/ 274320 h 548640"/>
                  <a:gd name="connsiteX9" fmla="*/ 274320 w 548640"/>
                  <a:gd name="connsiteY9" fmla="*/ 109718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 h="548640">
                    <a:moveTo>
                      <a:pt x="274320" y="0"/>
                    </a:moveTo>
                    <a:cubicBezTo>
                      <a:pt x="425176" y="0"/>
                      <a:pt x="548640" y="123463"/>
                      <a:pt x="548640" y="274320"/>
                    </a:cubicBezTo>
                    <a:cubicBezTo>
                      <a:pt x="548640" y="425176"/>
                      <a:pt x="425176" y="548640"/>
                      <a:pt x="274320" y="548640"/>
                    </a:cubicBezTo>
                    <a:cubicBezTo>
                      <a:pt x="123463" y="548640"/>
                      <a:pt x="0" y="425176"/>
                      <a:pt x="0" y="274320"/>
                    </a:cubicBezTo>
                    <a:cubicBezTo>
                      <a:pt x="0" y="123463"/>
                      <a:pt x="123463" y="0"/>
                      <a:pt x="274320" y="0"/>
                    </a:cubicBezTo>
                    <a:close/>
                    <a:moveTo>
                      <a:pt x="274320" y="109718"/>
                    </a:moveTo>
                    <a:cubicBezTo>
                      <a:pt x="182701" y="109718"/>
                      <a:pt x="109718" y="182699"/>
                      <a:pt x="109718" y="274320"/>
                    </a:cubicBezTo>
                    <a:cubicBezTo>
                      <a:pt x="109718" y="365939"/>
                      <a:pt x="182699" y="438922"/>
                      <a:pt x="274320" y="438922"/>
                    </a:cubicBezTo>
                    <a:cubicBezTo>
                      <a:pt x="365939" y="438922"/>
                      <a:pt x="438922" y="365941"/>
                      <a:pt x="438922" y="274320"/>
                    </a:cubicBezTo>
                    <a:cubicBezTo>
                      <a:pt x="438922" y="182701"/>
                      <a:pt x="365941" y="109718"/>
                      <a:pt x="274320" y="109718"/>
                    </a:cubicBezTo>
                    <a:close/>
                  </a:path>
                </a:pathLst>
              </a:custGeom>
              <a:grpFill/>
              <a:ln w="9797" cap="flat">
                <a:noFill/>
                <a:prstDash val="solid"/>
                <a:miter/>
              </a:ln>
            </p:spPr>
            <p:txBody>
              <a:bodyPr rtlCol="0" anchor="ctr"/>
              <a:lstStyle/>
              <a:p>
                <a:endParaRPr lang="en-US" dirty="0"/>
              </a:p>
            </p:txBody>
          </p:sp>
          <p:sp>
            <p:nvSpPr>
              <p:cNvPr id="314" name="Freeform: Shape 313">
                <a:extLst>
                  <a:ext uri="{FF2B5EF4-FFF2-40B4-BE49-F238E27FC236}">
                    <a16:creationId xmlns:a16="http://schemas.microsoft.com/office/drawing/2014/main" id="{7EF9FB8B-7B4F-11B7-8565-56109D680CE4}"/>
                  </a:ext>
                </a:extLst>
              </p:cNvPr>
              <p:cNvSpPr/>
              <p:nvPr/>
            </p:nvSpPr>
            <p:spPr>
              <a:xfrm>
                <a:off x="4168020" y="1804731"/>
                <a:ext cx="548640" cy="548640"/>
              </a:xfrm>
              <a:custGeom>
                <a:avLst/>
                <a:gdLst>
                  <a:gd name="connsiteX0" fmla="*/ 274320 w 548640"/>
                  <a:gd name="connsiteY0" fmla="*/ 0 h 548640"/>
                  <a:gd name="connsiteX1" fmla="*/ 548640 w 548640"/>
                  <a:gd name="connsiteY1" fmla="*/ 274320 h 548640"/>
                  <a:gd name="connsiteX2" fmla="*/ 274320 w 548640"/>
                  <a:gd name="connsiteY2" fmla="*/ 548640 h 548640"/>
                  <a:gd name="connsiteX3" fmla="*/ 0 w 548640"/>
                  <a:gd name="connsiteY3" fmla="*/ 274320 h 548640"/>
                  <a:gd name="connsiteX4" fmla="*/ 274320 w 548640"/>
                  <a:gd name="connsiteY4" fmla="*/ 0 h 548640"/>
                  <a:gd name="connsiteX5" fmla="*/ 274320 w 548640"/>
                  <a:gd name="connsiteY5" fmla="*/ 109718 h 548640"/>
                  <a:gd name="connsiteX6" fmla="*/ 109718 w 548640"/>
                  <a:gd name="connsiteY6" fmla="*/ 274320 h 548640"/>
                  <a:gd name="connsiteX7" fmla="*/ 274320 w 548640"/>
                  <a:gd name="connsiteY7" fmla="*/ 438922 h 548640"/>
                  <a:gd name="connsiteX8" fmla="*/ 438922 w 548640"/>
                  <a:gd name="connsiteY8" fmla="*/ 274320 h 548640"/>
                  <a:gd name="connsiteX9" fmla="*/ 274320 w 548640"/>
                  <a:gd name="connsiteY9" fmla="*/ 109718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 h="548640">
                    <a:moveTo>
                      <a:pt x="274320" y="0"/>
                    </a:moveTo>
                    <a:cubicBezTo>
                      <a:pt x="424794" y="0"/>
                      <a:pt x="548640" y="123268"/>
                      <a:pt x="548640" y="274320"/>
                    </a:cubicBezTo>
                    <a:cubicBezTo>
                      <a:pt x="548640" y="425372"/>
                      <a:pt x="424794" y="548640"/>
                      <a:pt x="274320" y="548640"/>
                    </a:cubicBezTo>
                    <a:cubicBezTo>
                      <a:pt x="123463" y="548640"/>
                      <a:pt x="0" y="425176"/>
                      <a:pt x="0" y="274320"/>
                    </a:cubicBezTo>
                    <a:cubicBezTo>
                      <a:pt x="0" y="123463"/>
                      <a:pt x="123463" y="0"/>
                      <a:pt x="274320" y="0"/>
                    </a:cubicBezTo>
                    <a:close/>
                    <a:moveTo>
                      <a:pt x="274320" y="109718"/>
                    </a:moveTo>
                    <a:cubicBezTo>
                      <a:pt x="182701" y="109718"/>
                      <a:pt x="109718" y="182699"/>
                      <a:pt x="109718" y="274320"/>
                    </a:cubicBezTo>
                    <a:cubicBezTo>
                      <a:pt x="109718" y="365939"/>
                      <a:pt x="182699" y="438922"/>
                      <a:pt x="274320" y="438922"/>
                    </a:cubicBezTo>
                    <a:cubicBezTo>
                      <a:pt x="365249" y="438922"/>
                      <a:pt x="438922" y="365788"/>
                      <a:pt x="438922" y="274320"/>
                    </a:cubicBezTo>
                    <a:cubicBezTo>
                      <a:pt x="438922" y="182855"/>
                      <a:pt x="365290" y="109718"/>
                      <a:pt x="274320" y="109718"/>
                    </a:cubicBezTo>
                    <a:close/>
                  </a:path>
                </a:pathLst>
              </a:custGeom>
              <a:grpFill/>
              <a:ln w="9797" cap="flat">
                <a:noFill/>
                <a:prstDash val="solid"/>
                <a:miter/>
              </a:ln>
            </p:spPr>
            <p:txBody>
              <a:bodyPr rtlCol="0" anchor="ctr"/>
              <a:lstStyle/>
              <a:p>
                <a:endParaRPr lang="en-US" dirty="0"/>
              </a:p>
            </p:txBody>
          </p:sp>
          <p:sp>
            <p:nvSpPr>
              <p:cNvPr id="315" name="Freeform: Shape 314">
                <a:extLst>
                  <a:ext uri="{FF2B5EF4-FFF2-40B4-BE49-F238E27FC236}">
                    <a16:creationId xmlns:a16="http://schemas.microsoft.com/office/drawing/2014/main" id="{D578563D-C6B7-F316-2E43-6534A28E5D14}"/>
                  </a:ext>
                </a:extLst>
              </p:cNvPr>
              <p:cNvSpPr/>
              <p:nvPr/>
            </p:nvSpPr>
            <p:spPr>
              <a:xfrm>
                <a:off x="5973927" y="1804731"/>
                <a:ext cx="548640" cy="548640"/>
              </a:xfrm>
              <a:custGeom>
                <a:avLst/>
                <a:gdLst>
                  <a:gd name="connsiteX0" fmla="*/ 274320 w 548640"/>
                  <a:gd name="connsiteY0" fmla="*/ 0 h 548640"/>
                  <a:gd name="connsiteX1" fmla="*/ 548640 w 548640"/>
                  <a:gd name="connsiteY1" fmla="*/ 274320 h 548640"/>
                  <a:gd name="connsiteX2" fmla="*/ 274320 w 548640"/>
                  <a:gd name="connsiteY2" fmla="*/ 548640 h 548640"/>
                  <a:gd name="connsiteX3" fmla="*/ 0 w 548640"/>
                  <a:gd name="connsiteY3" fmla="*/ 274320 h 548640"/>
                  <a:gd name="connsiteX4" fmla="*/ 274320 w 548640"/>
                  <a:gd name="connsiteY4" fmla="*/ 0 h 548640"/>
                  <a:gd name="connsiteX5" fmla="*/ 274320 w 548640"/>
                  <a:gd name="connsiteY5" fmla="*/ 109718 h 548640"/>
                  <a:gd name="connsiteX6" fmla="*/ 109718 w 548640"/>
                  <a:gd name="connsiteY6" fmla="*/ 274320 h 548640"/>
                  <a:gd name="connsiteX7" fmla="*/ 274320 w 548640"/>
                  <a:gd name="connsiteY7" fmla="*/ 438922 h 548640"/>
                  <a:gd name="connsiteX8" fmla="*/ 438922 w 548640"/>
                  <a:gd name="connsiteY8" fmla="*/ 274320 h 548640"/>
                  <a:gd name="connsiteX9" fmla="*/ 274320 w 548640"/>
                  <a:gd name="connsiteY9" fmla="*/ 109718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640" h="548640">
                    <a:moveTo>
                      <a:pt x="274320" y="0"/>
                    </a:moveTo>
                    <a:cubicBezTo>
                      <a:pt x="425176" y="0"/>
                      <a:pt x="548640" y="123463"/>
                      <a:pt x="548640" y="274320"/>
                    </a:cubicBezTo>
                    <a:cubicBezTo>
                      <a:pt x="548640" y="425176"/>
                      <a:pt x="425176" y="548640"/>
                      <a:pt x="274320" y="548640"/>
                    </a:cubicBezTo>
                    <a:cubicBezTo>
                      <a:pt x="123463" y="548640"/>
                      <a:pt x="0" y="425176"/>
                      <a:pt x="0" y="274320"/>
                    </a:cubicBezTo>
                    <a:cubicBezTo>
                      <a:pt x="0" y="123463"/>
                      <a:pt x="123463" y="0"/>
                      <a:pt x="274320" y="0"/>
                    </a:cubicBezTo>
                    <a:close/>
                    <a:moveTo>
                      <a:pt x="274320" y="109718"/>
                    </a:moveTo>
                    <a:cubicBezTo>
                      <a:pt x="182701" y="109718"/>
                      <a:pt x="109718" y="182699"/>
                      <a:pt x="109718" y="274320"/>
                    </a:cubicBezTo>
                    <a:cubicBezTo>
                      <a:pt x="109718" y="365939"/>
                      <a:pt x="182699" y="438922"/>
                      <a:pt x="274320" y="438922"/>
                    </a:cubicBezTo>
                    <a:cubicBezTo>
                      <a:pt x="365939" y="438922"/>
                      <a:pt x="438922" y="365941"/>
                      <a:pt x="438922" y="274320"/>
                    </a:cubicBezTo>
                    <a:cubicBezTo>
                      <a:pt x="438922" y="182701"/>
                      <a:pt x="365941" y="109718"/>
                      <a:pt x="274320" y="109718"/>
                    </a:cubicBezTo>
                    <a:close/>
                  </a:path>
                </a:pathLst>
              </a:custGeom>
              <a:grpFill/>
              <a:ln w="9797" cap="flat">
                <a:noFill/>
                <a:prstDash val="solid"/>
                <a:miter/>
              </a:ln>
            </p:spPr>
            <p:txBody>
              <a:bodyPr rtlCol="0" anchor="ctr"/>
              <a:lstStyle/>
              <a:p>
                <a:endParaRPr lang="en-US" dirty="0"/>
              </a:p>
            </p:txBody>
          </p:sp>
        </p:grpSp>
      </p:grpSp>
      <p:grpSp>
        <p:nvGrpSpPr>
          <p:cNvPr id="57" name="Group 56">
            <a:extLst>
              <a:ext uri="{FF2B5EF4-FFF2-40B4-BE49-F238E27FC236}">
                <a16:creationId xmlns:a16="http://schemas.microsoft.com/office/drawing/2014/main" id="{2AA3154C-53F0-2075-B0E8-6F247FEC8DE2}"/>
              </a:ext>
            </a:extLst>
          </p:cNvPr>
          <p:cNvGrpSpPr/>
          <p:nvPr/>
        </p:nvGrpSpPr>
        <p:grpSpPr>
          <a:xfrm>
            <a:off x="6502742" y="5344101"/>
            <a:ext cx="731520" cy="731520"/>
            <a:chOff x="6502742" y="5344101"/>
            <a:chExt cx="731520" cy="731520"/>
          </a:xfrm>
        </p:grpSpPr>
        <p:sp>
          <p:nvSpPr>
            <p:cNvPr id="47" name="Google Shape;518;p34">
              <a:extLst>
                <a:ext uri="{FF2B5EF4-FFF2-40B4-BE49-F238E27FC236}">
                  <a16:creationId xmlns:a16="http://schemas.microsoft.com/office/drawing/2014/main" id="{F716DC15-C4E2-2F7A-367E-2226BF84F919}"/>
                </a:ext>
              </a:extLst>
            </p:cNvPr>
            <p:cNvSpPr>
              <a:spLocks noChangeAspect="1"/>
            </p:cNvSpPr>
            <p:nvPr/>
          </p:nvSpPr>
          <p:spPr>
            <a:xfrm>
              <a:off x="6502742" y="5344101"/>
              <a:ext cx="731520" cy="731520"/>
            </a:xfrm>
            <a:custGeom>
              <a:avLst/>
              <a:gdLst/>
              <a:ahLst/>
              <a:cxnLst/>
              <a:rect l="l" t="t" r="r" b="b"/>
              <a:pathLst>
                <a:path w="209017" h="209017" extrusionOk="0">
                  <a:moveTo>
                    <a:pt x="104508" y="0"/>
                  </a:moveTo>
                  <a:cubicBezTo>
                    <a:pt x="46781" y="0"/>
                    <a:pt x="0" y="46781"/>
                    <a:pt x="0" y="104508"/>
                  </a:cubicBezTo>
                  <a:cubicBezTo>
                    <a:pt x="0" y="132211"/>
                    <a:pt x="11007" y="158805"/>
                    <a:pt x="30599" y="178397"/>
                  </a:cubicBezTo>
                  <a:cubicBezTo>
                    <a:pt x="50211" y="197988"/>
                    <a:pt x="76784" y="209016"/>
                    <a:pt x="104508" y="209016"/>
                  </a:cubicBezTo>
                  <a:cubicBezTo>
                    <a:pt x="132211" y="209016"/>
                    <a:pt x="158805" y="197988"/>
                    <a:pt x="178397" y="178397"/>
                  </a:cubicBezTo>
                  <a:cubicBezTo>
                    <a:pt x="197988" y="158805"/>
                    <a:pt x="209016" y="132211"/>
                    <a:pt x="209016" y="104508"/>
                  </a:cubicBezTo>
                  <a:cubicBezTo>
                    <a:pt x="209016" y="76784"/>
                    <a:pt x="197988" y="50211"/>
                    <a:pt x="178397" y="30599"/>
                  </a:cubicBezTo>
                  <a:cubicBezTo>
                    <a:pt x="158805" y="11007"/>
                    <a:pt x="132211" y="0"/>
                    <a:pt x="104508" y="0"/>
                  </a:cubicBezTo>
                  <a:close/>
                </a:path>
              </a:pathLst>
            </a:custGeom>
            <a:solidFill>
              <a:srgbClr val="F2F2F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355" name="Group 354">
              <a:extLst>
                <a:ext uri="{FF2B5EF4-FFF2-40B4-BE49-F238E27FC236}">
                  <a16:creationId xmlns:a16="http://schemas.microsoft.com/office/drawing/2014/main" id="{5CEC2300-28AE-325A-02B0-72F16F479EE4}"/>
                </a:ext>
              </a:extLst>
            </p:cNvPr>
            <p:cNvGrpSpPr>
              <a:grpSpLocks noChangeAspect="1"/>
            </p:cNvGrpSpPr>
            <p:nvPr/>
          </p:nvGrpSpPr>
          <p:grpSpPr>
            <a:xfrm>
              <a:off x="6632699" y="5526981"/>
              <a:ext cx="471606" cy="365760"/>
              <a:chOff x="3627139" y="828436"/>
              <a:chExt cx="4937760" cy="3829546"/>
            </a:xfrm>
            <a:solidFill>
              <a:schemeClr val="tx1"/>
            </a:solidFill>
          </p:grpSpPr>
          <p:sp>
            <p:nvSpPr>
              <p:cNvPr id="356" name="Freeform: Shape 355">
                <a:extLst>
                  <a:ext uri="{FF2B5EF4-FFF2-40B4-BE49-F238E27FC236}">
                    <a16:creationId xmlns:a16="http://schemas.microsoft.com/office/drawing/2014/main" id="{C3A11DAF-EA07-C68C-B175-C2F569E0B5A5}"/>
                  </a:ext>
                </a:extLst>
              </p:cNvPr>
              <p:cNvSpPr/>
              <p:nvPr/>
            </p:nvSpPr>
            <p:spPr>
              <a:xfrm>
                <a:off x="5629636" y="1377086"/>
                <a:ext cx="384083" cy="159088"/>
              </a:xfrm>
              <a:custGeom>
                <a:avLst/>
                <a:gdLst>
                  <a:gd name="connsiteX0" fmla="*/ 192044 w 384083"/>
                  <a:gd name="connsiteY0" fmla="*/ 0 h 159088"/>
                  <a:gd name="connsiteX1" fmla="*/ 0 w 384083"/>
                  <a:gd name="connsiteY1" fmla="*/ 82280 h 159088"/>
                  <a:gd name="connsiteX2" fmla="*/ 76807 w 384083"/>
                  <a:gd name="connsiteY2" fmla="*/ 159088 h 159088"/>
                  <a:gd name="connsiteX3" fmla="*/ 192041 w 384083"/>
                  <a:gd name="connsiteY3" fmla="*/ 109719 h 159088"/>
                  <a:gd name="connsiteX4" fmla="*/ 307276 w 384083"/>
                  <a:gd name="connsiteY4" fmla="*/ 159088 h 159088"/>
                  <a:gd name="connsiteX5" fmla="*/ 384083 w 384083"/>
                  <a:gd name="connsiteY5" fmla="*/ 82280 h 159088"/>
                  <a:gd name="connsiteX6" fmla="*/ 192040 w 384083"/>
                  <a:gd name="connsiteY6" fmla="*/ 0 h 15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083" h="159088">
                    <a:moveTo>
                      <a:pt x="192044" y="0"/>
                    </a:moveTo>
                    <a:cubicBezTo>
                      <a:pt x="120709" y="0"/>
                      <a:pt x="49407" y="27440"/>
                      <a:pt x="0" y="82280"/>
                    </a:cubicBezTo>
                    <a:cubicBezTo>
                      <a:pt x="27440" y="109720"/>
                      <a:pt x="49369" y="131649"/>
                      <a:pt x="76807" y="159088"/>
                    </a:cubicBezTo>
                    <a:cubicBezTo>
                      <a:pt x="109720" y="126175"/>
                      <a:pt x="153615" y="109719"/>
                      <a:pt x="192041" y="109719"/>
                    </a:cubicBezTo>
                    <a:cubicBezTo>
                      <a:pt x="235938" y="109719"/>
                      <a:pt x="274322" y="126175"/>
                      <a:pt x="307276" y="159088"/>
                    </a:cubicBezTo>
                    <a:cubicBezTo>
                      <a:pt x="334715" y="131648"/>
                      <a:pt x="356644" y="109719"/>
                      <a:pt x="384083" y="82280"/>
                    </a:cubicBezTo>
                    <a:cubicBezTo>
                      <a:pt x="334676" y="21967"/>
                      <a:pt x="263382" y="0"/>
                      <a:pt x="192040" y="0"/>
                    </a:cubicBezTo>
                    <a:close/>
                  </a:path>
                </a:pathLst>
              </a:custGeom>
              <a:grpFill/>
              <a:ln w="9797" cap="flat">
                <a:noFill/>
                <a:prstDash val="solid"/>
                <a:miter/>
              </a:ln>
            </p:spPr>
            <p:txBody>
              <a:bodyPr rtlCol="0" anchor="ctr"/>
              <a:lstStyle/>
              <a:p>
                <a:endParaRPr lang="en-US" dirty="0"/>
              </a:p>
            </p:txBody>
          </p:sp>
          <p:sp>
            <p:nvSpPr>
              <p:cNvPr id="357" name="Freeform: Shape 356">
                <a:extLst>
                  <a:ext uri="{FF2B5EF4-FFF2-40B4-BE49-F238E27FC236}">
                    <a16:creationId xmlns:a16="http://schemas.microsoft.com/office/drawing/2014/main" id="{1F107BA3-6C25-AC17-8581-2072162CA998}"/>
                  </a:ext>
                </a:extLst>
              </p:cNvPr>
              <p:cNvSpPr/>
              <p:nvPr/>
            </p:nvSpPr>
            <p:spPr>
              <a:xfrm>
                <a:off x="5432126" y="1102766"/>
                <a:ext cx="779103" cy="235893"/>
              </a:xfrm>
              <a:custGeom>
                <a:avLst/>
                <a:gdLst>
                  <a:gd name="connsiteX0" fmla="*/ 389554 w 779103"/>
                  <a:gd name="connsiteY0" fmla="*/ 0 h 235893"/>
                  <a:gd name="connsiteX1" fmla="*/ 0 w 779103"/>
                  <a:gd name="connsiteY1" fmla="*/ 159086 h 235893"/>
                  <a:gd name="connsiteX2" fmla="*/ 76807 w 779103"/>
                  <a:gd name="connsiteY2" fmla="*/ 235894 h 235893"/>
                  <a:gd name="connsiteX3" fmla="*/ 389552 w 779103"/>
                  <a:gd name="connsiteY3" fmla="*/ 109716 h 235893"/>
                  <a:gd name="connsiteX4" fmla="*/ 702297 w 779103"/>
                  <a:gd name="connsiteY4" fmla="*/ 235894 h 235893"/>
                  <a:gd name="connsiteX5" fmla="*/ 779104 w 779103"/>
                  <a:gd name="connsiteY5" fmla="*/ 159086 h 235893"/>
                  <a:gd name="connsiteX6" fmla="*/ 389550 w 779103"/>
                  <a:gd name="connsiteY6" fmla="*/ 0 h 235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103" h="235893">
                    <a:moveTo>
                      <a:pt x="389554" y="0"/>
                    </a:moveTo>
                    <a:cubicBezTo>
                      <a:pt x="246917" y="0"/>
                      <a:pt x="109757" y="54880"/>
                      <a:pt x="0" y="159086"/>
                    </a:cubicBezTo>
                    <a:lnTo>
                      <a:pt x="76807" y="235894"/>
                    </a:lnTo>
                    <a:cubicBezTo>
                      <a:pt x="164599" y="148102"/>
                      <a:pt x="274318" y="109716"/>
                      <a:pt x="389552" y="109716"/>
                    </a:cubicBezTo>
                    <a:cubicBezTo>
                      <a:pt x="499270" y="109716"/>
                      <a:pt x="614504" y="153612"/>
                      <a:pt x="702297" y="235894"/>
                    </a:cubicBezTo>
                    <a:lnTo>
                      <a:pt x="779104" y="159086"/>
                    </a:lnTo>
                    <a:cubicBezTo>
                      <a:pt x="669347" y="49407"/>
                      <a:pt x="532187" y="0"/>
                      <a:pt x="389550" y="0"/>
                    </a:cubicBezTo>
                    <a:close/>
                  </a:path>
                </a:pathLst>
              </a:custGeom>
              <a:grpFill/>
              <a:ln w="9797" cap="flat">
                <a:noFill/>
                <a:prstDash val="solid"/>
                <a:miter/>
              </a:ln>
            </p:spPr>
            <p:txBody>
              <a:bodyPr rtlCol="0" anchor="ctr"/>
              <a:lstStyle/>
              <a:p>
                <a:endParaRPr lang="en-US" dirty="0"/>
              </a:p>
            </p:txBody>
          </p:sp>
          <p:sp>
            <p:nvSpPr>
              <p:cNvPr id="358" name="Freeform: Shape 357">
                <a:extLst>
                  <a:ext uri="{FF2B5EF4-FFF2-40B4-BE49-F238E27FC236}">
                    <a16:creationId xmlns:a16="http://schemas.microsoft.com/office/drawing/2014/main" id="{768738FC-258E-B548-83B1-506EA521BD1A}"/>
                  </a:ext>
                </a:extLst>
              </p:cNvPr>
              <p:cNvSpPr/>
              <p:nvPr/>
            </p:nvSpPr>
            <p:spPr>
              <a:xfrm>
                <a:off x="5240131" y="828436"/>
                <a:ext cx="1163112" cy="318219"/>
              </a:xfrm>
              <a:custGeom>
                <a:avLst/>
                <a:gdLst>
                  <a:gd name="connsiteX0" fmla="*/ 581549 w 1163112"/>
                  <a:gd name="connsiteY0" fmla="*/ 0 h 318219"/>
                  <a:gd name="connsiteX1" fmla="*/ 0 w 1163112"/>
                  <a:gd name="connsiteY1" fmla="*/ 241411 h 318219"/>
                  <a:gd name="connsiteX2" fmla="*/ 76808 w 1163112"/>
                  <a:gd name="connsiteY2" fmla="*/ 318219 h 318219"/>
                  <a:gd name="connsiteX3" fmla="*/ 581556 w 1163112"/>
                  <a:gd name="connsiteY3" fmla="*/ 109726 h 318219"/>
                  <a:gd name="connsiteX4" fmla="*/ 1086306 w 1163112"/>
                  <a:gd name="connsiteY4" fmla="*/ 318219 h 318219"/>
                  <a:gd name="connsiteX5" fmla="*/ 1163113 w 1163112"/>
                  <a:gd name="connsiteY5" fmla="*/ 241411 h 318219"/>
                  <a:gd name="connsiteX6" fmla="*/ 581564 w 1163112"/>
                  <a:gd name="connsiteY6" fmla="*/ 0 h 318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3112" h="318219">
                    <a:moveTo>
                      <a:pt x="581549" y="0"/>
                    </a:moveTo>
                    <a:cubicBezTo>
                      <a:pt x="373056" y="0"/>
                      <a:pt x="159086" y="82280"/>
                      <a:pt x="0" y="241411"/>
                    </a:cubicBezTo>
                    <a:cubicBezTo>
                      <a:pt x="27440" y="268851"/>
                      <a:pt x="49369" y="290780"/>
                      <a:pt x="76808" y="318219"/>
                    </a:cubicBezTo>
                    <a:cubicBezTo>
                      <a:pt x="213968" y="181059"/>
                      <a:pt x="400496" y="109726"/>
                      <a:pt x="581556" y="109726"/>
                    </a:cubicBezTo>
                    <a:cubicBezTo>
                      <a:pt x="762618" y="109726"/>
                      <a:pt x="949145" y="181061"/>
                      <a:pt x="1086306" y="318219"/>
                    </a:cubicBezTo>
                    <a:cubicBezTo>
                      <a:pt x="1113745" y="290779"/>
                      <a:pt x="1135674" y="268850"/>
                      <a:pt x="1163113" y="241411"/>
                    </a:cubicBezTo>
                    <a:cubicBezTo>
                      <a:pt x="1004027" y="76810"/>
                      <a:pt x="790057" y="0"/>
                      <a:pt x="581564" y="0"/>
                    </a:cubicBezTo>
                    <a:close/>
                  </a:path>
                </a:pathLst>
              </a:custGeom>
              <a:grpFill/>
              <a:ln w="9797" cap="flat">
                <a:noFill/>
                <a:prstDash val="solid"/>
                <a:miter/>
              </a:ln>
            </p:spPr>
            <p:txBody>
              <a:bodyPr rtlCol="0" anchor="ctr"/>
              <a:lstStyle/>
              <a:p>
                <a:endParaRPr lang="en-US" dirty="0"/>
              </a:p>
            </p:txBody>
          </p:sp>
          <p:sp>
            <p:nvSpPr>
              <p:cNvPr id="359" name="Freeform: Shape 358">
                <a:extLst>
                  <a:ext uri="{FF2B5EF4-FFF2-40B4-BE49-F238E27FC236}">
                    <a16:creationId xmlns:a16="http://schemas.microsoft.com/office/drawing/2014/main" id="{0075735E-660A-68B2-9B61-3463E1E68EC2}"/>
                  </a:ext>
                </a:extLst>
              </p:cNvPr>
              <p:cNvSpPr/>
              <p:nvPr/>
            </p:nvSpPr>
            <p:spPr>
              <a:xfrm>
                <a:off x="5240131" y="828436"/>
                <a:ext cx="1163112" cy="318219"/>
              </a:xfrm>
              <a:custGeom>
                <a:avLst/>
                <a:gdLst>
                  <a:gd name="connsiteX0" fmla="*/ 581549 w 1163112"/>
                  <a:gd name="connsiteY0" fmla="*/ 0 h 318219"/>
                  <a:gd name="connsiteX1" fmla="*/ 0 w 1163112"/>
                  <a:gd name="connsiteY1" fmla="*/ 241411 h 318219"/>
                  <a:gd name="connsiteX2" fmla="*/ 76808 w 1163112"/>
                  <a:gd name="connsiteY2" fmla="*/ 318219 h 318219"/>
                  <a:gd name="connsiteX3" fmla="*/ 581556 w 1163112"/>
                  <a:gd name="connsiteY3" fmla="*/ 109726 h 318219"/>
                  <a:gd name="connsiteX4" fmla="*/ 1086306 w 1163112"/>
                  <a:gd name="connsiteY4" fmla="*/ 318219 h 318219"/>
                  <a:gd name="connsiteX5" fmla="*/ 1163113 w 1163112"/>
                  <a:gd name="connsiteY5" fmla="*/ 241411 h 318219"/>
                  <a:gd name="connsiteX6" fmla="*/ 581564 w 1163112"/>
                  <a:gd name="connsiteY6" fmla="*/ 0 h 318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3112" h="318219">
                    <a:moveTo>
                      <a:pt x="581549" y="0"/>
                    </a:moveTo>
                    <a:cubicBezTo>
                      <a:pt x="373056" y="0"/>
                      <a:pt x="159086" y="82280"/>
                      <a:pt x="0" y="241411"/>
                    </a:cubicBezTo>
                    <a:cubicBezTo>
                      <a:pt x="27440" y="268851"/>
                      <a:pt x="49369" y="290780"/>
                      <a:pt x="76808" y="318219"/>
                    </a:cubicBezTo>
                    <a:cubicBezTo>
                      <a:pt x="213968" y="181059"/>
                      <a:pt x="400496" y="109726"/>
                      <a:pt x="581556" y="109726"/>
                    </a:cubicBezTo>
                    <a:cubicBezTo>
                      <a:pt x="762618" y="109726"/>
                      <a:pt x="949145" y="181061"/>
                      <a:pt x="1086306" y="318219"/>
                    </a:cubicBezTo>
                    <a:cubicBezTo>
                      <a:pt x="1113745" y="290779"/>
                      <a:pt x="1135674" y="268850"/>
                      <a:pt x="1163113" y="241411"/>
                    </a:cubicBezTo>
                    <a:cubicBezTo>
                      <a:pt x="1004027" y="76810"/>
                      <a:pt x="790057" y="0"/>
                      <a:pt x="581564" y="0"/>
                    </a:cubicBezTo>
                    <a:close/>
                  </a:path>
                </a:pathLst>
              </a:custGeom>
              <a:grpFill/>
              <a:ln w="9797" cap="flat">
                <a:noFill/>
                <a:prstDash val="solid"/>
                <a:miter/>
              </a:ln>
            </p:spPr>
            <p:txBody>
              <a:bodyPr rtlCol="0" anchor="ctr"/>
              <a:lstStyle/>
              <a:p>
                <a:endParaRPr lang="en-US" dirty="0"/>
              </a:p>
            </p:txBody>
          </p:sp>
          <p:sp>
            <p:nvSpPr>
              <p:cNvPr id="360" name="Freeform: Shape 359">
                <a:extLst>
                  <a:ext uri="{FF2B5EF4-FFF2-40B4-BE49-F238E27FC236}">
                    <a16:creationId xmlns:a16="http://schemas.microsoft.com/office/drawing/2014/main" id="{D5A6524F-9161-8549-9CDF-72B57CD6DF57}"/>
                  </a:ext>
                </a:extLst>
              </p:cNvPr>
              <p:cNvSpPr/>
              <p:nvPr/>
            </p:nvSpPr>
            <p:spPr>
              <a:xfrm>
                <a:off x="5766800" y="1585569"/>
                <a:ext cx="109759" cy="109759"/>
              </a:xfrm>
              <a:custGeom>
                <a:avLst/>
                <a:gdLst>
                  <a:gd name="connsiteX0" fmla="*/ 54880 w 109759"/>
                  <a:gd name="connsiteY0" fmla="*/ 0 h 109759"/>
                  <a:gd name="connsiteX1" fmla="*/ 0 w 109759"/>
                  <a:gd name="connsiteY1" fmla="*/ 54880 h 109759"/>
                  <a:gd name="connsiteX2" fmla="*/ 54880 w 109759"/>
                  <a:gd name="connsiteY2" fmla="*/ 109759 h 109759"/>
                  <a:gd name="connsiteX3" fmla="*/ 109759 w 109759"/>
                  <a:gd name="connsiteY3" fmla="*/ 54880 h 109759"/>
                  <a:gd name="connsiteX4" fmla="*/ 54880 w 109759"/>
                  <a:gd name="connsiteY4" fmla="*/ 0 h 109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9" h="109759">
                    <a:moveTo>
                      <a:pt x="54880" y="0"/>
                    </a:moveTo>
                    <a:cubicBezTo>
                      <a:pt x="21967" y="0"/>
                      <a:pt x="0" y="21929"/>
                      <a:pt x="0" y="54880"/>
                    </a:cubicBezTo>
                    <a:cubicBezTo>
                      <a:pt x="0" y="87792"/>
                      <a:pt x="21929" y="109759"/>
                      <a:pt x="54880" y="109759"/>
                    </a:cubicBezTo>
                    <a:cubicBezTo>
                      <a:pt x="87792" y="109759"/>
                      <a:pt x="109759" y="87830"/>
                      <a:pt x="109759" y="54880"/>
                    </a:cubicBezTo>
                    <a:cubicBezTo>
                      <a:pt x="109759" y="27440"/>
                      <a:pt x="87792" y="0"/>
                      <a:pt x="54880" y="0"/>
                    </a:cubicBezTo>
                    <a:close/>
                  </a:path>
                </a:pathLst>
              </a:custGeom>
              <a:grpFill/>
              <a:ln w="9797" cap="flat">
                <a:noFill/>
                <a:prstDash val="solid"/>
                <a:miter/>
              </a:ln>
            </p:spPr>
            <p:txBody>
              <a:bodyPr rtlCol="0" anchor="ctr"/>
              <a:lstStyle/>
              <a:p>
                <a:endParaRPr lang="en-US" dirty="0"/>
              </a:p>
            </p:txBody>
          </p:sp>
          <p:sp>
            <p:nvSpPr>
              <p:cNvPr id="361" name="Freeform: Shape 360">
                <a:extLst>
                  <a:ext uri="{FF2B5EF4-FFF2-40B4-BE49-F238E27FC236}">
                    <a16:creationId xmlns:a16="http://schemas.microsoft.com/office/drawing/2014/main" id="{C352A1ED-0CDB-890A-CDB8-68BD087EEE5D}"/>
                  </a:ext>
                </a:extLst>
              </p:cNvPr>
              <p:cNvSpPr/>
              <p:nvPr/>
            </p:nvSpPr>
            <p:spPr>
              <a:xfrm>
                <a:off x="3627139" y="2243947"/>
                <a:ext cx="4937760" cy="1975094"/>
              </a:xfrm>
              <a:custGeom>
                <a:avLst/>
                <a:gdLst>
                  <a:gd name="connsiteX0" fmla="*/ 3231470 w 4937760"/>
                  <a:gd name="connsiteY0" fmla="*/ 109718 h 1975094"/>
                  <a:gd name="connsiteX1" fmla="*/ 3747201 w 4937760"/>
                  <a:gd name="connsiteY1" fmla="*/ 987562 h 1975094"/>
                  <a:gd name="connsiteX2" fmla="*/ 3780114 w 4937760"/>
                  <a:gd name="connsiteY2" fmla="*/ 1042442 h 1975094"/>
                  <a:gd name="connsiteX3" fmla="*/ 4828017 w 4937760"/>
                  <a:gd name="connsiteY3" fmla="*/ 1042442 h 1975094"/>
                  <a:gd name="connsiteX4" fmla="*/ 4828017 w 4937760"/>
                  <a:gd name="connsiteY4" fmla="*/ 1865402 h 1975094"/>
                  <a:gd name="connsiteX5" fmla="*/ 4487870 w 4937760"/>
                  <a:gd name="connsiteY5" fmla="*/ 1865402 h 1975094"/>
                  <a:gd name="connsiteX6" fmla="*/ 3840494 w 4937760"/>
                  <a:gd name="connsiteY6" fmla="*/ 1316762 h 1975094"/>
                  <a:gd name="connsiteX7" fmla="*/ 3193118 w 4937760"/>
                  <a:gd name="connsiteY7" fmla="*/ 1865402 h 1975094"/>
                  <a:gd name="connsiteX8" fmla="*/ 1744611 w 4937760"/>
                  <a:gd name="connsiteY8" fmla="*/ 1865402 h 1975094"/>
                  <a:gd name="connsiteX9" fmla="*/ 1097235 w 4937760"/>
                  <a:gd name="connsiteY9" fmla="*/ 1316762 h 1975094"/>
                  <a:gd name="connsiteX10" fmla="*/ 449859 w 4937760"/>
                  <a:gd name="connsiteY10" fmla="*/ 1865402 h 1975094"/>
                  <a:gd name="connsiteX11" fmla="*/ 109712 w 4937760"/>
                  <a:gd name="connsiteY11" fmla="*/ 1865402 h 1975094"/>
                  <a:gd name="connsiteX12" fmla="*/ 109712 w 4937760"/>
                  <a:gd name="connsiteY12" fmla="*/ 1042442 h 1975094"/>
                  <a:gd name="connsiteX13" fmla="*/ 608985 w 4937760"/>
                  <a:gd name="connsiteY13" fmla="*/ 1042442 h 1975094"/>
                  <a:gd name="connsiteX14" fmla="*/ 641897 w 4937760"/>
                  <a:gd name="connsiteY14" fmla="*/ 987562 h 1975094"/>
                  <a:gd name="connsiteX15" fmla="*/ 1157629 w 4937760"/>
                  <a:gd name="connsiteY15" fmla="*/ 109718 h 1975094"/>
                  <a:gd name="connsiteX16" fmla="*/ 3231488 w 4937760"/>
                  <a:gd name="connsiteY16" fmla="*/ 109718 h 1975094"/>
                  <a:gd name="connsiteX17" fmla="*/ 3291840 w 4937760"/>
                  <a:gd name="connsiteY17" fmla="*/ 0 h 1975094"/>
                  <a:gd name="connsiteX18" fmla="*/ 1097280 w 4937760"/>
                  <a:gd name="connsiteY18" fmla="*/ 0 h 1975094"/>
                  <a:gd name="connsiteX19" fmla="*/ 548640 w 4937760"/>
                  <a:gd name="connsiteY19" fmla="*/ 932678 h 1975094"/>
                  <a:gd name="connsiteX20" fmla="*/ 0 w 4937760"/>
                  <a:gd name="connsiteY20" fmla="*/ 932678 h 1975094"/>
                  <a:gd name="connsiteX21" fmla="*/ 0 w 4937760"/>
                  <a:gd name="connsiteY21" fmla="*/ 1975094 h 1975094"/>
                  <a:gd name="connsiteX22" fmla="*/ 548640 w 4937760"/>
                  <a:gd name="connsiteY22" fmla="*/ 1975094 h 1975094"/>
                  <a:gd name="connsiteX23" fmla="*/ 1097280 w 4937760"/>
                  <a:gd name="connsiteY23" fmla="*/ 1426454 h 1975094"/>
                  <a:gd name="connsiteX24" fmla="*/ 1645920 w 4937760"/>
                  <a:gd name="connsiteY24" fmla="*/ 1975094 h 1975094"/>
                  <a:gd name="connsiteX25" fmla="*/ 3291840 w 4937760"/>
                  <a:gd name="connsiteY25" fmla="*/ 1975094 h 1975094"/>
                  <a:gd name="connsiteX26" fmla="*/ 3840480 w 4937760"/>
                  <a:gd name="connsiteY26" fmla="*/ 1426454 h 1975094"/>
                  <a:gd name="connsiteX27" fmla="*/ 4389120 w 4937760"/>
                  <a:gd name="connsiteY27" fmla="*/ 1975094 h 1975094"/>
                  <a:gd name="connsiteX28" fmla="*/ 4937760 w 4937760"/>
                  <a:gd name="connsiteY28" fmla="*/ 1975094 h 1975094"/>
                  <a:gd name="connsiteX29" fmla="*/ 4937760 w 4937760"/>
                  <a:gd name="connsiteY29" fmla="*/ 932678 h 1975094"/>
                  <a:gd name="connsiteX30" fmla="*/ 3840480 w 4937760"/>
                  <a:gd name="connsiteY30" fmla="*/ 932678 h 1975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37760" h="1975094">
                    <a:moveTo>
                      <a:pt x="3231470" y="109718"/>
                    </a:moveTo>
                    <a:lnTo>
                      <a:pt x="3747201" y="987562"/>
                    </a:lnTo>
                    <a:lnTo>
                      <a:pt x="3780114" y="1042442"/>
                    </a:lnTo>
                    <a:lnTo>
                      <a:pt x="4828017" y="1042442"/>
                    </a:lnTo>
                    <a:lnTo>
                      <a:pt x="4828017" y="1865402"/>
                    </a:lnTo>
                    <a:lnTo>
                      <a:pt x="4487870" y="1865402"/>
                    </a:lnTo>
                    <a:cubicBezTo>
                      <a:pt x="4432990" y="1552657"/>
                      <a:pt x="4158666" y="1316762"/>
                      <a:pt x="3840494" y="1316762"/>
                    </a:cubicBezTo>
                    <a:cubicBezTo>
                      <a:pt x="3516806" y="1316762"/>
                      <a:pt x="3247963" y="1552657"/>
                      <a:pt x="3193118" y="1865402"/>
                    </a:cubicBezTo>
                    <a:lnTo>
                      <a:pt x="1744611" y="1865402"/>
                    </a:lnTo>
                    <a:cubicBezTo>
                      <a:pt x="1689731" y="1552657"/>
                      <a:pt x="1420923" y="1316762"/>
                      <a:pt x="1097235" y="1316762"/>
                    </a:cubicBezTo>
                    <a:cubicBezTo>
                      <a:pt x="773547" y="1316762"/>
                      <a:pt x="499227" y="1552657"/>
                      <a:pt x="449859" y="1865402"/>
                    </a:cubicBezTo>
                    <a:lnTo>
                      <a:pt x="109712" y="1865402"/>
                    </a:lnTo>
                    <a:lnTo>
                      <a:pt x="109712" y="1042442"/>
                    </a:lnTo>
                    <a:lnTo>
                      <a:pt x="608985" y="1042442"/>
                    </a:lnTo>
                    <a:lnTo>
                      <a:pt x="641897" y="987562"/>
                    </a:lnTo>
                    <a:lnTo>
                      <a:pt x="1157629" y="109718"/>
                    </a:lnTo>
                    <a:lnTo>
                      <a:pt x="3231488" y="109718"/>
                    </a:lnTo>
                    <a:moveTo>
                      <a:pt x="3291840" y="0"/>
                    </a:moveTo>
                    <a:lnTo>
                      <a:pt x="1097280" y="0"/>
                    </a:lnTo>
                    <a:lnTo>
                      <a:pt x="548640" y="932678"/>
                    </a:lnTo>
                    <a:lnTo>
                      <a:pt x="0" y="932678"/>
                    </a:lnTo>
                    <a:lnTo>
                      <a:pt x="0" y="1975094"/>
                    </a:lnTo>
                    <a:lnTo>
                      <a:pt x="548640" y="1975094"/>
                    </a:lnTo>
                    <a:cubicBezTo>
                      <a:pt x="548640" y="1673332"/>
                      <a:pt x="795518" y="1426454"/>
                      <a:pt x="1097280" y="1426454"/>
                    </a:cubicBezTo>
                    <a:cubicBezTo>
                      <a:pt x="1399042" y="1426454"/>
                      <a:pt x="1645920" y="1673332"/>
                      <a:pt x="1645920" y="1975094"/>
                    </a:cubicBezTo>
                    <a:lnTo>
                      <a:pt x="3291840" y="1975094"/>
                    </a:lnTo>
                    <a:cubicBezTo>
                      <a:pt x="3297313" y="1678848"/>
                      <a:pt x="3538718" y="1426454"/>
                      <a:pt x="3840480" y="1426454"/>
                    </a:cubicBezTo>
                    <a:cubicBezTo>
                      <a:pt x="4136726" y="1426454"/>
                      <a:pt x="4383644" y="1678848"/>
                      <a:pt x="4389120" y="1975094"/>
                    </a:cubicBezTo>
                    <a:lnTo>
                      <a:pt x="4937760" y="1975094"/>
                    </a:lnTo>
                    <a:lnTo>
                      <a:pt x="4937760" y="932678"/>
                    </a:lnTo>
                    <a:lnTo>
                      <a:pt x="3840480" y="932678"/>
                    </a:lnTo>
                    <a:close/>
                  </a:path>
                </a:pathLst>
              </a:custGeom>
              <a:grpFill/>
              <a:ln w="9797" cap="flat">
                <a:noFill/>
                <a:prstDash val="solid"/>
                <a:miter/>
              </a:ln>
            </p:spPr>
            <p:txBody>
              <a:bodyPr rtlCol="0" anchor="ctr"/>
              <a:lstStyle/>
              <a:p>
                <a:endParaRPr lang="en-US" dirty="0"/>
              </a:p>
            </p:txBody>
          </p:sp>
          <p:sp>
            <p:nvSpPr>
              <p:cNvPr id="362" name="Freeform: Shape 361">
                <a:extLst>
                  <a:ext uri="{FF2B5EF4-FFF2-40B4-BE49-F238E27FC236}">
                    <a16:creationId xmlns:a16="http://schemas.microsoft.com/office/drawing/2014/main" id="{35D6EFDE-7C8D-4D94-B88A-006855948932}"/>
                  </a:ext>
                </a:extLst>
              </p:cNvPr>
              <p:cNvSpPr/>
              <p:nvPr/>
            </p:nvSpPr>
            <p:spPr>
              <a:xfrm>
                <a:off x="4285478" y="3780139"/>
                <a:ext cx="877843" cy="877843"/>
              </a:xfrm>
              <a:custGeom>
                <a:avLst/>
                <a:gdLst>
                  <a:gd name="connsiteX0" fmla="*/ 438922 w 877843"/>
                  <a:gd name="connsiteY0" fmla="*/ 109718 h 877843"/>
                  <a:gd name="connsiteX1" fmla="*/ 768125 w 877843"/>
                  <a:gd name="connsiteY1" fmla="*/ 438922 h 877843"/>
                  <a:gd name="connsiteX2" fmla="*/ 438922 w 877843"/>
                  <a:gd name="connsiteY2" fmla="*/ 768125 h 877843"/>
                  <a:gd name="connsiteX3" fmla="*/ 109718 w 877843"/>
                  <a:gd name="connsiteY3" fmla="*/ 438922 h 877843"/>
                  <a:gd name="connsiteX4" fmla="*/ 438922 w 877843"/>
                  <a:gd name="connsiteY4" fmla="*/ 109718 h 877843"/>
                  <a:gd name="connsiteX5" fmla="*/ 438922 w 877843"/>
                  <a:gd name="connsiteY5" fmla="*/ 0 h 877843"/>
                  <a:gd name="connsiteX6" fmla="*/ 0 w 877843"/>
                  <a:gd name="connsiteY6" fmla="*/ 438922 h 877843"/>
                  <a:gd name="connsiteX7" fmla="*/ 438922 w 877843"/>
                  <a:gd name="connsiteY7" fmla="*/ 877844 h 877843"/>
                  <a:gd name="connsiteX8" fmla="*/ 877844 w 877843"/>
                  <a:gd name="connsiteY8" fmla="*/ 438922 h 877843"/>
                  <a:gd name="connsiteX9" fmla="*/ 438922 w 877843"/>
                  <a:gd name="connsiteY9" fmla="*/ 0 h 87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7843" h="877843">
                    <a:moveTo>
                      <a:pt x="438922" y="109718"/>
                    </a:moveTo>
                    <a:cubicBezTo>
                      <a:pt x="619973" y="109718"/>
                      <a:pt x="768125" y="257861"/>
                      <a:pt x="768125" y="438922"/>
                    </a:cubicBezTo>
                    <a:cubicBezTo>
                      <a:pt x="768125" y="619983"/>
                      <a:pt x="619983" y="768125"/>
                      <a:pt x="438922" y="768125"/>
                    </a:cubicBezTo>
                    <a:cubicBezTo>
                      <a:pt x="257861" y="768125"/>
                      <a:pt x="109718" y="619983"/>
                      <a:pt x="109718" y="438922"/>
                    </a:cubicBezTo>
                    <a:cubicBezTo>
                      <a:pt x="109718" y="257861"/>
                      <a:pt x="257861" y="109718"/>
                      <a:pt x="438922" y="109718"/>
                    </a:cubicBezTo>
                    <a:moveTo>
                      <a:pt x="438922" y="0"/>
                    </a:moveTo>
                    <a:cubicBezTo>
                      <a:pt x="197510" y="0"/>
                      <a:pt x="0" y="197510"/>
                      <a:pt x="0" y="438922"/>
                    </a:cubicBezTo>
                    <a:cubicBezTo>
                      <a:pt x="0" y="680333"/>
                      <a:pt x="197510" y="877844"/>
                      <a:pt x="438922" y="877844"/>
                    </a:cubicBezTo>
                    <a:cubicBezTo>
                      <a:pt x="680333" y="877844"/>
                      <a:pt x="877844" y="680333"/>
                      <a:pt x="877844" y="438922"/>
                    </a:cubicBezTo>
                    <a:cubicBezTo>
                      <a:pt x="877844" y="197510"/>
                      <a:pt x="680333" y="0"/>
                      <a:pt x="438922" y="0"/>
                    </a:cubicBezTo>
                    <a:close/>
                  </a:path>
                </a:pathLst>
              </a:custGeom>
              <a:grpFill/>
              <a:ln w="9797" cap="flat">
                <a:noFill/>
                <a:prstDash val="solid"/>
                <a:miter/>
              </a:ln>
            </p:spPr>
            <p:txBody>
              <a:bodyPr rtlCol="0" anchor="ctr"/>
              <a:lstStyle/>
              <a:p>
                <a:endParaRPr lang="en-US" dirty="0"/>
              </a:p>
            </p:txBody>
          </p:sp>
          <p:sp>
            <p:nvSpPr>
              <p:cNvPr id="363" name="Freeform: Shape 362">
                <a:extLst>
                  <a:ext uri="{FF2B5EF4-FFF2-40B4-BE49-F238E27FC236}">
                    <a16:creationId xmlns:a16="http://schemas.microsoft.com/office/drawing/2014/main" id="{0FF274B8-3B1B-997D-D0F3-10844D885F9B}"/>
                  </a:ext>
                </a:extLst>
              </p:cNvPr>
              <p:cNvSpPr/>
              <p:nvPr/>
            </p:nvSpPr>
            <p:spPr>
              <a:xfrm>
                <a:off x="7028678" y="3780139"/>
                <a:ext cx="877843" cy="877843"/>
              </a:xfrm>
              <a:custGeom>
                <a:avLst/>
                <a:gdLst>
                  <a:gd name="connsiteX0" fmla="*/ 438922 w 877843"/>
                  <a:gd name="connsiteY0" fmla="*/ 109718 h 877843"/>
                  <a:gd name="connsiteX1" fmla="*/ 768125 w 877843"/>
                  <a:gd name="connsiteY1" fmla="*/ 438922 h 877843"/>
                  <a:gd name="connsiteX2" fmla="*/ 438922 w 877843"/>
                  <a:gd name="connsiteY2" fmla="*/ 768125 h 877843"/>
                  <a:gd name="connsiteX3" fmla="*/ 109718 w 877843"/>
                  <a:gd name="connsiteY3" fmla="*/ 438922 h 877843"/>
                  <a:gd name="connsiteX4" fmla="*/ 438922 w 877843"/>
                  <a:gd name="connsiteY4" fmla="*/ 109718 h 877843"/>
                  <a:gd name="connsiteX5" fmla="*/ 438922 w 877843"/>
                  <a:gd name="connsiteY5" fmla="*/ 0 h 877843"/>
                  <a:gd name="connsiteX6" fmla="*/ 0 w 877843"/>
                  <a:gd name="connsiteY6" fmla="*/ 438922 h 877843"/>
                  <a:gd name="connsiteX7" fmla="*/ 438922 w 877843"/>
                  <a:gd name="connsiteY7" fmla="*/ 877844 h 877843"/>
                  <a:gd name="connsiteX8" fmla="*/ 877844 w 877843"/>
                  <a:gd name="connsiteY8" fmla="*/ 438922 h 877843"/>
                  <a:gd name="connsiteX9" fmla="*/ 438922 w 877843"/>
                  <a:gd name="connsiteY9" fmla="*/ 0 h 87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7843" h="877843">
                    <a:moveTo>
                      <a:pt x="438922" y="109718"/>
                    </a:moveTo>
                    <a:cubicBezTo>
                      <a:pt x="619973" y="109718"/>
                      <a:pt x="768125" y="257861"/>
                      <a:pt x="768125" y="438922"/>
                    </a:cubicBezTo>
                    <a:cubicBezTo>
                      <a:pt x="768125" y="619983"/>
                      <a:pt x="619983" y="768125"/>
                      <a:pt x="438922" y="768125"/>
                    </a:cubicBezTo>
                    <a:cubicBezTo>
                      <a:pt x="257861" y="768125"/>
                      <a:pt x="109718" y="619983"/>
                      <a:pt x="109718" y="438922"/>
                    </a:cubicBezTo>
                    <a:cubicBezTo>
                      <a:pt x="109718" y="257861"/>
                      <a:pt x="257861" y="109718"/>
                      <a:pt x="438922" y="109718"/>
                    </a:cubicBezTo>
                    <a:moveTo>
                      <a:pt x="438922" y="0"/>
                    </a:moveTo>
                    <a:cubicBezTo>
                      <a:pt x="197510" y="0"/>
                      <a:pt x="0" y="197510"/>
                      <a:pt x="0" y="438922"/>
                    </a:cubicBezTo>
                    <a:cubicBezTo>
                      <a:pt x="0" y="680333"/>
                      <a:pt x="197510" y="877844"/>
                      <a:pt x="438922" y="877844"/>
                    </a:cubicBezTo>
                    <a:cubicBezTo>
                      <a:pt x="680333" y="877844"/>
                      <a:pt x="877844" y="680333"/>
                      <a:pt x="877844" y="438922"/>
                    </a:cubicBezTo>
                    <a:cubicBezTo>
                      <a:pt x="877844" y="197510"/>
                      <a:pt x="680333" y="0"/>
                      <a:pt x="438922" y="0"/>
                    </a:cubicBezTo>
                    <a:close/>
                  </a:path>
                </a:pathLst>
              </a:custGeom>
              <a:grpFill/>
              <a:ln w="9797"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39830092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DF738ECF-F751-E1C8-37CA-FFF04E6E01AD}"/>
              </a:ext>
            </a:extLst>
          </p:cNvPr>
          <p:cNvGraphicFramePr>
            <a:graphicFrameLocks noChangeAspect="1"/>
          </p:cNvGraphicFramePr>
          <p:nvPr>
            <p:custDataLst>
              <p:tags r:id="rId1"/>
            </p:custDataLst>
            <p:extLst>
              <p:ext uri="{D42A27DB-BD31-4B8C-83A1-F6EECF244321}">
                <p14:modId xmlns:p14="http://schemas.microsoft.com/office/powerpoint/2010/main" val="2764463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253435-B723-7344-DE29-AAD523E360EB}"/>
              </a:ext>
            </a:extLst>
          </p:cNvPr>
          <p:cNvSpPr>
            <a:spLocks noGrp="1"/>
          </p:cNvSpPr>
          <p:nvPr>
            <p:ph type="title"/>
          </p:nvPr>
        </p:nvSpPr>
        <p:spPr>
          <a:xfrm>
            <a:off x="531813" y="560588"/>
            <a:ext cx="11089972" cy="664797"/>
          </a:xfrm>
        </p:spPr>
        <p:txBody>
          <a:bodyPr vert="horz"/>
          <a:lstStyle/>
          <a:p>
            <a:r>
              <a:rPr lang="en-US" sz="2400" dirty="0"/>
              <a:t>Data Analytics provides valuable insights that improve decision making and overall business efficiency</a:t>
            </a:r>
          </a:p>
        </p:txBody>
      </p:sp>
      <p:grpSp>
        <p:nvGrpSpPr>
          <p:cNvPr id="345" name="Group 344">
            <a:extLst>
              <a:ext uri="{FF2B5EF4-FFF2-40B4-BE49-F238E27FC236}">
                <a16:creationId xmlns:a16="http://schemas.microsoft.com/office/drawing/2014/main" id="{FAA3DC2B-53B3-E681-590E-2432570EF90F}"/>
              </a:ext>
            </a:extLst>
          </p:cNvPr>
          <p:cNvGrpSpPr/>
          <p:nvPr/>
        </p:nvGrpSpPr>
        <p:grpSpPr>
          <a:xfrm>
            <a:off x="4424623" y="2681484"/>
            <a:ext cx="3342755" cy="3191869"/>
            <a:chOff x="4424623" y="2681484"/>
            <a:chExt cx="3342755" cy="3191869"/>
          </a:xfrm>
        </p:grpSpPr>
        <p:grpSp>
          <p:nvGrpSpPr>
            <p:cNvPr id="344" name="Group 343">
              <a:extLst>
                <a:ext uri="{FF2B5EF4-FFF2-40B4-BE49-F238E27FC236}">
                  <a16:creationId xmlns:a16="http://schemas.microsoft.com/office/drawing/2014/main" id="{EA51FE71-27FD-E8D7-7A49-B78B34240A76}"/>
                </a:ext>
              </a:extLst>
            </p:cNvPr>
            <p:cNvGrpSpPr/>
            <p:nvPr/>
          </p:nvGrpSpPr>
          <p:grpSpPr>
            <a:xfrm>
              <a:off x="4424623" y="2681484"/>
              <a:ext cx="3342755" cy="3191869"/>
              <a:chOff x="4424623" y="2681484"/>
              <a:chExt cx="3342755" cy="3191869"/>
            </a:xfrm>
          </p:grpSpPr>
          <p:sp>
            <p:nvSpPr>
              <p:cNvPr id="12" name="Arc 11">
                <a:extLst>
                  <a:ext uri="{FF2B5EF4-FFF2-40B4-BE49-F238E27FC236}">
                    <a16:creationId xmlns:a16="http://schemas.microsoft.com/office/drawing/2014/main" id="{603EA051-4F90-B699-F84F-FE9D44235C9C}"/>
                  </a:ext>
                </a:extLst>
              </p:cNvPr>
              <p:cNvSpPr/>
              <p:nvPr/>
            </p:nvSpPr>
            <p:spPr>
              <a:xfrm flipH="1" flipV="1">
                <a:off x="4505552" y="2681484"/>
                <a:ext cx="3191869" cy="3191869"/>
              </a:xfrm>
              <a:prstGeom prst="arc">
                <a:avLst>
                  <a:gd name="adj1" fmla="val 17896699"/>
                  <a:gd name="adj2" fmla="val 3587017"/>
                </a:avLst>
              </a:prstGeom>
              <a:noFill/>
              <a:ln w="76200" cap="rnd" cmpd="sng" algn="ctr">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16200000" scaled="1"/>
                  <a:tileRect/>
                </a:gradFill>
                <a:prstDash val="solid"/>
                <a:miter lim="800000"/>
              </a:ln>
              <a:effectLst/>
            </p:spPr>
            <p:txBody>
              <a:bodyPr rtlCol="0" anchor="ctr"/>
              <a:lstStyle/>
              <a:p>
                <a:pPr algn="ctr"/>
                <a:endParaRPr lang="id-ID" sz="1400" kern="0">
                  <a:solidFill>
                    <a:prstClr val="black"/>
                  </a:solidFill>
                  <a:latin typeface="Segoe UI Light"/>
                  <a:sym typeface="Arial"/>
                </a:endParaRPr>
              </a:p>
            </p:txBody>
          </p:sp>
          <p:sp>
            <p:nvSpPr>
              <p:cNvPr id="13" name="Arc 12">
                <a:extLst>
                  <a:ext uri="{FF2B5EF4-FFF2-40B4-BE49-F238E27FC236}">
                    <a16:creationId xmlns:a16="http://schemas.microsoft.com/office/drawing/2014/main" id="{048FA0F0-32BE-EA92-BA60-D5C479A7312A}"/>
                  </a:ext>
                </a:extLst>
              </p:cNvPr>
              <p:cNvSpPr/>
              <p:nvPr/>
            </p:nvSpPr>
            <p:spPr>
              <a:xfrm>
                <a:off x="4505552" y="2681484"/>
                <a:ext cx="3191869" cy="3191869"/>
              </a:xfrm>
              <a:prstGeom prst="arc">
                <a:avLst>
                  <a:gd name="adj1" fmla="val 17896699"/>
                  <a:gd name="adj2" fmla="val 3587017"/>
                </a:avLst>
              </a:prstGeom>
              <a:noFill/>
              <a:ln w="76200" cap="rnd" cmpd="sng" algn="ctr">
                <a:gradFill>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400" b="0" i="0" u="none" strike="noStrike" kern="0" cap="none" spc="0" normalizeH="0" baseline="0" noProof="0">
                  <a:ln>
                    <a:noFill/>
                  </a:ln>
                  <a:solidFill>
                    <a:prstClr val="black"/>
                  </a:solidFill>
                  <a:effectLst/>
                  <a:uLnTx/>
                  <a:uFillTx/>
                  <a:latin typeface="Segoe UI Light"/>
                  <a:sym typeface="Arial"/>
                </a:endParaRPr>
              </a:p>
            </p:txBody>
          </p:sp>
          <p:grpSp>
            <p:nvGrpSpPr>
              <p:cNvPr id="14" name="Group 13">
                <a:extLst>
                  <a:ext uri="{FF2B5EF4-FFF2-40B4-BE49-F238E27FC236}">
                    <a16:creationId xmlns:a16="http://schemas.microsoft.com/office/drawing/2014/main" id="{512E8F47-F88C-8F73-ED55-DD0BB46E8B51}"/>
                  </a:ext>
                </a:extLst>
              </p:cNvPr>
              <p:cNvGrpSpPr/>
              <p:nvPr/>
            </p:nvGrpSpPr>
            <p:grpSpPr>
              <a:xfrm>
                <a:off x="4424623" y="3132344"/>
                <a:ext cx="3342755" cy="2277175"/>
                <a:chOff x="4013134" y="2276555"/>
                <a:chExt cx="4152105" cy="2828526"/>
              </a:xfrm>
              <a:solidFill>
                <a:srgbClr val="F2F2F2"/>
              </a:solidFill>
            </p:grpSpPr>
            <p:sp>
              <p:nvSpPr>
                <p:cNvPr id="15" name="Oval 14">
                  <a:extLst>
                    <a:ext uri="{FF2B5EF4-FFF2-40B4-BE49-F238E27FC236}">
                      <a16:creationId xmlns:a16="http://schemas.microsoft.com/office/drawing/2014/main" id="{6B222792-D75B-B9AF-A19A-FBF9F412B535}"/>
                    </a:ext>
                  </a:extLst>
                </p:cNvPr>
                <p:cNvSpPr/>
                <p:nvPr/>
              </p:nvSpPr>
              <p:spPr>
                <a:xfrm>
                  <a:off x="4521446" y="2276555"/>
                  <a:ext cx="181217" cy="18121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Light"/>
                  </a:endParaRPr>
                </a:p>
              </p:txBody>
            </p:sp>
            <p:sp>
              <p:nvSpPr>
                <p:cNvPr id="16" name="Oval 15">
                  <a:extLst>
                    <a:ext uri="{FF2B5EF4-FFF2-40B4-BE49-F238E27FC236}">
                      <a16:creationId xmlns:a16="http://schemas.microsoft.com/office/drawing/2014/main" id="{E87BC29F-E884-A64E-7481-2DC5EA518385}"/>
                    </a:ext>
                  </a:extLst>
                </p:cNvPr>
                <p:cNvSpPr/>
                <p:nvPr/>
              </p:nvSpPr>
              <p:spPr>
                <a:xfrm>
                  <a:off x="4509614" y="4923864"/>
                  <a:ext cx="181217" cy="18121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Light"/>
                  </a:endParaRPr>
                </a:p>
              </p:txBody>
            </p:sp>
            <p:sp>
              <p:nvSpPr>
                <p:cNvPr id="17" name="Oval 16">
                  <a:extLst>
                    <a:ext uri="{FF2B5EF4-FFF2-40B4-BE49-F238E27FC236}">
                      <a16:creationId xmlns:a16="http://schemas.microsoft.com/office/drawing/2014/main" id="{9E356D0C-B4E8-058D-DF2A-91AAB6387E09}"/>
                    </a:ext>
                  </a:extLst>
                </p:cNvPr>
                <p:cNvSpPr/>
                <p:nvPr/>
              </p:nvSpPr>
              <p:spPr>
                <a:xfrm>
                  <a:off x="4013134" y="3600584"/>
                  <a:ext cx="181217" cy="18121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Light"/>
                  </a:endParaRPr>
                </a:p>
              </p:txBody>
            </p:sp>
            <p:sp>
              <p:nvSpPr>
                <p:cNvPr id="18" name="Oval 17">
                  <a:extLst>
                    <a:ext uri="{FF2B5EF4-FFF2-40B4-BE49-F238E27FC236}">
                      <a16:creationId xmlns:a16="http://schemas.microsoft.com/office/drawing/2014/main" id="{5EBD7EC9-8220-7E62-580A-28B03A1B86D3}"/>
                    </a:ext>
                  </a:extLst>
                </p:cNvPr>
                <p:cNvSpPr/>
                <p:nvPr/>
              </p:nvSpPr>
              <p:spPr>
                <a:xfrm>
                  <a:off x="7984022" y="3600584"/>
                  <a:ext cx="181217" cy="18121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Light"/>
                  </a:endParaRPr>
                </a:p>
              </p:txBody>
            </p:sp>
            <p:sp>
              <p:nvSpPr>
                <p:cNvPr id="19" name="Oval 18">
                  <a:extLst>
                    <a:ext uri="{FF2B5EF4-FFF2-40B4-BE49-F238E27FC236}">
                      <a16:creationId xmlns:a16="http://schemas.microsoft.com/office/drawing/2014/main" id="{00D99E71-7D5C-0804-48BA-8B2A679A7B11}"/>
                    </a:ext>
                  </a:extLst>
                </p:cNvPr>
                <p:cNvSpPr/>
                <p:nvPr/>
              </p:nvSpPr>
              <p:spPr>
                <a:xfrm>
                  <a:off x="7482769" y="2276555"/>
                  <a:ext cx="181217" cy="18121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Light"/>
                  </a:endParaRPr>
                </a:p>
              </p:txBody>
            </p:sp>
            <p:sp>
              <p:nvSpPr>
                <p:cNvPr id="20" name="Oval 19">
                  <a:extLst>
                    <a:ext uri="{FF2B5EF4-FFF2-40B4-BE49-F238E27FC236}">
                      <a16:creationId xmlns:a16="http://schemas.microsoft.com/office/drawing/2014/main" id="{FD80C7B8-DE42-2D15-906B-5DC8189AE6F7}"/>
                    </a:ext>
                  </a:extLst>
                </p:cNvPr>
                <p:cNvSpPr/>
                <p:nvPr/>
              </p:nvSpPr>
              <p:spPr>
                <a:xfrm>
                  <a:off x="7482769" y="4923864"/>
                  <a:ext cx="181217" cy="181217"/>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Light"/>
                  </a:endParaRPr>
                </a:p>
              </p:txBody>
            </p:sp>
          </p:grpSp>
        </p:grpSp>
        <p:sp>
          <p:nvSpPr>
            <p:cNvPr id="21" name="Oval 20">
              <a:extLst>
                <a:ext uri="{FF2B5EF4-FFF2-40B4-BE49-F238E27FC236}">
                  <a16:creationId xmlns:a16="http://schemas.microsoft.com/office/drawing/2014/main" id="{45AECA43-C356-22D2-F81B-60A9DC6411BA}"/>
                </a:ext>
              </a:extLst>
            </p:cNvPr>
            <p:cNvSpPr/>
            <p:nvPr/>
          </p:nvSpPr>
          <p:spPr>
            <a:xfrm>
              <a:off x="4759169" y="2935101"/>
              <a:ext cx="2684634" cy="2684634"/>
            </a:xfrm>
            <a:prstGeom prst="ellipse">
              <a:avLst/>
            </a:prstGeom>
            <a:solidFill>
              <a:srgbClr val="F2F2F2"/>
            </a:solidFill>
            <a:ln w="11941" cap="flat">
              <a:noFill/>
              <a:prstDash val="solid"/>
              <a:miter/>
            </a:ln>
          </p:spPr>
          <p:txBody>
            <a:bodyPr rtlCol="0" anchor="ctr"/>
            <a:lstStyle/>
            <a:p>
              <a:endParaRPr lang="id-ID" dirty="0">
                <a:solidFill>
                  <a:schemeClr val="tx1"/>
                </a:solidFill>
                <a:sym typeface="Arial"/>
              </a:endParaRPr>
            </a:p>
          </p:txBody>
        </p:sp>
      </p:grpSp>
      <p:grpSp>
        <p:nvGrpSpPr>
          <p:cNvPr id="295" name="Group 294">
            <a:extLst>
              <a:ext uri="{FF2B5EF4-FFF2-40B4-BE49-F238E27FC236}">
                <a16:creationId xmlns:a16="http://schemas.microsoft.com/office/drawing/2014/main" id="{078980A3-1E30-C0A0-5C5C-97988B0A4DCA}"/>
              </a:ext>
            </a:extLst>
          </p:cNvPr>
          <p:cNvGrpSpPr/>
          <p:nvPr/>
        </p:nvGrpSpPr>
        <p:grpSpPr>
          <a:xfrm>
            <a:off x="7874216" y="3833755"/>
            <a:ext cx="731520" cy="731520"/>
            <a:chOff x="8162041" y="3627284"/>
            <a:chExt cx="731520" cy="731520"/>
          </a:xfrm>
        </p:grpSpPr>
        <p:sp>
          <p:nvSpPr>
            <p:cNvPr id="30" name="Freeform: Shape 29">
              <a:extLst>
                <a:ext uri="{FF2B5EF4-FFF2-40B4-BE49-F238E27FC236}">
                  <a16:creationId xmlns:a16="http://schemas.microsoft.com/office/drawing/2014/main" id="{37B8BA60-B4B9-4C46-60B8-6E5C970DCE16}"/>
                </a:ext>
              </a:extLst>
            </p:cNvPr>
            <p:cNvSpPr>
              <a:spLocks noChangeAspect="1"/>
            </p:cNvSpPr>
            <p:nvPr/>
          </p:nvSpPr>
          <p:spPr>
            <a:xfrm>
              <a:off x="8162041" y="3627284"/>
              <a:ext cx="731520" cy="731520"/>
            </a:xfrm>
            <a:custGeom>
              <a:avLst/>
              <a:gdLst>
                <a:gd name="connsiteX0" fmla="*/ 1123915 w 1123914"/>
                <a:gd name="connsiteY0" fmla="*/ 561957 h 1123914"/>
                <a:gd name="connsiteX1" fmla="*/ 561957 w 1123914"/>
                <a:gd name="connsiteY1" fmla="*/ 1123915 h 1123914"/>
                <a:gd name="connsiteX2" fmla="*/ 0 w 1123914"/>
                <a:gd name="connsiteY2" fmla="*/ 561957 h 1123914"/>
                <a:gd name="connsiteX3" fmla="*/ 561957 w 1123914"/>
                <a:gd name="connsiteY3" fmla="*/ 0 h 1123914"/>
                <a:gd name="connsiteX4" fmla="*/ 1123915 w 1123914"/>
                <a:gd name="connsiteY4" fmla="*/ 561957 h 112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14" h="1123914">
                  <a:moveTo>
                    <a:pt x="1123915" y="561957"/>
                  </a:moveTo>
                  <a:cubicBezTo>
                    <a:pt x="1123915" y="872318"/>
                    <a:pt x="872318" y="1123915"/>
                    <a:pt x="561957" y="1123915"/>
                  </a:cubicBezTo>
                  <a:cubicBezTo>
                    <a:pt x="251597" y="1123915"/>
                    <a:pt x="0" y="872318"/>
                    <a:pt x="0" y="561957"/>
                  </a:cubicBezTo>
                  <a:cubicBezTo>
                    <a:pt x="0" y="251597"/>
                    <a:pt x="251597" y="0"/>
                    <a:pt x="561957" y="0"/>
                  </a:cubicBezTo>
                  <a:cubicBezTo>
                    <a:pt x="872318" y="0"/>
                    <a:pt x="1123915" y="251597"/>
                    <a:pt x="1123915" y="561957"/>
                  </a:cubicBezTo>
                  <a:close/>
                </a:path>
              </a:pathLst>
            </a:custGeom>
            <a:solidFill>
              <a:srgbClr val="F2F2F2"/>
            </a:solidFill>
            <a:ln w="11941" cap="flat">
              <a:noFill/>
              <a:prstDash val="solid"/>
              <a:miter/>
            </a:ln>
          </p:spPr>
          <p:txBody>
            <a:bodyPr rtlCol="0" anchor="ctr"/>
            <a:lstStyle/>
            <a:p>
              <a:endParaRPr lang="en-US" dirty="0"/>
            </a:p>
          </p:txBody>
        </p:sp>
        <p:grpSp>
          <p:nvGrpSpPr>
            <p:cNvPr id="101" name="Group 100">
              <a:extLst>
                <a:ext uri="{FF2B5EF4-FFF2-40B4-BE49-F238E27FC236}">
                  <a16:creationId xmlns:a16="http://schemas.microsoft.com/office/drawing/2014/main" id="{B5D5DBB5-9C85-5CB1-DDA0-4906CAB310BC}"/>
                </a:ext>
              </a:extLst>
            </p:cNvPr>
            <p:cNvGrpSpPr/>
            <p:nvPr/>
          </p:nvGrpSpPr>
          <p:grpSpPr>
            <a:xfrm>
              <a:off x="8284452" y="3731493"/>
              <a:ext cx="486699" cy="442745"/>
              <a:chOff x="8231998" y="3668031"/>
              <a:chExt cx="581513" cy="528996"/>
            </a:xfrm>
          </p:grpSpPr>
          <p:sp>
            <p:nvSpPr>
              <p:cNvPr id="49" name="Freeform: Shape 48">
                <a:extLst>
                  <a:ext uri="{FF2B5EF4-FFF2-40B4-BE49-F238E27FC236}">
                    <a16:creationId xmlns:a16="http://schemas.microsoft.com/office/drawing/2014/main" id="{3507452D-F80C-1707-4328-201E00C0BED4}"/>
                  </a:ext>
                </a:extLst>
              </p:cNvPr>
              <p:cNvSpPr/>
              <p:nvPr/>
            </p:nvSpPr>
            <p:spPr>
              <a:xfrm>
                <a:off x="8231998" y="3876108"/>
                <a:ext cx="232399" cy="247029"/>
              </a:xfrm>
              <a:custGeom>
                <a:avLst/>
                <a:gdLst>
                  <a:gd name="connsiteX0" fmla="*/ 1197840 w 1934156"/>
                  <a:gd name="connsiteY0" fmla="*/ 2055899 h 2055914"/>
                  <a:gd name="connsiteX1" fmla="*/ 1147975 w 1934156"/>
                  <a:gd name="connsiteY1" fmla="*/ 2006033 h 2055914"/>
                  <a:gd name="connsiteX2" fmla="*/ 1147975 w 1934156"/>
                  <a:gd name="connsiteY2" fmla="*/ 1862368 h 2055914"/>
                  <a:gd name="connsiteX3" fmla="*/ 740472 w 1934156"/>
                  <a:gd name="connsiteY3" fmla="*/ 1688312 h 2055914"/>
                  <a:gd name="connsiteX4" fmla="*/ 336948 w 1934156"/>
                  <a:gd name="connsiteY4" fmla="*/ 1297269 h 2055914"/>
                  <a:gd name="connsiteX5" fmla="*/ 98064 w 1934156"/>
                  <a:gd name="connsiteY5" fmla="*/ 782037 h 2055914"/>
                  <a:gd name="connsiteX6" fmla="*/ 14252 w 1934156"/>
                  <a:gd name="connsiteY6" fmla="*/ 448895 h 2055914"/>
                  <a:gd name="connsiteX7" fmla="*/ 284 w 1934156"/>
                  <a:gd name="connsiteY7" fmla="*/ 204505 h 2055914"/>
                  <a:gd name="connsiteX8" fmla="*/ 48695 w 1934156"/>
                  <a:gd name="connsiteY8" fmla="*/ 65474 h 2055914"/>
                  <a:gd name="connsiteX9" fmla="*/ 180800 w 1934156"/>
                  <a:gd name="connsiteY9" fmla="*/ 453 h 2055914"/>
                  <a:gd name="connsiteX10" fmla="*/ 320487 w 1934156"/>
                  <a:gd name="connsiteY10" fmla="*/ 46875 h 2055914"/>
                  <a:gd name="connsiteX11" fmla="*/ 385355 w 1934156"/>
                  <a:gd name="connsiteY11" fmla="*/ 165587 h 2055914"/>
                  <a:gd name="connsiteX12" fmla="*/ 435221 w 1934156"/>
                  <a:gd name="connsiteY12" fmla="*/ 505734 h 2055914"/>
                  <a:gd name="connsiteX13" fmla="*/ 485086 w 1934156"/>
                  <a:gd name="connsiteY13" fmla="*/ 636928 h 2055914"/>
                  <a:gd name="connsiteX14" fmla="*/ 661660 w 1934156"/>
                  <a:gd name="connsiteY14" fmla="*/ 892300 h 2055914"/>
                  <a:gd name="connsiteX15" fmla="*/ 773867 w 1934156"/>
                  <a:gd name="connsiteY15" fmla="*/ 959617 h 2055914"/>
                  <a:gd name="connsiteX16" fmla="*/ 957906 w 1934156"/>
                  <a:gd name="connsiteY16" fmla="*/ 1003016 h 2055914"/>
                  <a:gd name="connsiteX17" fmla="*/ 791815 w 1934156"/>
                  <a:gd name="connsiteY17" fmla="*/ 783080 h 2055914"/>
                  <a:gd name="connsiteX18" fmla="*/ 756760 w 1934156"/>
                  <a:gd name="connsiteY18" fmla="*/ 636122 h 2055914"/>
                  <a:gd name="connsiteX19" fmla="*/ 841682 w 1934156"/>
                  <a:gd name="connsiteY19" fmla="*/ 511248 h 2055914"/>
                  <a:gd name="connsiteX20" fmla="*/ 967702 w 1934156"/>
                  <a:gd name="connsiteY20" fmla="*/ 485185 h 2055914"/>
                  <a:gd name="connsiteX21" fmla="*/ 1082094 w 1934156"/>
                  <a:gd name="connsiteY21" fmla="*/ 544159 h 2055914"/>
                  <a:gd name="connsiteX22" fmla="*/ 1353426 w 1934156"/>
                  <a:gd name="connsiteY22" fmla="*/ 835928 h 2055914"/>
                  <a:gd name="connsiteX23" fmla="*/ 1674126 w 1934156"/>
                  <a:gd name="connsiteY23" fmla="*/ 1185069 h 2055914"/>
                  <a:gd name="connsiteX24" fmla="*/ 1678106 w 1934156"/>
                  <a:gd name="connsiteY24" fmla="*/ 1190542 h 2055914"/>
                  <a:gd name="connsiteX25" fmla="*/ 1933978 w 1934156"/>
                  <a:gd name="connsiteY25" fmla="*/ 1998042 h 2055914"/>
                  <a:gd name="connsiteX26" fmla="*/ 1916220 w 1934156"/>
                  <a:gd name="connsiteY26" fmla="*/ 2040637 h 2055914"/>
                  <a:gd name="connsiteX27" fmla="*/ 1871138 w 1934156"/>
                  <a:gd name="connsiteY27" fmla="*/ 2050434 h 2055914"/>
                  <a:gd name="connsiteX28" fmla="*/ 1212280 w 1934156"/>
                  <a:gd name="connsiteY28" fmla="*/ 2054414 h 2055914"/>
                  <a:gd name="connsiteX29" fmla="*/ 1197813 w 1934156"/>
                  <a:gd name="connsiteY29" fmla="*/ 2055907 h 2055914"/>
                  <a:gd name="connsiteX30" fmla="*/ 193829 w 1934156"/>
                  <a:gd name="connsiteY30" fmla="*/ 99801 h 2055914"/>
                  <a:gd name="connsiteX31" fmla="*/ 125478 w 1934156"/>
                  <a:gd name="connsiteY31" fmla="*/ 129231 h 2055914"/>
                  <a:gd name="connsiteX32" fmla="*/ 100066 w 1934156"/>
                  <a:gd name="connsiteY32" fmla="*/ 198538 h 2055914"/>
                  <a:gd name="connsiteX33" fmla="*/ 114035 w 1934156"/>
                  <a:gd name="connsiteY33" fmla="*/ 443427 h 2055914"/>
                  <a:gd name="connsiteX34" fmla="*/ 188355 w 1934156"/>
                  <a:gd name="connsiteY34" fmla="*/ 740212 h 2055914"/>
                  <a:gd name="connsiteX35" fmla="*/ 427278 w 1934156"/>
                  <a:gd name="connsiteY35" fmla="*/ 1254944 h 2055914"/>
                  <a:gd name="connsiteX36" fmla="*/ 427240 w 1934156"/>
                  <a:gd name="connsiteY36" fmla="*/ 1254906 h 2055914"/>
                  <a:gd name="connsiteX37" fmla="*/ 779859 w 1934156"/>
                  <a:gd name="connsiteY37" fmla="*/ 1596581 h 2055914"/>
                  <a:gd name="connsiteX38" fmla="*/ 1217282 w 1934156"/>
                  <a:gd name="connsiteY38" fmla="*/ 1783609 h 2055914"/>
                  <a:gd name="connsiteX39" fmla="*/ 1247707 w 1934156"/>
                  <a:gd name="connsiteY39" fmla="*/ 1829495 h 2055914"/>
                  <a:gd name="connsiteX40" fmla="*/ 1247707 w 1934156"/>
                  <a:gd name="connsiteY40" fmla="*/ 1942240 h 2055914"/>
                  <a:gd name="connsiteX41" fmla="*/ 1821300 w 1934156"/>
                  <a:gd name="connsiteY41" fmla="*/ 1937724 h 2055914"/>
                  <a:gd name="connsiteX42" fmla="*/ 1592370 w 1934156"/>
                  <a:gd name="connsiteY42" fmla="*/ 1245958 h 2055914"/>
                  <a:gd name="connsiteX43" fmla="*/ 1278636 w 1934156"/>
                  <a:gd name="connsiteY43" fmla="*/ 904282 h 2055914"/>
                  <a:gd name="connsiteX44" fmla="*/ 1005316 w 1934156"/>
                  <a:gd name="connsiteY44" fmla="*/ 610525 h 2055914"/>
                  <a:gd name="connsiteX45" fmla="*/ 892609 w 1934156"/>
                  <a:gd name="connsiteY45" fmla="*/ 595562 h 2055914"/>
                  <a:gd name="connsiteX46" fmla="*/ 852885 w 1934156"/>
                  <a:gd name="connsiteY46" fmla="*/ 653923 h 2055914"/>
                  <a:gd name="connsiteX47" fmla="*/ 868652 w 1934156"/>
                  <a:gd name="connsiteY47" fmla="*/ 722771 h 2055914"/>
                  <a:gd name="connsiteX48" fmla="*/ 1085110 w 1934156"/>
                  <a:gd name="connsiteY48" fmla="*/ 1008573 h 2055914"/>
                  <a:gd name="connsiteX49" fmla="*/ 1085110 w 1934156"/>
                  <a:gd name="connsiteY49" fmla="*/ 1008535 h 2055914"/>
                  <a:gd name="connsiteX50" fmla="*/ 1087292 w 1934156"/>
                  <a:gd name="connsiteY50" fmla="*/ 1088787 h 2055914"/>
                  <a:gd name="connsiteX51" fmla="*/ 1012818 w 1934156"/>
                  <a:gd name="connsiteY51" fmla="*/ 1118791 h 2055914"/>
                  <a:gd name="connsiteX52" fmla="*/ 750970 w 1934156"/>
                  <a:gd name="connsiteY52" fmla="*/ 1057444 h 2055914"/>
                  <a:gd name="connsiteX53" fmla="*/ 750931 w 1934156"/>
                  <a:gd name="connsiteY53" fmla="*/ 1057444 h 2055914"/>
                  <a:gd name="connsiteX54" fmla="*/ 583880 w 1934156"/>
                  <a:gd name="connsiteY54" fmla="*/ 948676 h 2055914"/>
                  <a:gd name="connsiteX55" fmla="*/ 406807 w 1934156"/>
                  <a:gd name="connsiteY55" fmla="*/ 693304 h 2055914"/>
                  <a:gd name="connsiteX56" fmla="*/ 406807 w 1934156"/>
                  <a:gd name="connsiteY56" fmla="*/ 693342 h 2055914"/>
                  <a:gd name="connsiteX57" fmla="*/ 337959 w 1934156"/>
                  <a:gd name="connsiteY57" fmla="*/ 520246 h 2055914"/>
                  <a:gd name="connsiteX58" fmla="*/ 288094 w 1934156"/>
                  <a:gd name="connsiteY58" fmla="*/ 179110 h 2055914"/>
                  <a:gd name="connsiteX59" fmla="*/ 255679 w 1934156"/>
                  <a:gd name="connsiteY59" fmla="*/ 121246 h 2055914"/>
                  <a:gd name="connsiteX60" fmla="*/ 193834 w 1934156"/>
                  <a:gd name="connsiteY60" fmla="*/ 99814 h 205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34156" h="2055914">
                    <a:moveTo>
                      <a:pt x="1197840" y="2055899"/>
                    </a:moveTo>
                    <a:cubicBezTo>
                      <a:pt x="1170286" y="2055899"/>
                      <a:pt x="1147975" y="2033588"/>
                      <a:pt x="1147975" y="2006033"/>
                    </a:cubicBezTo>
                    <a:lnTo>
                      <a:pt x="1147975" y="1862368"/>
                    </a:lnTo>
                    <a:lnTo>
                      <a:pt x="740472" y="1688312"/>
                    </a:lnTo>
                    <a:cubicBezTo>
                      <a:pt x="562018" y="1612652"/>
                      <a:pt x="418195" y="1473235"/>
                      <a:pt x="336948" y="1297269"/>
                    </a:cubicBezTo>
                    <a:lnTo>
                      <a:pt x="98064" y="782037"/>
                    </a:lnTo>
                    <a:cubicBezTo>
                      <a:pt x="49500" y="677217"/>
                      <a:pt x="21064" y="564208"/>
                      <a:pt x="14252" y="448895"/>
                    </a:cubicBezTo>
                    <a:lnTo>
                      <a:pt x="284" y="204505"/>
                    </a:lnTo>
                    <a:cubicBezTo>
                      <a:pt x="-2472" y="153568"/>
                      <a:pt x="14941" y="103624"/>
                      <a:pt x="48695" y="65474"/>
                    </a:cubicBezTo>
                    <a:cubicBezTo>
                      <a:pt x="82488" y="27281"/>
                      <a:pt x="129943" y="3936"/>
                      <a:pt x="180800" y="453"/>
                    </a:cubicBezTo>
                    <a:cubicBezTo>
                      <a:pt x="231661" y="-3029"/>
                      <a:pt x="281828" y="13657"/>
                      <a:pt x="320487" y="46875"/>
                    </a:cubicBezTo>
                    <a:cubicBezTo>
                      <a:pt x="355888" y="77186"/>
                      <a:pt x="378965" y="119435"/>
                      <a:pt x="385355" y="165587"/>
                    </a:cubicBezTo>
                    <a:lnTo>
                      <a:pt x="435221" y="505734"/>
                    </a:lnTo>
                    <a:cubicBezTo>
                      <a:pt x="441612" y="552692"/>
                      <a:pt x="458680" y="597582"/>
                      <a:pt x="485086" y="636928"/>
                    </a:cubicBezTo>
                    <a:lnTo>
                      <a:pt x="661660" y="892300"/>
                    </a:lnTo>
                    <a:cubicBezTo>
                      <a:pt x="687990" y="929461"/>
                      <a:pt x="728671" y="953877"/>
                      <a:pt x="773867" y="959617"/>
                    </a:cubicBezTo>
                    <a:lnTo>
                      <a:pt x="957906" y="1003016"/>
                    </a:lnTo>
                    <a:lnTo>
                      <a:pt x="791815" y="783080"/>
                    </a:lnTo>
                    <a:cubicBezTo>
                      <a:pt x="760013" y="741174"/>
                      <a:pt x="747269" y="687863"/>
                      <a:pt x="756760" y="636122"/>
                    </a:cubicBezTo>
                    <a:cubicBezTo>
                      <a:pt x="766251" y="584420"/>
                      <a:pt x="797097" y="539070"/>
                      <a:pt x="841682" y="511248"/>
                    </a:cubicBezTo>
                    <a:cubicBezTo>
                      <a:pt x="879493" y="488401"/>
                      <a:pt x="923962" y="479216"/>
                      <a:pt x="967702" y="485185"/>
                    </a:cubicBezTo>
                    <a:cubicBezTo>
                      <a:pt x="1011484" y="491194"/>
                      <a:pt x="1051820" y="512013"/>
                      <a:pt x="1082094" y="544159"/>
                    </a:cubicBezTo>
                    <a:cubicBezTo>
                      <a:pt x="1154922" y="624948"/>
                      <a:pt x="1255650" y="732176"/>
                      <a:pt x="1353426" y="835928"/>
                    </a:cubicBezTo>
                    <a:cubicBezTo>
                      <a:pt x="1483620" y="973588"/>
                      <a:pt x="1606310" y="1103782"/>
                      <a:pt x="1674126" y="1185069"/>
                    </a:cubicBezTo>
                    <a:lnTo>
                      <a:pt x="1678106" y="1190542"/>
                    </a:lnTo>
                    <a:cubicBezTo>
                      <a:pt x="1802794" y="1379558"/>
                      <a:pt x="1891076" y="1658894"/>
                      <a:pt x="1933978" y="1998042"/>
                    </a:cubicBezTo>
                    <a:cubicBezTo>
                      <a:pt x="1935355" y="2014307"/>
                      <a:pt x="1928735" y="2030188"/>
                      <a:pt x="1916220" y="2040637"/>
                    </a:cubicBezTo>
                    <a:cubicBezTo>
                      <a:pt x="1903706" y="2051046"/>
                      <a:pt x="1886867" y="2054720"/>
                      <a:pt x="1871138" y="2050434"/>
                    </a:cubicBezTo>
                    <a:cubicBezTo>
                      <a:pt x="1655022" y="1993564"/>
                      <a:pt x="1427700" y="1994942"/>
                      <a:pt x="1212280" y="2054414"/>
                    </a:cubicBezTo>
                    <a:cubicBezTo>
                      <a:pt x="1207534" y="2055486"/>
                      <a:pt x="1202674" y="2055983"/>
                      <a:pt x="1197813" y="2055907"/>
                    </a:cubicBezTo>
                    <a:close/>
                    <a:moveTo>
                      <a:pt x="193829" y="99801"/>
                    </a:moveTo>
                    <a:cubicBezTo>
                      <a:pt x="167959" y="99763"/>
                      <a:pt x="143236" y="110402"/>
                      <a:pt x="125478" y="129231"/>
                    </a:cubicBezTo>
                    <a:cubicBezTo>
                      <a:pt x="107797" y="147792"/>
                      <a:pt x="98574" y="172897"/>
                      <a:pt x="100066" y="198538"/>
                    </a:cubicBezTo>
                    <a:lnTo>
                      <a:pt x="114035" y="443427"/>
                    </a:lnTo>
                    <a:cubicBezTo>
                      <a:pt x="120197" y="546101"/>
                      <a:pt x="145417" y="646718"/>
                      <a:pt x="188355" y="740212"/>
                    </a:cubicBezTo>
                    <a:lnTo>
                      <a:pt x="427278" y="1254944"/>
                    </a:lnTo>
                    <a:lnTo>
                      <a:pt x="427240" y="1254906"/>
                    </a:lnTo>
                    <a:cubicBezTo>
                      <a:pt x="498231" y="1408672"/>
                      <a:pt x="623947" y="1530490"/>
                      <a:pt x="779859" y="1596581"/>
                    </a:cubicBezTo>
                    <a:lnTo>
                      <a:pt x="1217282" y="1783609"/>
                    </a:lnTo>
                    <a:cubicBezTo>
                      <a:pt x="1235728" y="1791416"/>
                      <a:pt x="1247707" y="1809479"/>
                      <a:pt x="1247707" y="1829495"/>
                    </a:cubicBezTo>
                    <a:lnTo>
                      <a:pt x="1247707" y="1942240"/>
                    </a:lnTo>
                    <a:cubicBezTo>
                      <a:pt x="1436419" y="1900028"/>
                      <a:pt x="1631941" y="1898498"/>
                      <a:pt x="1821300" y="1937724"/>
                    </a:cubicBezTo>
                    <a:cubicBezTo>
                      <a:pt x="1778399" y="1650433"/>
                      <a:pt x="1697611" y="1407033"/>
                      <a:pt x="1592370" y="1245958"/>
                    </a:cubicBezTo>
                    <a:cubicBezTo>
                      <a:pt x="1527005" y="1168653"/>
                      <a:pt x="1400327" y="1033977"/>
                      <a:pt x="1278636" y="904282"/>
                    </a:cubicBezTo>
                    <a:cubicBezTo>
                      <a:pt x="1178862" y="800031"/>
                      <a:pt x="1079137" y="692302"/>
                      <a:pt x="1005316" y="610525"/>
                    </a:cubicBezTo>
                    <a:cubicBezTo>
                      <a:pt x="976192" y="579182"/>
                      <a:pt x="928890" y="572906"/>
                      <a:pt x="892609" y="595562"/>
                    </a:cubicBezTo>
                    <a:cubicBezTo>
                      <a:pt x="871829" y="608650"/>
                      <a:pt x="857440" y="629814"/>
                      <a:pt x="852885" y="653923"/>
                    </a:cubicBezTo>
                    <a:cubicBezTo>
                      <a:pt x="848331" y="678071"/>
                      <a:pt x="854071" y="703024"/>
                      <a:pt x="868652" y="722771"/>
                    </a:cubicBezTo>
                    <a:lnTo>
                      <a:pt x="1085110" y="1008573"/>
                    </a:lnTo>
                    <a:lnTo>
                      <a:pt x="1085110" y="1008535"/>
                    </a:lnTo>
                    <a:cubicBezTo>
                      <a:pt x="1102523" y="1032224"/>
                      <a:pt x="1103404" y="1064218"/>
                      <a:pt x="1087292" y="1088787"/>
                    </a:cubicBezTo>
                    <a:cubicBezTo>
                      <a:pt x="1071142" y="1113356"/>
                      <a:pt x="1041444" y="1125335"/>
                      <a:pt x="1012818" y="1118791"/>
                    </a:cubicBezTo>
                    <a:lnTo>
                      <a:pt x="750970" y="1057444"/>
                    </a:lnTo>
                    <a:lnTo>
                      <a:pt x="750931" y="1057444"/>
                    </a:lnTo>
                    <a:cubicBezTo>
                      <a:pt x="683002" y="1044892"/>
                      <a:pt x="622843" y="1005742"/>
                      <a:pt x="583880" y="948676"/>
                    </a:cubicBezTo>
                    <a:lnTo>
                      <a:pt x="406807" y="693304"/>
                    </a:lnTo>
                    <a:lnTo>
                      <a:pt x="406807" y="693342"/>
                    </a:lnTo>
                    <a:cubicBezTo>
                      <a:pt x="370947" y="641640"/>
                      <a:pt x="347373" y="582438"/>
                      <a:pt x="337959" y="520246"/>
                    </a:cubicBezTo>
                    <a:lnTo>
                      <a:pt x="288094" y="179110"/>
                    </a:lnTo>
                    <a:cubicBezTo>
                      <a:pt x="285070" y="156377"/>
                      <a:pt x="273474" y="135673"/>
                      <a:pt x="255679" y="121246"/>
                    </a:cubicBezTo>
                    <a:cubicBezTo>
                      <a:pt x="238266" y="106971"/>
                      <a:pt x="216338" y="99393"/>
                      <a:pt x="193834" y="99814"/>
                    </a:cubicBezTo>
                    <a:close/>
                  </a:path>
                </a:pathLst>
              </a:custGeom>
              <a:solidFill>
                <a:srgbClr val="000000"/>
              </a:solidFill>
              <a:ln w="9797"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27700340-4380-842D-5AA2-6C12B5CE009D}"/>
                  </a:ext>
                </a:extLst>
              </p:cNvPr>
              <p:cNvSpPr/>
              <p:nvPr/>
            </p:nvSpPr>
            <p:spPr>
              <a:xfrm>
                <a:off x="8356813" y="4105502"/>
                <a:ext cx="122986" cy="91524"/>
              </a:xfrm>
              <a:custGeom>
                <a:avLst/>
                <a:gdLst>
                  <a:gd name="connsiteX0" fmla="*/ 973589 w 1023561"/>
                  <a:gd name="connsiteY0" fmla="*/ 761718 h 761717"/>
                  <a:gd name="connsiteX1" fmla="*/ 49905 w 1023561"/>
                  <a:gd name="connsiteY1" fmla="*/ 761718 h 761717"/>
                  <a:gd name="connsiteX2" fmla="*/ 0 w 1023561"/>
                  <a:gd name="connsiteY2" fmla="*/ 711852 h 761717"/>
                  <a:gd name="connsiteX3" fmla="*/ 0 w 1023561"/>
                  <a:gd name="connsiteY3" fmla="*/ 132292 h 761717"/>
                  <a:gd name="connsiteX4" fmla="*/ 32453 w 1023561"/>
                  <a:gd name="connsiteY4" fmla="*/ 85411 h 761717"/>
                  <a:gd name="connsiteX5" fmla="*/ 146149 w 1023561"/>
                  <a:gd name="connsiteY5" fmla="*/ 49017 h 761717"/>
                  <a:gd name="connsiteX6" fmla="*/ 855903 w 1023561"/>
                  <a:gd name="connsiteY6" fmla="*/ 44998 h 761717"/>
                  <a:gd name="connsiteX7" fmla="*/ 990075 w 1023561"/>
                  <a:gd name="connsiteY7" fmla="*/ 84914 h 761717"/>
                  <a:gd name="connsiteX8" fmla="*/ 990037 w 1023561"/>
                  <a:gd name="connsiteY8" fmla="*/ 84914 h 761717"/>
                  <a:gd name="connsiteX9" fmla="*/ 1023485 w 1023561"/>
                  <a:gd name="connsiteY9" fmla="*/ 134779 h 761717"/>
                  <a:gd name="connsiteX10" fmla="*/ 1023485 w 1023561"/>
                  <a:gd name="connsiteY10" fmla="*/ 711851 h 761717"/>
                  <a:gd name="connsiteX11" fmla="*/ 1008866 w 1023561"/>
                  <a:gd name="connsiteY11" fmla="*/ 747136 h 761717"/>
                  <a:gd name="connsiteX12" fmla="*/ 973580 w 1023561"/>
                  <a:gd name="connsiteY12" fmla="*/ 761717 h 761717"/>
                  <a:gd name="connsiteX13" fmla="*/ 99772 w 1023561"/>
                  <a:gd name="connsiteY13" fmla="*/ 661944 h 761717"/>
                  <a:gd name="connsiteX14" fmla="*/ 923732 w 1023561"/>
                  <a:gd name="connsiteY14" fmla="*/ 661982 h 761717"/>
                  <a:gd name="connsiteX15" fmla="*/ 923732 w 1023561"/>
                  <a:gd name="connsiteY15" fmla="*/ 168226 h 761717"/>
                  <a:gd name="connsiteX16" fmla="*/ 831462 w 1023561"/>
                  <a:gd name="connsiteY16" fmla="*/ 141283 h 761717"/>
                  <a:gd name="connsiteX17" fmla="*/ 172604 w 1023561"/>
                  <a:gd name="connsiteY17" fmla="*/ 145264 h 761717"/>
                  <a:gd name="connsiteX18" fmla="*/ 99776 w 1023561"/>
                  <a:gd name="connsiteY18" fmla="*/ 167192 h 76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23561" h="761717">
                    <a:moveTo>
                      <a:pt x="973589" y="761718"/>
                    </a:moveTo>
                    <a:lnTo>
                      <a:pt x="49905" y="761718"/>
                    </a:lnTo>
                    <a:cubicBezTo>
                      <a:pt x="22350" y="761718"/>
                      <a:pt x="0" y="739407"/>
                      <a:pt x="0" y="711852"/>
                    </a:cubicBezTo>
                    <a:lnTo>
                      <a:pt x="0" y="132292"/>
                    </a:lnTo>
                    <a:cubicBezTo>
                      <a:pt x="-38" y="111435"/>
                      <a:pt x="12897" y="92721"/>
                      <a:pt x="32453" y="85411"/>
                    </a:cubicBezTo>
                    <a:cubicBezTo>
                      <a:pt x="68351" y="71940"/>
                      <a:pt x="105779" y="59961"/>
                      <a:pt x="146149" y="49017"/>
                    </a:cubicBezTo>
                    <a:cubicBezTo>
                      <a:pt x="378224" y="-14970"/>
                      <a:pt x="623113" y="-16311"/>
                      <a:pt x="855903" y="44998"/>
                    </a:cubicBezTo>
                    <a:cubicBezTo>
                      <a:pt x="899301" y="55982"/>
                      <a:pt x="944690" y="69453"/>
                      <a:pt x="990075" y="84914"/>
                    </a:cubicBezTo>
                    <a:lnTo>
                      <a:pt x="990037" y="84914"/>
                    </a:lnTo>
                    <a:cubicBezTo>
                      <a:pt x="1011085" y="92223"/>
                      <a:pt x="1024710" y="112583"/>
                      <a:pt x="1023485" y="134779"/>
                    </a:cubicBezTo>
                    <a:lnTo>
                      <a:pt x="1023485" y="711851"/>
                    </a:lnTo>
                    <a:cubicBezTo>
                      <a:pt x="1023485" y="725092"/>
                      <a:pt x="1018204" y="737759"/>
                      <a:pt x="1008866" y="747136"/>
                    </a:cubicBezTo>
                    <a:cubicBezTo>
                      <a:pt x="999489" y="756474"/>
                      <a:pt x="986822" y="761717"/>
                      <a:pt x="973580" y="761717"/>
                    </a:cubicBezTo>
                    <a:close/>
                    <a:moveTo>
                      <a:pt x="99772" y="661944"/>
                    </a:moveTo>
                    <a:lnTo>
                      <a:pt x="923732" y="661982"/>
                    </a:lnTo>
                    <a:lnTo>
                      <a:pt x="923732" y="168226"/>
                    </a:lnTo>
                    <a:cubicBezTo>
                      <a:pt x="892312" y="158237"/>
                      <a:pt x="861389" y="149282"/>
                      <a:pt x="831462" y="141283"/>
                    </a:cubicBezTo>
                    <a:cubicBezTo>
                      <a:pt x="615318" y="84682"/>
                      <a:pt x="388063" y="86060"/>
                      <a:pt x="172604" y="145264"/>
                    </a:cubicBezTo>
                    <a:cubicBezTo>
                      <a:pt x="147154" y="152229"/>
                      <a:pt x="122739" y="159232"/>
                      <a:pt x="99776" y="167192"/>
                    </a:cubicBezTo>
                    <a:close/>
                  </a:path>
                </a:pathLst>
              </a:custGeom>
              <a:solidFill>
                <a:srgbClr val="000000"/>
              </a:solidFill>
              <a:ln w="9797"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7C9FA8A1-BA19-E476-5C08-F86808AB114A}"/>
                  </a:ext>
                </a:extLst>
              </p:cNvPr>
              <p:cNvSpPr/>
              <p:nvPr/>
            </p:nvSpPr>
            <p:spPr>
              <a:xfrm>
                <a:off x="8581266" y="3876093"/>
                <a:ext cx="232245" cy="247086"/>
              </a:xfrm>
              <a:custGeom>
                <a:avLst/>
                <a:gdLst>
                  <a:gd name="connsiteX0" fmla="*/ 735031 w 1932878"/>
                  <a:gd name="connsiteY0" fmla="*/ 2056022 h 2056394"/>
                  <a:gd name="connsiteX1" fmla="*/ 721560 w 1932878"/>
                  <a:gd name="connsiteY1" fmla="*/ 2056022 h 2056394"/>
                  <a:gd name="connsiteX2" fmla="*/ 61702 w 1932878"/>
                  <a:gd name="connsiteY2" fmla="*/ 2050549 h 2056394"/>
                  <a:gd name="connsiteX3" fmla="*/ 16812 w 1932878"/>
                  <a:gd name="connsiteY3" fmla="*/ 2039413 h 2056394"/>
                  <a:gd name="connsiteX4" fmla="*/ 356 w 1932878"/>
                  <a:gd name="connsiteY4" fmla="*/ 1996167 h 2056394"/>
                  <a:gd name="connsiteX5" fmla="*/ 256228 w 1932878"/>
                  <a:gd name="connsiteY5" fmla="*/ 1188667 h 2056394"/>
                  <a:gd name="connsiteX6" fmla="*/ 260208 w 1932878"/>
                  <a:gd name="connsiteY6" fmla="*/ 1183195 h 2056394"/>
                  <a:gd name="connsiteX7" fmla="*/ 580907 w 1932878"/>
                  <a:gd name="connsiteY7" fmla="*/ 834054 h 2056394"/>
                  <a:gd name="connsiteX8" fmla="*/ 852739 w 1932878"/>
                  <a:gd name="connsiteY8" fmla="*/ 541785 h 2056394"/>
                  <a:gd name="connsiteX9" fmla="*/ 966934 w 1932878"/>
                  <a:gd name="connsiteY9" fmla="*/ 483156 h 2056394"/>
                  <a:gd name="connsiteX10" fmla="*/ 1092651 w 1932878"/>
                  <a:gd name="connsiteY10" fmla="*/ 509371 h 2056394"/>
                  <a:gd name="connsiteX11" fmla="*/ 1177075 w 1932878"/>
                  <a:gd name="connsiteY11" fmla="*/ 634362 h 2056394"/>
                  <a:gd name="connsiteX12" fmla="*/ 1142518 w 1932878"/>
                  <a:gd name="connsiteY12" fmla="*/ 781163 h 2056394"/>
                  <a:gd name="connsiteX13" fmla="*/ 975927 w 1932878"/>
                  <a:gd name="connsiteY13" fmla="*/ 1000599 h 2056394"/>
                  <a:gd name="connsiteX14" fmla="*/ 1158977 w 1932878"/>
                  <a:gd name="connsiteY14" fmla="*/ 960225 h 2056394"/>
                  <a:gd name="connsiteX15" fmla="*/ 1267206 w 1932878"/>
                  <a:gd name="connsiteY15" fmla="*/ 892410 h 2056394"/>
                  <a:gd name="connsiteX16" fmla="*/ 1444280 w 1932878"/>
                  <a:gd name="connsiteY16" fmla="*/ 637037 h 2056394"/>
                  <a:gd name="connsiteX17" fmla="*/ 1494145 w 1932878"/>
                  <a:gd name="connsiteY17" fmla="*/ 505354 h 2056394"/>
                  <a:gd name="connsiteX18" fmla="*/ 1544011 w 1932878"/>
                  <a:gd name="connsiteY18" fmla="*/ 165207 h 2056394"/>
                  <a:gd name="connsiteX19" fmla="*/ 1612858 w 1932878"/>
                  <a:gd name="connsiteY19" fmla="*/ 46495 h 2056394"/>
                  <a:gd name="connsiteX20" fmla="*/ 1752693 w 1932878"/>
                  <a:gd name="connsiteY20" fmla="*/ 494 h 2056394"/>
                  <a:gd name="connsiteX21" fmla="*/ 1884572 w 1932878"/>
                  <a:gd name="connsiteY21" fmla="*/ 65936 h 2056394"/>
                  <a:gd name="connsiteX22" fmla="*/ 1932563 w 1932878"/>
                  <a:gd name="connsiteY22" fmla="*/ 205124 h 2056394"/>
                  <a:gd name="connsiteX23" fmla="*/ 1918593 w 1932878"/>
                  <a:gd name="connsiteY23" fmla="*/ 449024 h 2056394"/>
                  <a:gd name="connsiteX24" fmla="*/ 1835279 w 1932878"/>
                  <a:gd name="connsiteY24" fmla="*/ 781666 h 2056394"/>
                  <a:gd name="connsiteX25" fmla="*/ 1595857 w 1932878"/>
                  <a:gd name="connsiteY25" fmla="*/ 1297398 h 2056394"/>
                  <a:gd name="connsiteX26" fmla="*/ 1595895 w 1932878"/>
                  <a:gd name="connsiteY26" fmla="*/ 1297398 h 2056394"/>
                  <a:gd name="connsiteX27" fmla="*/ 1192371 w 1932878"/>
                  <a:gd name="connsiteY27" fmla="*/ 1688441 h 2056394"/>
                  <a:gd name="connsiteX28" fmla="*/ 784868 w 1932878"/>
                  <a:gd name="connsiteY28" fmla="*/ 1862497 h 2056394"/>
                  <a:gd name="connsiteX29" fmla="*/ 784868 w 1932878"/>
                  <a:gd name="connsiteY29" fmla="*/ 2006163 h 2056394"/>
                  <a:gd name="connsiteX30" fmla="*/ 770287 w 1932878"/>
                  <a:gd name="connsiteY30" fmla="*/ 2041410 h 2056394"/>
                  <a:gd name="connsiteX31" fmla="*/ 735002 w 1932878"/>
                  <a:gd name="connsiteY31" fmla="*/ 2056029 h 2056394"/>
                  <a:gd name="connsiteX32" fmla="*/ 389877 w 1932878"/>
                  <a:gd name="connsiteY32" fmla="*/ 1909368 h 2056394"/>
                  <a:gd name="connsiteX33" fmla="*/ 389916 w 1932878"/>
                  <a:gd name="connsiteY33" fmla="*/ 1909368 h 2056394"/>
                  <a:gd name="connsiteX34" fmla="*/ 685172 w 1932878"/>
                  <a:gd name="connsiteY34" fmla="*/ 1942319 h 2056394"/>
                  <a:gd name="connsiteX35" fmla="*/ 685172 w 1932878"/>
                  <a:gd name="connsiteY35" fmla="*/ 1829574 h 2056394"/>
                  <a:gd name="connsiteX36" fmla="*/ 715597 w 1932878"/>
                  <a:gd name="connsiteY36" fmla="*/ 1783688 h 2056394"/>
                  <a:gd name="connsiteX37" fmla="*/ 1153520 w 1932878"/>
                  <a:gd name="connsiteY37" fmla="*/ 1596660 h 2056394"/>
                  <a:gd name="connsiteX38" fmla="*/ 1508127 w 1932878"/>
                  <a:gd name="connsiteY38" fmla="*/ 1254985 h 2056394"/>
                  <a:gd name="connsiteX39" fmla="*/ 1744523 w 1932878"/>
                  <a:gd name="connsiteY39" fmla="*/ 739792 h 2056394"/>
                  <a:gd name="connsiteX40" fmla="*/ 1818842 w 1932878"/>
                  <a:gd name="connsiteY40" fmla="*/ 443507 h 2056394"/>
                  <a:gd name="connsiteX41" fmla="*/ 1832812 w 1932878"/>
                  <a:gd name="connsiteY41" fmla="*/ 199117 h 2056394"/>
                  <a:gd name="connsiteX42" fmla="*/ 1807400 w 1932878"/>
                  <a:gd name="connsiteY42" fmla="*/ 129313 h 2056394"/>
                  <a:gd name="connsiteX43" fmla="*/ 1677705 w 1932878"/>
                  <a:gd name="connsiteY43" fmla="*/ 121314 h 2056394"/>
                  <a:gd name="connsiteX44" fmla="*/ 1646286 w 1932878"/>
                  <a:gd name="connsiteY44" fmla="*/ 178682 h 2056394"/>
                  <a:gd name="connsiteX45" fmla="*/ 1596420 w 1932878"/>
                  <a:gd name="connsiteY45" fmla="*/ 519328 h 2056394"/>
                  <a:gd name="connsiteX46" fmla="*/ 1527572 w 1932878"/>
                  <a:gd name="connsiteY46" fmla="*/ 692424 h 2056394"/>
                  <a:gd name="connsiteX47" fmla="*/ 1350499 w 1932878"/>
                  <a:gd name="connsiteY47" fmla="*/ 947796 h 2056394"/>
                  <a:gd name="connsiteX48" fmla="*/ 1350537 w 1932878"/>
                  <a:gd name="connsiteY48" fmla="*/ 947758 h 2056394"/>
                  <a:gd name="connsiteX49" fmla="*/ 1180430 w 1932878"/>
                  <a:gd name="connsiteY49" fmla="*/ 1056977 h 2056394"/>
                  <a:gd name="connsiteX50" fmla="*/ 920080 w 1932878"/>
                  <a:gd name="connsiteY50" fmla="*/ 1118859 h 2056394"/>
                  <a:gd name="connsiteX51" fmla="*/ 845683 w 1932878"/>
                  <a:gd name="connsiteY51" fmla="*/ 1089200 h 2056394"/>
                  <a:gd name="connsiteX52" fmla="*/ 847290 w 1932878"/>
                  <a:gd name="connsiteY52" fmla="*/ 1009101 h 2056394"/>
                  <a:gd name="connsiteX53" fmla="*/ 1064248 w 1932878"/>
                  <a:gd name="connsiteY53" fmla="*/ 722799 h 2056394"/>
                  <a:gd name="connsiteX54" fmla="*/ 1064248 w 1932878"/>
                  <a:gd name="connsiteY54" fmla="*/ 722837 h 2056394"/>
                  <a:gd name="connsiteX55" fmla="*/ 1080206 w 1932878"/>
                  <a:gd name="connsiteY55" fmla="*/ 654487 h 2056394"/>
                  <a:gd name="connsiteX56" fmla="*/ 1040788 w 1932878"/>
                  <a:gd name="connsiteY56" fmla="*/ 595627 h 2056394"/>
                  <a:gd name="connsiteX57" fmla="*/ 927583 w 1932878"/>
                  <a:gd name="connsiteY57" fmla="*/ 610590 h 2056394"/>
                  <a:gd name="connsiteX58" fmla="*/ 654262 w 1932878"/>
                  <a:gd name="connsiteY58" fmla="*/ 904348 h 2056394"/>
                  <a:gd name="connsiteX59" fmla="*/ 339029 w 1932878"/>
                  <a:gd name="connsiteY59" fmla="*/ 1245984 h 2056394"/>
                  <a:gd name="connsiteX60" fmla="*/ 110099 w 1932878"/>
                  <a:gd name="connsiteY60" fmla="*/ 1937751 h 2056394"/>
                  <a:gd name="connsiteX61" fmla="*/ 110099 w 1932878"/>
                  <a:gd name="connsiteY61" fmla="*/ 1937789 h 2056394"/>
                  <a:gd name="connsiteX62" fmla="*/ 389925 w 1932878"/>
                  <a:gd name="connsiteY62" fmla="*/ 1909355 h 205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932878" h="2056394">
                    <a:moveTo>
                      <a:pt x="735031" y="2056022"/>
                    </a:moveTo>
                    <a:cubicBezTo>
                      <a:pt x="730553" y="2056519"/>
                      <a:pt x="726037" y="2056519"/>
                      <a:pt x="721560" y="2056022"/>
                    </a:cubicBezTo>
                    <a:cubicBezTo>
                      <a:pt x="505983" y="1995900"/>
                      <a:pt x="278278" y="1993986"/>
                      <a:pt x="61702" y="2050549"/>
                    </a:cubicBezTo>
                    <a:cubicBezTo>
                      <a:pt x="45820" y="2054415"/>
                      <a:pt x="29020" y="2050243"/>
                      <a:pt x="16812" y="2039413"/>
                    </a:cubicBezTo>
                    <a:cubicBezTo>
                      <a:pt x="4565" y="2028582"/>
                      <a:pt x="-1596" y="2012394"/>
                      <a:pt x="356" y="1996167"/>
                    </a:cubicBezTo>
                    <a:cubicBezTo>
                      <a:pt x="43256" y="1657020"/>
                      <a:pt x="131549" y="1377684"/>
                      <a:pt x="256228" y="1188667"/>
                    </a:cubicBezTo>
                    <a:lnTo>
                      <a:pt x="260208" y="1183195"/>
                    </a:lnTo>
                    <a:cubicBezTo>
                      <a:pt x="328023" y="1103899"/>
                      <a:pt x="450752" y="973702"/>
                      <a:pt x="580907" y="834054"/>
                    </a:cubicBezTo>
                    <a:cubicBezTo>
                      <a:pt x="680682" y="730302"/>
                      <a:pt x="780407" y="623072"/>
                      <a:pt x="852739" y="541785"/>
                    </a:cubicBezTo>
                    <a:cubicBezTo>
                      <a:pt x="882972" y="509754"/>
                      <a:pt x="923309" y="489049"/>
                      <a:pt x="966934" y="483156"/>
                    </a:cubicBezTo>
                    <a:cubicBezTo>
                      <a:pt x="1010600" y="477224"/>
                      <a:pt x="1054994" y="486485"/>
                      <a:pt x="1092651" y="509371"/>
                    </a:cubicBezTo>
                    <a:cubicBezTo>
                      <a:pt x="1137006" y="537423"/>
                      <a:pt x="1167622" y="582735"/>
                      <a:pt x="1177075" y="634362"/>
                    </a:cubicBezTo>
                    <a:cubicBezTo>
                      <a:pt x="1186566" y="685989"/>
                      <a:pt x="1174014" y="739221"/>
                      <a:pt x="1142518" y="781163"/>
                    </a:cubicBezTo>
                    <a:lnTo>
                      <a:pt x="975927" y="1000599"/>
                    </a:lnTo>
                    <a:lnTo>
                      <a:pt x="1158977" y="960225"/>
                    </a:lnTo>
                    <a:cubicBezTo>
                      <a:pt x="1202719" y="953106"/>
                      <a:pt x="1241717" y="928651"/>
                      <a:pt x="1267206" y="892410"/>
                    </a:cubicBezTo>
                    <a:lnTo>
                      <a:pt x="1444280" y="637037"/>
                    </a:lnTo>
                    <a:cubicBezTo>
                      <a:pt x="1470571" y="597466"/>
                      <a:pt x="1487640" y="552460"/>
                      <a:pt x="1494145" y="505354"/>
                    </a:cubicBezTo>
                    <a:lnTo>
                      <a:pt x="1544011" y="165207"/>
                    </a:lnTo>
                    <a:cubicBezTo>
                      <a:pt x="1551512" y="118479"/>
                      <a:pt x="1576043" y="76191"/>
                      <a:pt x="1612858" y="46495"/>
                    </a:cubicBezTo>
                    <a:cubicBezTo>
                      <a:pt x="1651625" y="13391"/>
                      <a:pt x="1701836" y="-3141"/>
                      <a:pt x="1752693" y="494"/>
                    </a:cubicBezTo>
                    <a:cubicBezTo>
                      <a:pt x="1803554" y="4130"/>
                      <a:pt x="1850889" y="27666"/>
                      <a:pt x="1884572" y="65936"/>
                    </a:cubicBezTo>
                    <a:cubicBezTo>
                      <a:pt x="1918211" y="104206"/>
                      <a:pt x="1935471" y="154225"/>
                      <a:pt x="1932563" y="205124"/>
                    </a:cubicBezTo>
                    <a:lnTo>
                      <a:pt x="1918593" y="449024"/>
                    </a:lnTo>
                    <a:cubicBezTo>
                      <a:pt x="1911781" y="564101"/>
                      <a:pt x="1883539" y="676965"/>
                      <a:pt x="1835279" y="781666"/>
                    </a:cubicBezTo>
                    <a:lnTo>
                      <a:pt x="1595857" y="1297398"/>
                    </a:lnTo>
                    <a:lnTo>
                      <a:pt x="1595895" y="1297398"/>
                    </a:lnTo>
                    <a:cubicBezTo>
                      <a:pt x="1514648" y="1473365"/>
                      <a:pt x="1370826" y="1612778"/>
                      <a:pt x="1192371" y="1688441"/>
                    </a:cubicBezTo>
                    <a:lnTo>
                      <a:pt x="784868" y="1862497"/>
                    </a:lnTo>
                    <a:lnTo>
                      <a:pt x="784868" y="2006163"/>
                    </a:lnTo>
                    <a:cubicBezTo>
                      <a:pt x="784868" y="2019366"/>
                      <a:pt x="779625" y="2032071"/>
                      <a:pt x="770287" y="2041410"/>
                    </a:cubicBezTo>
                    <a:cubicBezTo>
                      <a:pt x="760911" y="2050786"/>
                      <a:pt x="748244" y="2056029"/>
                      <a:pt x="735002" y="2056029"/>
                    </a:cubicBezTo>
                    <a:close/>
                    <a:moveTo>
                      <a:pt x="389877" y="1909368"/>
                    </a:moveTo>
                    <a:lnTo>
                      <a:pt x="389916" y="1909368"/>
                    </a:lnTo>
                    <a:cubicBezTo>
                      <a:pt x="489229" y="1909330"/>
                      <a:pt x="588269" y="1920352"/>
                      <a:pt x="685172" y="1942319"/>
                    </a:cubicBezTo>
                    <a:lnTo>
                      <a:pt x="685172" y="1829574"/>
                    </a:lnTo>
                    <a:cubicBezTo>
                      <a:pt x="685172" y="1809558"/>
                      <a:pt x="697151" y="1791495"/>
                      <a:pt x="715597" y="1783688"/>
                    </a:cubicBezTo>
                    <a:lnTo>
                      <a:pt x="1153520" y="1596660"/>
                    </a:lnTo>
                    <a:cubicBezTo>
                      <a:pt x="1310117" y="1530875"/>
                      <a:pt x="1436569" y="1409065"/>
                      <a:pt x="1508127" y="1254985"/>
                    </a:cubicBezTo>
                    <a:lnTo>
                      <a:pt x="1744523" y="739792"/>
                    </a:lnTo>
                    <a:cubicBezTo>
                      <a:pt x="1787500" y="646490"/>
                      <a:pt x="1812719" y="546034"/>
                      <a:pt x="1818842" y="443507"/>
                    </a:cubicBezTo>
                    <a:lnTo>
                      <a:pt x="1832812" y="199117"/>
                    </a:lnTo>
                    <a:cubicBezTo>
                      <a:pt x="1834457" y="173324"/>
                      <a:pt x="1825234" y="148027"/>
                      <a:pt x="1807400" y="129313"/>
                    </a:cubicBezTo>
                    <a:cubicBezTo>
                      <a:pt x="1772726" y="93453"/>
                      <a:pt x="1716471" y="90010"/>
                      <a:pt x="1677705" y="121314"/>
                    </a:cubicBezTo>
                    <a:cubicBezTo>
                      <a:pt x="1660484" y="135857"/>
                      <a:pt x="1649271" y="156331"/>
                      <a:pt x="1646286" y="178682"/>
                    </a:cubicBezTo>
                    <a:lnTo>
                      <a:pt x="1596420" y="519328"/>
                    </a:lnTo>
                    <a:cubicBezTo>
                      <a:pt x="1587006" y="581517"/>
                      <a:pt x="1563469" y="640764"/>
                      <a:pt x="1527572" y="692424"/>
                    </a:cubicBezTo>
                    <a:lnTo>
                      <a:pt x="1350499" y="947796"/>
                    </a:lnTo>
                    <a:lnTo>
                      <a:pt x="1350537" y="947758"/>
                    </a:lnTo>
                    <a:cubicBezTo>
                      <a:pt x="1310813" y="1005546"/>
                      <a:pt x="1249509" y="1044926"/>
                      <a:pt x="1180430" y="1056977"/>
                    </a:cubicBezTo>
                    <a:lnTo>
                      <a:pt x="920080" y="1118859"/>
                    </a:lnTo>
                    <a:cubicBezTo>
                      <a:pt x="891530" y="1125442"/>
                      <a:pt x="861871" y="1113616"/>
                      <a:pt x="845683" y="1089200"/>
                    </a:cubicBezTo>
                    <a:cubicBezTo>
                      <a:pt x="829457" y="1064784"/>
                      <a:pt x="830107" y="1032867"/>
                      <a:pt x="847290" y="1009101"/>
                    </a:cubicBezTo>
                    <a:lnTo>
                      <a:pt x="1064248" y="722799"/>
                    </a:lnTo>
                    <a:lnTo>
                      <a:pt x="1064248" y="722837"/>
                    </a:lnTo>
                    <a:cubicBezTo>
                      <a:pt x="1079135" y="703396"/>
                      <a:pt x="1084914" y="678521"/>
                      <a:pt x="1080206" y="654487"/>
                    </a:cubicBezTo>
                    <a:cubicBezTo>
                      <a:pt x="1075958" y="630185"/>
                      <a:pt x="1061646" y="608792"/>
                      <a:pt x="1040788" y="595627"/>
                    </a:cubicBezTo>
                    <a:cubicBezTo>
                      <a:pt x="1004355" y="572895"/>
                      <a:pt x="956862" y="579171"/>
                      <a:pt x="927583" y="610590"/>
                    </a:cubicBezTo>
                    <a:cubicBezTo>
                      <a:pt x="853759" y="692374"/>
                      <a:pt x="752537" y="800106"/>
                      <a:pt x="654262" y="904348"/>
                    </a:cubicBezTo>
                    <a:cubicBezTo>
                      <a:pt x="532562" y="1034043"/>
                      <a:pt x="404895" y="1167685"/>
                      <a:pt x="339029" y="1245984"/>
                    </a:cubicBezTo>
                    <a:cubicBezTo>
                      <a:pt x="233788" y="1407098"/>
                      <a:pt x="153001" y="1650499"/>
                      <a:pt x="110099" y="1937751"/>
                    </a:cubicBezTo>
                    <a:lnTo>
                      <a:pt x="110099" y="1937789"/>
                    </a:lnTo>
                    <a:cubicBezTo>
                      <a:pt x="202215" y="1919036"/>
                      <a:pt x="295941" y="1909508"/>
                      <a:pt x="389925" y="1909355"/>
                    </a:cubicBezTo>
                    <a:close/>
                  </a:path>
                </a:pathLst>
              </a:custGeom>
              <a:solidFill>
                <a:srgbClr val="000000"/>
              </a:solidFill>
              <a:ln w="9797"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A9FF92EB-267C-DFD3-EFC6-1CCDD50AB865}"/>
                  </a:ext>
                </a:extLst>
              </p:cNvPr>
              <p:cNvSpPr/>
              <p:nvPr/>
            </p:nvSpPr>
            <p:spPr>
              <a:xfrm>
                <a:off x="8565718" y="4105201"/>
                <a:ext cx="122987" cy="91826"/>
              </a:xfrm>
              <a:custGeom>
                <a:avLst/>
                <a:gdLst>
                  <a:gd name="connsiteX0" fmla="*/ 973666 w 1023571"/>
                  <a:gd name="connsiteY0" fmla="*/ 764224 h 764226"/>
                  <a:gd name="connsiteX1" fmla="*/ 49981 w 1023571"/>
                  <a:gd name="connsiteY1" fmla="*/ 764224 h 764226"/>
                  <a:gd name="connsiteX2" fmla="*/ 76 w 1023571"/>
                  <a:gd name="connsiteY2" fmla="*/ 714358 h 764226"/>
                  <a:gd name="connsiteX3" fmla="*/ 76 w 1023571"/>
                  <a:gd name="connsiteY3" fmla="*/ 134798 h 764226"/>
                  <a:gd name="connsiteX4" fmla="*/ 33525 w 1023571"/>
                  <a:gd name="connsiteY4" fmla="*/ 84933 h 764226"/>
                  <a:gd name="connsiteX5" fmla="*/ 167697 w 1023571"/>
                  <a:gd name="connsiteY5" fmla="*/ 45017 h 764226"/>
                  <a:gd name="connsiteX6" fmla="*/ 167658 w 1023571"/>
                  <a:gd name="connsiteY6" fmla="*/ 45017 h 764226"/>
                  <a:gd name="connsiteX7" fmla="*/ 877912 w 1023571"/>
                  <a:gd name="connsiteY7" fmla="*/ 48998 h 764226"/>
                  <a:gd name="connsiteX8" fmla="*/ 991118 w 1023571"/>
                  <a:gd name="connsiteY8" fmla="*/ 85392 h 764226"/>
                  <a:gd name="connsiteX9" fmla="*/ 991118 w 1023571"/>
                  <a:gd name="connsiteY9" fmla="*/ 85430 h 764226"/>
                  <a:gd name="connsiteX10" fmla="*/ 1023571 w 1023571"/>
                  <a:gd name="connsiteY10" fmla="*/ 132312 h 764226"/>
                  <a:gd name="connsiteX11" fmla="*/ 1023571 w 1023571"/>
                  <a:gd name="connsiteY11" fmla="*/ 714360 h 764226"/>
                  <a:gd name="connsiteX12" fmla="*/ 1008952 w 1023571"/>
                  <a:gd name="connsiteY12" fmla="*/ 749645 h 764226"/>
                  <a:gd name="connsiteX13" fmla="*/ 973666 w 1023571"/>
                  <a:gd name="connsiteY13" fmla="*/ 764226 h 764226"/>
                  <a:gd name="connsiteX14" fmla="*/ 99848 w 1023571"/>
                  <a:gd name="connsiteY14" fmla="*/ 664450 h 764226"/>
                  <a:gd name="connsiteX15" fmla="*/ 923808 w 1023571"/>
                  <a:gd name="connsiteY15" fmla="*/ 664488 h 764226"/>
                  <a:gd name="connsiteX16" fmla="*/ 923808 w 1023571"/>
                  <a:gd name="connsiteY16" fmla="*/ 169693 h 764226"/>
                  <a:gd name="connsiteX17" fmla="*/ 851478 w 1023571"/>
                  <a:gd name="connsiteY17" fmla="*/ 147764 h 764226"/>
                  <a:gd name="connsiteX18" fmla="*/ 191130 w 1023571"/>
                  <a:gd name="connsiteY18" fmla="*/ 143784 h 764226"/>
                  <a:gd name="connsiteX19" fmla="*/ 98861 w 1023571"/>
                  <a:gd name="connsiteY19" fmla="*/ 170726 h 764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3571" h="764226">
                    <a:moveTo>
                      <a:pt x="973666" y="764224"/>
                    </a:moveTo>
                    <a:lnTo>
                      <a:pt x="49981" y="764224"/>
                    </a:lnTo>
                    <a:cubicBezTo>
                      <a:pt x="22427" y="764224"/>
                      <a:pt x="76" y="741913"/>
                      <a:pt x="76" y="714358"/>
                    </a:cubicBezTo>
                    <a:lnTo>
                      <a:pt x="76" y="134798"/>
                    </a:lnTo>
                    <a:cubicBezTo>
                      <a:pt x="-1148" y="112602"/>
                      <a:pt x="12476" y="92242"/>
                      <a:pt x="33525" y="84933"/>
                    </a:cubicBezTo>
                    <a:cubicBezTo>
                      <a:pt x="78913" y="69472"/>
                      <a:pt x="124301" y="56001"/>
                      <a:pt x="167697" y="45017"/>
                    </a:cubicBezTo>
                    <a:lnTo>
                      <a:pt x="167658" y="45017"/>
                    </a:lnTo>
                    <a:cubicBezTo>
                      <a:pt x="400644" y="-16329"/>
                      <a:pt x="645651" y="-14952"/>
                      <a:pt x="877912" y="48998"/>
                    </a:cubicBezTo>
                    <a:cubicBezTo>
                      <a:pt x="917828" y="59981"/>
                      <a:pt x="955217" y="71960"/>
                      <a:pt x="991118" y="85392"/>
                    </a:cubicBezTo>
                    <a:lnTo>
                      <a:pt x="991118" y="85430"/>
                    </a:lnTo>
                    <a:cubicBezTo>
                      <a:pt x="1010674" y="92740"/>
                      <a:pt x="1023609" y="111453"/>
                      <a:pt x="1023571" y="132312"/>
                    </a:cubicBezTo>
                    <a:lnTo>
                      <a:pt x="1023571" y="714360"/>
                    </a:lnTo>
                    <a:cubicBezTo>
                      <a:pt x="1023571" y="727602"/>
                      <a:pt x="1018290" y="740268"/>
                      <a:pt x="1008952" y="749645"/>
                    </a:cubicBezTo>
                    <a:cubicBezTo>
                      <a:pt x="999576" y="758983"/>
                      <a:pt x="986908" y="764226"/>
                      <a:pt x="973666" y="764226"/>
                    </a:cubicBezTo>
                    <a:close/>
                    <a:moveTo>
                      <a:pt x="99848" y="664450"/>
                    </a:moveTo>
                    <a:lnTo>
                      <a:pt x="923808" y="664488"/>
                    </a:lnTo>
                    <a:lnTo>
                      <a:pt x="923808" y="169693"/>
                    </a:lnTo>
                    <a:cubicBezTo>
                      <a:pt x="900845" y="161695"/>
                      <a:pt x="876927" y="154730"/>
                      <a:pt x="851478" y="147764"/>
                    </a:cubicBezTo>
                    <a:cubicBezTo>
                      <a:pt x="635597" y="88140"/>
                      <a:pt x="407736" y="86761"/>
                      <a:pt x="191130" y="143784"/>
                    </a:cubicBezTo>
                    <a:cubicBezTo>
                      <a:pt x="161203" y="151783"/>
                      <a:pt x="130281" y="160738"/>
                      <a:pt x="98861" y="170726"/>
                    </a:cubicBezTo>
                    <a:close/>
                  </a:path>
                </a:pathLst>
              </a:custGeom>
              <a:solidFill>
                <a:srgbClr val="000000"/>
              </a:solidFill>
              <a:ln w="9797"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8ADD831D-6E11-F9C6-942D-4CD60865BB98}"/>
                  </a:ext>
                </a:extLst>
              </p:cNvPr>
              <p:cNvSpPr/>
              <p:nvPr/>
            </p:nvSpPr>
            <p:spPr>
              <a:xfrm>
                <a:off x="8425546" y="3727720"/>
                <a:ext cx="211312" cy="211611"/>
              </a:xfrm>
              <a:custGeom>
                <a:avLst/>
                <a:gdLst>
                  <a:gd name="connsiteX0" fmla="*/ 876816 w 1758661"/>
                  <a:gd name="connsiteY0" fmla="*/ 1761146 h 1761146"/>
                  <a:gd name="connsiteX1" fmla="*/ 210492 w 1758661"/>
                  <a:gd name="connsiteY1" fmla="*/ 1455907 h 1761146"/>
                  <a:gd name="connsiteX2" fmla="*/ 10993 w 1758661"/>
                  <a:gd name="connsiteY2" fmla="*/ 1014496 h 1761146"/>
                  <a:gd name="connsiteX3" fmla="*/ 7970 w 1758661"/>
                  <a:gd name="connsiteY3" fmla="*/ 996510 h 1761146"/>
                  <a:gd name="connsiteX4" fmla="*/ 10 w 1758661"/>
                  <a:gd name="connsiteY4" fmla="*/ 882314 h 1761146"/>
                  <a:gd name="connsiteX5" fmla="*/ 385047 w 1758661"/>
                  <a:gd name="connsiteY5" fmla="*/ 154612 h 1761146"/>
                  <a:gd name="connsiteX6" fmla="*/ 559632 w 1758661"/>
                  <a:gd name="connsiteY6" fmla="*/ 59357 h 1761146"/>
                  <a:gd name="connsiteX7" fmla="*/ 650906 w 1758661"/>
                  <a:gd name="connsiteY7" fmla="*/ 29430 h 1761146"/>
                  <a:gd name="connsiteX8" fmla="*/ 878347 w 1758661"/>
                  <a:gd name="connsiteY8" fmla="*/ 0 h 1761146"/>
                  <a:gd name="connsiteX9" fmla="*/ 1640721 w 1758661"/>
                  <a:gd name="connsiteY9" fmla="*/ 440147 h 1761146"/>
                  <a:gd name="connsiteX10" fmla="*/ 1640721 w 1758661"/>
                  <a:gd name="connsiteY10" fmla="*/ 1320469 h 1761146"/>
                  <a:gd name="connsiteX11" fmla="*/ 878347 w 1758661"/>
                  <a:gd name="connsiteY11" fmla="*/ 1760655 h 1761146"/>
                  <a:gd name="connsiteX12" fmla="*/ 876816 w 1758661"/>
                  <a:gd name="connsiteY12" fmla="*/ 100237 h 1761146"/>
                  <a:gd name="connsiteX13" fmla="*/ 673329 w 1758661"/>
                  <a:gd name="connsiteY13" fmla="*/ 126145 h 1761146"/>
                  <a:gd name="connsiteX14" fmla="*/ 593038 w 1758661"/>
                  <a:gd name="connsiteY14" fmla="*/ 152590 h 1761146"/>
                  <a:gd name="connsiteX15" fmla="*/ 435941 w 1758661"/>
                  <a:gd name="connsiteY15" fmla="*/ 235406 h 1761146"/>
                  <a:gd name="connsiteX16" fmla="*/ 94765 w 1758661"/>
                  <a:gd name="connsiteY16" fmla="*/ 880793 h 1761146"/>
                  <a:gd name="connsiteX17" fmla="*/ 101769 w 1758661"/>
                  <a:gd name="connsiteY17" fmla="*/ 980528 h 1761146"/>
                  <a:gd name="connsiteX18" fmla="*/ 101769 w 1758661"/>
                  <a:gd name="connsiteY18" fmla="*/ 992507 h 1761146"/>
                  <a:gd name="connsiteX19" fmla="*/ 281791 w 1758661"/>
                  <a:gd name="connsiteY19" fmla="*/ 1388527 h 1761146"/>
                  <a:gd name="connsiteX20" fmla="*/ 981484 w 1758661"/>
                  <a:gd name="connsiteY20" fmla="*/ 1654010 h 1761146"/>
                  <a:gd name="connsiteX21" fmla="*/ 1582979 w 1758661"/>
                  <a:gd name="connsiteY21" fmla="*/ 1208778 h 1761146"/>
                  <a:gd name="connsiteX22" fmla="*/ 1533419 w 1758661"/>
                  <a:gd name="connsiteY22" fmla="*/ 462050 h 1761146"/>
                  <a:gd name="connsiteX23" fmla="*/ 878353 w 1758661"/>
                  <a:gd name="connsiteY23" fmla="*/ 100241 h 176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58661" h="1761146">
                    <a:moveTo>
                      <a:pt x="876816" y="1761146"/>
                    </a:moveTo>
                    <a:cubicBezTo>
                      <a:pt x="620865" y="1761223"/>
                      <a:pt x="377583" y="1649782"/>
                      <a:pt x="210492" y="1455907"/>
                    </a:cubicBezTo>
                    <a:cubicBezTo>
                      <a:pt x="103223" y="1330797"/>
                      <a:pt x="33987" y="1177648"/>
                      <a:pt x="10993" y="1014496"/>
                    </a:cubicBezTo>
                    <a:cubicBezTo>
                      <a:pt x="9501" y="1008603"/>
                      <a:pt x="8505" y="1002595"/>
                      <a:pt x="7970" y="996510"/>
                    </a:cubicBezTo>
                    <a:cubicBezTo>
                      <a:pt x="2497" y="958699"/>
                      <a:pt x="-182" y="920544"/>
                      <a:pt x="10" y="882314"/>
                    </a:cubicBezTo>
                    <a:cubicBezTo>
                      <a:pt x="545" y="591114"/>
                      <a:pt x="144596" y="318900"/>
                      <a:pt x="385047" y="154612"/>
                    </a:cubicBezTo>
                    <a:cubicBezTo>
                      <a:pt x="439620" y="116648"/>
                      <a:pt x="498175" y="84692"/>
                      <a:pt x="559632" y="59357"/>
                    </a:cubicBezTo>
                    <a:cubicBezTo>
                      <a:pt x="589445" y="47646"/>
                      <a:pt x="619907" y="37658"/>
                      <a:pt x="650906" y="29430"/>
                    </a:cubicBezTo>
                    <a:cubicBezTo>
                      <a:pt x="725112" y="9874"/>
                      <a:pt x="801576" y="0"/>
                      <a:pt x="878347" y="0"/>
                    </a:cubicBezTo>
                    <a:cubicBezTo>
                      <a:pt x="1192855" y="0"/>
                      <a:pt x="1483438" y="167776"/>
                      <a:pt x="1640721" y="440147"/>
                    </a:cubicBezTo>
                    <a:cubicBezTo>
                      <a:pt x="1797975" y="712556"/>
                      <a:pt x="1797975" y="1048108"/>
                      <a:pt x="1640721" y="1320469"/>
                    </a:cubicBezTo>
                    <a:cubicBezTo>
                      <a:pt x="1483428" y="1592839"/>
                      <a:pt x="1192845" y="1760655"/>
                      <a:pt x="878347" y="1760655"/>
                    </a:cubicBezTo>
                    <a:close/>
                    <a:moveTo>
                      <a:pt x="876816" y="100237"/>
                    </a:moveTo>
                    <a:cubicBezTo>
                      <a:pt x="808159" y="99969"/>
                      <a:pt x="739734" y="108694"/>
                      <a:pt x="673329" y="126145"/>
                    </a:cubicBezTo>
                    <a:cubicBezTo>
                      <a:pt x="646119" y="133531"/>
                      <a:pt x="619330" y="142371"/>
                      <a:pt x="593038" y="152590"/>
                    </a:cubicBezTo>
                    <a:cubicBezTo>
                      <a:pt x="537853" y="174480"/>
                      <a:pt x="485191" y="202264"/>
                      <a:pt x="435941" y="235406"/>
                    </a:cubicBezTo>
                    <a:cubicBezTo>
                      <a:pt x="223078" y="381403"/>
                      <a:pt x="95530" y="622658"/>
                      <a:pt x="94765" y="880793"/>
                    </a:cubicBezTo>
                    <a:cubicBezTo>
                      <a:pt x="94842" y="914164"/>
                      <a:pt x="97176" y="947497"/>
                      <a:pt x="101769" y="980528"/>
                    </a:cubicBezTo>
                    <a:cubicBezTo>
                      <a:pt x="101348" y="984508"/>
                      <a:pt x="101348" y="988526"/>
                      <a:pt x="101769" y="992507"/>
                    </a:cubicBezTo>
                    <a:cubicBezTo>
                      <a:pt x="122282" y="1139121"/>
                      <a:pt x="184815" y="1276663"/>
                      <a:pt x="281791" y="1388527"/>
                    </a:cubicBezTo>
                    <a:cubicBezTo>
                      <a:pt x="454662" y="1590367"/>
                      <a:pt x="718303" y="1690367"/>
                      <a:pt x="981484" y="1654010"/>
                    </a:cubicBezTo>
                    <a:cubicBezTo>
                      <a:pt x="1244704" y="1617653"/>
                      <a:pt x="1471341" y="1449876"/>
                      <a:pt x="1582979" y="1208778"/>
                    </a:cubicBezTo>
                    <a:cubicBezTo>
                      <a:pt x="1694618" y="967641"/>
                      <a:pt x="1675938" y="686277"/>
                      <a:pt x="1533419" y="462050"/>
                    </a:cubicBezTo>
                    <a:cubicBezTo>
                      <a:pt x="1390861" y="237823"/>
                      <a:pt x="1144061" y="101466"/>
                      <a:pt x="878353" y="100241"/>
                    </a:cubicBezTo>
                    <a:close/>
                  </a:path>
                </a:pathLst>
              </a:custGeom>
              <a:solidFill>
                <a:srgbClr val="000000"/>
              </a:solidFill>
              <a:ln w="9797"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42A965F0-FCFB-6F1B-D0D6-8EDC17E9DAC0}"/>
                  </a:ext>
                </a:extLst>
              </p:cNvPr>
              <p:cNvSpPr/>
              <p:nvPr/>
            </p:nvSpPr>
            <p:spPr>
              <a:xfrm>
                <a:off x="8365434" y="3668031"/>
                <a:ext cx="330991" cy="330866"/>
              </a:xfrm>
              <a:custGeom>
                <a:avLst/>
                <a:gdLst>
                  <a:gd name="connsiteX0" fmla="*/ 1623505 w 2754697"/>
                  <a:gd name="connsiteY0" fmla="*/ 2753646 h 2753656"/>
                  <a:gd name="connsiteX1" fmla="*/ 1131198 w 2754697"/>
                  <a:gd name="connsiteY1" fmla="*/ 2753646 h 2753656"/>
                  <a:gd name="connsiteX2" fmla="*/ 1081332 w 2754697"/>
                  <a:gd name="connsiteY2" fmla="*/ 2712237 h 2753656"/>
                  <a:gd name="connsiteX3" fmla="*/ 1041417 w 2754697"/>
                  <a:gd name="connsiteY3" fmla="*/ 2490773 h 2753656"/>
                  <a:gd name="connsiteX4" fmla="*/ 1041417 w 2754697"/>
                  <a:gd name="connsiteY4" fmla="*/ 2490811 h 2753656"/>
                  <a:gd name="connsiteX5" fmla="*/ 826948 w 2754697"/>
                  <a:gd name="connsiteY5" fmla="*/ 2401527 h 2753656"/>
                  <a:gd name="connsiteX6" fmla="*/ 641909 w 2754697"/>
                  <a:gd name="connsiteY6" fmla="*/ 2530692 h 2753656"/>
                  <a:gd name="connsiteX7" fmla="*/ 641909 w 2754697"/>
                  <a:gd name="connsiteY7" fmla="*/ 2530731 h 2753656"/>
                  <a:gd name="connsiteX8" fmla="*/ 578075 w 2754697"/>
                  <a:gd name="connsiteY8" fmla="*/ 2525220 h 2753656"/>
                  <a:gd name="connsiteX9" fmla="*/ 228934 w 2754697"/>
                  <a:gd name="connsiteY9" fmla="*/ 2176079 h 2753656"/>
                  <a:gd name="connsiteX10" fmla="*/ 223461 w 2754697"/>
                  <a:gd name="connsiteY10" fmla="*/ 2112245 h 2753656"/>
                  <a:gd name="connsiteX11" fmla="*/ 352627 w 2754697"/>
                  <a:gd name="connsiteY11" fmla="*/ 1928205 h 2753656"/>
                  <a:gd name="connsiteX12" fmla="*/ 263343 w 2754697"/>
                  <a:gd name="connsiteY12" fmla="*/ 1711747 h 2753656"/>
                  <a:gd name="connsiteX13" fmla="*/ 40879 w 2754697"/>
                  <a:gd name="connsiteY13" fmla="*/ 1672826 h 2753656"/>
                  <a:gd name="connsiteX14" fmla="*/ 40917 w 2754697"/>
                  <a:gd name="connsiteY14" fmla="*/ 1672826 h 2753656"/>
                  <a:gd name="connsiteX15" fmla="*/ 6 w 2754697"/>
                  <a:gd name="connsiteY15" fmla="*/ 1622961 h 2753656"/>
                  <a:gd name="connsiteX16" fmla="*/ 6 w 2754697"/>
                  <a:gd name="connsiteY16" fmla="*/ 1130694 h 2753656"/>
                  <a:gd name="connsiteX17" fmla="*/ 40917 w 2754697"/>
                  <a:gd name="connsiteY17" fmla="*/ 1080789 h 2753656"/>
                  <a:gd name="connsiteX18" fmla="*/ 261853 w 2754697"/>
                  <a:gd name="connsiteY18" fmla="*/ 1042404 h 2753656"/>
                  <a:gd name="connsiteX19" fmla="*/ 352131 w 2754697"/>
                  <a:gd name="connsiteY19" fmla="*/ 826945 h 2753656"/>
                  <a:gd name="connsiteX20" fmla="*/ 222966 w 2754697"/>
                  <a:gd name="connsiteY20" fmla="*/ 641906 h 2753656"/>
                  <a:gd name="connsiteX21" fmla="*/ 228438 w 2754697"/>
                  <a:gd name="connsiteY21" fmla="*/ 578034 h 2753656"/>
                  <a:gd name="connsiteX22" fmla="*/ 577579 w 2754697"/>
                  <a:gd name="connsiteY22" fmla="*/ 228893 h 2753656"/>
                  <a:gd name="connsiteX23" fmla="*/ 577579 w 2754697"/>
                  <a:gd name="connsiteY23" fmla="*/ 228931 h 2753656"/>
                  <a:gd name="connsiteX24" fmla="*/ 641413 w 2754697"/>
                  <a:gd name="connsiteY24" fmla="*/ 222923 h 2753656"/>
                  <a:gd name="connsiteX25" fmla="*/ 826452 w 2754697"/>
                  <a:gd name="connsiteY25" fmla="*/ 352088 h 2753656"/>
                  <a:gd name="connsiteX26" fmla="*/ 826452 w 2754697"/>
                  <a:gd name="connsiteY26" fmla="*/ 352127 h 2753656"/>
                  <a:gd name="connsiteX27" fmla="*/ 955657 w 2754697"/>
                  <a:gd name="connsiteY27" fmla="*/ 291774 h 2753656"/>
                  <a:gd name="connsiteX28" fmla="*/ 1042454 w 2754697"/>
                  <a:gd name="connsiteY28" fmla="*/ 262345 h 2753656"/>
                  <a:gd name="connsiteX29" fmla="*/ 1081872 w 2754697"/>
                  <a:gd name="connsiteY29" fmla="*/ 40880 h 2753656"/>
                  <a:gd name="connsiteX30" fmla="*/ 1081833 w 2754697"/>
                  <a:gd name="connsiteY30" fmla="*/ 40880 h 2753656"/>
                  <a:gd name="connsiteX31" fmla="*/ 1131699 w 2754697"/>
                  <a:gd name="connsiteY31" fmla="*/ 8 h 2753656"/>
                  <a:gd name="connsiteX32" fmla="*/ 1623505 w 2754697"/>
                  <a:gd name="connsiteY32" fmla="*/ 8 h 2753656"/>
                  <a:gd name="connsiteX33" fmla="*/ 1673371 w 2754697"/>
                  <a:gd name="connsiteY33" fmla="*/ 40880 h 2753656"/>
                  <a:gd name="connsiteX34" fmla="*/ 1712292 w 2754697"/>
                  <a:gd name="connsiteY34" fmla="*/ 262345 h 2753656"/>
                  <a:gd name="connsiteX35" fmla="*/ 1712254 w 2754697"/>
                  <a:gd name="connsiteY35" fmla="*/ 262345 h 2753656"/>
                  <a:gd name="connsiteX36" fmla="*/ 1928251 w 2754697"/>
                  <a:gd name="connsiteY36" fmla="*/ 352127 h 2753656"/>
                  <a:gd name="connsiteX37" fmla="*/ 2112790 w 2754697"/>
                  <a:gd name="connsiteY37" fmla="*/ 222961 h 2753656"/>
                  <a:gd name="connsiteX38" fmla="*/ 2112790 w 2754697"/>
                  <a:gd name="connsiteY38" fmla="*/ 222923 h 2753656"/>
                  <a:gd name="connsiteX39" fmla="*/ 2176625 w 2754697"/>
                  <a:gd name="connsiteY39" fmla="*/ 228931 h 2753656"/>
                  <a:gd name="connsiteX40" fmla="*/ 2525766 w 2754697"/>
                  <a:gd name="connsiteY40" fmla="*/ 578072 h 2753656"/>
                  <a:gd name="connsiteX41" fmla="*/ 2525766 w 2754697"/>
                  <a:gd name="connsiteY41" fmla="*/ 578034 h 2753656"/>
                  <a:gd name="connsiteX42" fmla="*/ 2531736 w 2754697"/>
                  <a:gd name="connsiteY42" fmla="*/ 641906 h 2753656"/>
                  <a:gd name="connsiteX43" fmla="*/ 2402570 w 2754697"/>
                  <a:gd name="connsiteY43" fmla="*/ 826945 h 2753656"/>
                  <a:gd name="connsiteX44" fmla="*/ 2491854 w 2754697"/>
                  <a:gd name="connsiteY44" fmla="*/ 1042404 h 2753656"/>
                  <a:gd name="connsiteX45" fmla="*/ 2713819 w 2754697"/>
                  <a:gd name="connsiteY45" fmla="*/ 1081325 h 2753656"/>
                  <a:gd name="connsiteX46" fmla="*/ 2713780 w 2754697"/>
                  <a:gd name="connsiteY46" fmla="*/ 1081286 h 2753656"/>
                  <a:gd name="connsiteX47" fmla="*/ 2754691 w 2754697"/>
                  <a:gd name="connsiteY47" fmla="*/ 1131191 h 2753656"/>
                  <a:gd name="connsiteX48" fmla="*/ 2754691 w 2754697"/>
                  <a:gd name="connsiteY48" fmla="*/ 1624458 h 2753656"/>
                  <a:gd name="connsiteX49" fmla="*/ 2713282 w 2754697"/>
                  <a:gd name="connsiteY49" fmla="*/ 1674323 h 2753656"/>
                  <a:gd name="connsiteX50" fmla="*/ 2492347 w 2754697"/>
                  <a:gd name="connsiteY50" fmla="*/ 1713244 h 2753656"/>
                  <a:gd name="connsiteX51" fmla="*/ 2403063 w 2754697"/>
                  <a:gd name="connsiteY51" fmla="*/ 1929702 h 2753656"/>
                  <a:gd name="connsiteX52" fmla="*/ 2531729 w 2754697"/>
                  <a:gd name="connsiteY52" fmla="*/ 2114242 h 2753656"/>
                  <a:gd name="connsiteX53" fmla="*/ 2525758 w 2754697"/>
                  <a:gd name="connsiteY53" fmla="*/ 2177578 h 2753656"/>
                  <a:gd name="connsiteX54" fmla="*/ 2176618 w 2754697"/>
                  <a:gd name="connsiteY54" fmla="*/ 2526719 h 2753656"/>
                  <a:gd name="connsiteX55" fmla="*/ 2112783 w 2754697"/>
                  <a:gd name="connsiteY55" fmla="*/ 2532230 h 2753656"/>
                  <a:gd name="connsiteX56" fmla="*/ 1927245 w 2754697"/>
                  <a:gd name="connsiteY56" fmla="*/ 2401536 h 2753656"/>
                  <a:gd name="connsiteX57" fmla="*/ 1712247 w 2754697"/>
                  <a:gd name="connsiteY57" fmla="*/ 2490820 h 2753656"/>
                  <a:gd name="connsiteX58" fmla="*/ 1672331 w 2754697"/>
                  <a:gd name="connsiteY58" fmla="*/ 2712784 h 2753656"/>
                  <a:gd name="connsiteX59" fmla="*/ 1672369 w 2754697"/>
                  <a:gd name="connsiteY59" fmla="*/ 2712784 h 2753656"/>
                  <a:gd name="connsiteX60" fmla="*/ 1623499 w 2754697"/>
                  <a:gd name="connsiteY60" fmla="*/ 2753657 h 2753656"/>
                  <a:gd name="connsiteX61" fmla="*/ 1174639 w 2754697"/>
                  <a:gd name="connsiteY61" fmla="*/ 2653872 h 2753656"/>
                  <a:gd name="connsiteX62" fmla="*/ 1583130 w 2754697"/>
                  <a:gd name="connsiteY62" fmla="*/ 2653872 h 2753656"/>
                  <a:gd name="connsiteX63" fmla="*/ 1621018 w 2754697"/>
                  <a:gd name="connsiteY63" fmla="*/ 2442391 h 2753656"/>
                  <a:gd name="connsiteX64" fmla="*/ 1620980 w 2754697"/>
                  <a:gd name="connsiteY64" fmla="*/ 2442429 h 2753656"/>
                  <a:gd name="connsiteX65" fmla="*/ 1658408 w 2754697"/>
                  <a:gd name="connsiteY65" fmla="*/ 2401518 h 2753656"/>
                  <a:gd name="connsiteX66" fmla="*/ 1907774 w 2754697"/>
                  <a:gd name="connsiteY66" fmla="*/ 2301783 h 2753656"/>
                  <a:gd name="connsiteX67" fmla="*/ 1957679 w 2754697"/>
                  <a:gd name="connsiteY67" fmla="*/ 2301783 h 2753656"/>
                  <a:gd name="connsiteX68" fmla="*/ 2134253 w 2754697"/>
                  <a:gd name="connsiteY68" fmla="*/ 2424973 h 2753656"/>
                  <a:gd name="connsiteX69" fmla="*/ 2423533 w 2754697"/>
                  <a:gd name="connsiteY69" fmla="*/ 2135193 h 2753656"/>
                  <a:gd name="connsiteX70" fmla="*/ 2301794 w 2754697"/>
                  <a:gd name="connsiteY70" fmla="*/ 1959608 h 2753656"/>
                  <a:gd name="connsiteX71" fmla="*/ 2301794 w 2754697"/>
                  <a:gd name="connsiteY71" fmla="*/ 1906260 h 2753656"/>
                  <a:gd name="connsiteX72" fmla="*/ 2405046 w 2754697"/>
                  <a:gd name="connsiteY72" fmla="*/ 1656854 h 2753656"/>
                  <a:gd name="connsiteX73" fmla="*/ 2444962 w 2754697"/>
                  <a:gd name="connsiteY73" fmla="*/ 1620460 h 2753656"/>
                  <a:gd name="connsiteX74" fmla="*/ 2655904 w 2754697"/>
                  <a:gd name="connsiteY74" fmla="*/ 1582036 h 2753656"/>
                  <a:gd name="connsiteX75" fmla="*/ 2655904 w 2754697"/>
                  <a:gd name="connsiteY75" fmla="*/ 1172545 h 2753656"/>
                  <a:gd name="connsiteX76" fmla="*/ 2444423 w 2754697"/>
                  <a:gd name="connsiteY76" fmla="*/ 1135155 h 2753656"/>
                  <a:gd name="connsiteX77" fmla="*/ 2405043 w 2754697"/>
                  <a:gd name="connsiteY77" fmla="*/ 1098761 h 2753656"/>
                  <a:gd name="connsiteX78" fmla="*/ 2301791 w 2754697"/>
                  <a:gd name="connsiteY78" fmla="*/ 849355 h 2753656"/>
                  <a:gd name="connsiteX79" fmla="*/ 2301791 w 2754697"/>
                  <a:gd name="connsiteY79" fmla="*/ 796006 h 2753656"/>
                  <a:gd name="connsiteX80" fmla="*/ 2424480 w 2754697"/>
                  <a:gd name="connsiteY80" fmla="*/ 619432 h 2753656"/>
                  <a:gd name="connsiteX81" fmla="*/ 2135690 w 2754697"/>
                  <a:gd name="connsiteY81" fmla="*/ 330642 h 2753656"/>
                  <a:gd name="connsiteX82" fmla="*/ 1957656 w 2754697"/>
                  <a:gd name="connsiteY82" fmla="*/ 453332 h 2753656"/>
                  <a:gd name="connsiteX83" fmla="*/ 1903274 w 2754697"/>
                  <a:gd name="connsiteY83" fmla="*/ 453332 h 2753656"/>
                  <a:gd name="connsiteX84" fmla="*/ 1891296 w 2754697"/>
                  <a:gd name="connsiteY84" fmla="*/ 446864 h 2753656"/>
                  <a:gd name="connsiteX85" fmla="*/ 1653411 w 2754697"/>
                  <a:gd name="connsiteY85" fmla="*/ 350079 h 2753656"/>
                  <a:gd name="connsiteX86" fmla="*/ 1617475 w 2754697"/>
                  <a:gd name="connsiteY86" fmla="*/ 310699 h 2753656"/>
                  <a:gd name="connsiteX87" fmla="*/ 1580085 w 2754697"/>
                  <a:gd name="connsiteY87" fmla="*/ 99718 h 2753656"/>
                  <a:gd name="connsiteX88" fmla="*/ 1173083 w 2754697"/>
                  <a:gd name="connsiteY88" fmla="*/ 99718 h 2753656"/>
                  <a:gd name="connsiteX89" fmla="*/ 1135195 w 2754697"/>
                  <a:gd name="connsiteY89" fmla="*/ 310699 h 2753656"/>
                  <a:gd name="connsiteX90" fmla="*/ 1098761 w 2754697"/>
                  <a:gd name="connsiteY90" fmla="*/ 350079 h 2753656"/>
                  <a:gd name="connsiteX91" fmla="*/ 992521 w 2754697"/>
                  <a:gd name="connsiteY91" fmla="*/ 385020 h 2753656"/>
                  <a:gd name="connsiteX92" fmla="*/ 848895 w 2754697"/>
                  <a:gd name="connsiteY92" fmla="*/ 456316 h 2753656"/>
                  <a:gd name="connsiteX93" fmla="*/ 795509 w 2754697"/>
                  <a:gd name="connsiteY93" fmla="*/ 456316 h 2753656"/>
                  <a:gd name="connsiteX94" fmla="*/ 619425 w 2754697"/>
                  <a:gd name="connsiteY94" fmla="*/ 333127 h 2753656"/>
                  <a:gd name="connsiteX95" fmla="*/ 330144 w 2754697"/>
                  <a:gd name="connsiteY95" fmla="*/ 621917 h 2753656"/>
                  <a:gd name="connsiteX96" fmla="*/ 453334 w 2754697"/>
                  <a:gd name="connsiteY96" fmla="*/ 798491 h 2753656"/>
                  <a:gd name="connsiteX97" fmla="*/ 453372 w 2754697"/>
                  <a:gd name="connsiteY97" fmla="*/ 798491 h 2753656"/>
                  <a:gd name="connsiteX98" fmla="*/ 453372 w 2754697"/>
                  <a:gd name="connsiteY98" fmla="*/ 851840 h 2753656"/>
                  <a:gd name="connsiteX99" fmla="*/ 349120 w 2754697"/>
                  <a:gd name="connsiteY99" fmla="*/ 1101246 h 2753656"/>
                  <a:gd name="connsiteX100" fmla="*/ 309703 w 2754697"/>
                  <a:gd name="connsiteY100" fmla="*/ 1137143 h 2753656"/>
                  <a:gd name="connsiteX101" fmla="*/ 98721 w 2754697"/>
                  <a:gd name="connsiteY101" fmla="*/ 1174533 h 2753656"/>
                  <a:gd name="connsiteX102" fmla="*/ 98721 w 2754697"/>
                  <a:gd name="connsiteY102" fmla="*/ 1584024 h 2753656"/>
                  <a:gd name="connsiteX103" fmla="*/ 310702 w 2754697"/>
                  <a:gd name="connsiteY103" fmla="*/ 1620916 h 2753656"/>
                  <a:gd name="connsiteX104" fmla="*/ 310702 w 2754697"/>
                  <a:gd name="connsiteY104" fmla="*/ 1620955 h 2753656"/>
                  <a:gd name="connsiteX105" fmla="*/ 350120 w 2754697"/>
                  <a:gd name="connsiteY105" fmla="*/ 1657847 h 2753656"/>
                  <a:gd name="connsiteX106" fmla="*/ 453372 w 2754697"/>
                  <a:gd name="connsiteY106" fmla="*/ 1907253 h 2753656"/>
                  <a:gd name="connsiteX107" fmla="*/ 453372 w 2754697"/>
                  <a:gd name="connsiteY107" fmla="*/ 1961099 h 2753656"/>
                  <a:gd name="connsiteX108" fmla="*/ 330183 w 2754697"/>
                  <a:gd name="connsiteY108" fmla="*/ 2137183 h 2753656"/>
                  <a:gd name="connsiteX109" fmla="*/ 619463 w 2754697"/>
                  <a:gd name="connsiteY109" fmla="*/ 2426463 h 2753656"/>
                  <a:gd name="connsiteX110" fmla="*/ 795508 w 2754697"/>
                  <a:gd name="connsiteY110" fmla="*/ 2301775 h 2753656"/>
                  <a:gd name="connsiteX111" fmla="*/ 848894 w 2754697"/>
                  <a:gd name="connsiteY111" fmla="*/ 2301775 h 2753656"/>
                  <a:gd name="connsiteX112" fmla="*/ 1098261 w 2754697"/>
                  <a:gd name="connsiteY112" fmla="*/ 2405487 h 2753656"/>
                  <a:gd name="connsiteX113" fmla="*/ 1134197 w 2754697"/>
                  <a:gd name="connsiteY113" fmla="*/ 2444905 h 2753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2754697" h="2753656">
                    <a:moveTo>
                      <a:pt x="1623505" y="2753646"/>
                    </a:moveTo>
                    <a:lnTo>
                      <a:pt x="1131198" y="2753646"/>
                    </a:lnTo>
                    <a:cubicBezTo>
                      <a:pt x="1106667" y="2754029"/>
                      <a:pt x="1085503" y="2736463"/>
                      <a:pt x="1081332" y="2712237"/>
                    </a:cubicBezTo>
                    <a:lnTo>
                      <a:pt x="1041417" y="2490773"/>
                    </a:lnTo>
                    <a:lnTo>
                      <a:pt x="1041417" y="2490811"/>
                    </a:lnTo>
                    <a:cubicBezTo>
                      <a:pt x="967097" y="2468385"/>
                      <a:pt x="895263" y="2438457"/>
                      <a:pt x="826948" y="2401527"/>
                    </a:cubicBezTo>
                    <a:lnTo>
                      <a:pt x="641909" y="2530692"/>
                    </a:lnTo>
                    <a:lnTo>
                      <a:pt x="641909" y="2530731"/>
                    </a:lnTo>
                    <a:cubicBezTo>
                      <a:pt x="622124" y="2544623"/>
                      <a:pt x="595220" y="2542289"/>
                      <a:pt x="578075" y="2525220"/>
                    </a:cubicBezTo>
                    <a:lnTo>
                      <a:pt x="228934" y="2176079"/>
                    </a:lnTo>
                    <a:cubicBezTo>
                      <a:pt x="211865" y="2158972"/>
                      <a:pt x="209569" y="2132030"/>
                      <a:pt x="223461" y="2112245"/>
                    </a:cubicBezTo>
                    <a:lnTo>
                      <a:pt x="352627" y="1928205"/>
                    </a:lnTo>
                    <a:cubicBezTo>
                      <a:pt x="315161" y="1859473"/>
                      <a:pt x="285233" y="1786911"/>
                      <a:pt x="263343" y="1711747"/>
                    </a:cubicBezTo>
                    <a:lnTo>
                      <a:pt x="40879" y="1672826"/>
                    </a:lnTo>
                    <a:lnTo>
                      <a:pt x="40917" y="1672826"/>
                    </a:lnTo>
                    <a:cubicBezTo>
                      <a:pt x="16922" y="1668464"/>
                      <a:pt x="-376" y="1647338"/>
                      <a:pt x="6" y="1622961"/>
                    </a:cubicBezTo>
                    <a:lnTo>
                      <a:pt x="6" y="1130694"/>
                    </a:lnTo>
                    <a:cubicBezTo>
                      <a:pt x="-376" y="1106277"/>
                      <a:pt x="16922" y="1085191"/>
                      <a:pt x="40917" y="1080789"/>
                    </a:cubicBezTo>
                    <a:lnTo>
                      <a:pt x="261853" y="1042404"/>
                    </a:lnTo>
                    <a:cubicBezTo>
                      <a:pt x="284394" y="967624"/>
                      <a:pt x="314627" y="895407"/>
                      <a:pt x="352131" y="826945"/>
                    </a:cubicBezTo>
                    <a:lnTo>
                      <a:pt x="222966" y="641906"/>
                    </a:lnTo>
                    <a:cubicBezTo>
                      <a:pt x="209073" y="622083"/>
                      <a:pt x="211370" y="595179"/>
                      <a:pt x="228438" y="578034"/>
                    </a:cubicBezTo>
                    <a:lnTo>
                      <a:pt x="577579" y="228893"/>
                    </a:lnTo>
                    <a:lnTo>
                      <a:pt x="577579" y="228931"/>
                    </a:lnTo>
                    <a:cubicBezTo>
                      <a:pt x="594571" y="211710"/>
                      <a:pt x="621513" y="209184"/>
                      <a:pt x="641413" y="222923"/>
                    </a:cubicBezTo>
                    <a:lnTo>
                      <a:pt x="826452" y="352088"/>
                    </a:lnTo>
                    <a:lnTo>
                      <a:pt x="826452" y="352127"/>
                    </a:lnTo>
                    <a:cubicBezTo>
                      <a:pt x="868243" y="329356"/>
                      <a:pt x="911374" y="309188"/>
                      <a:pt x="955657" y="291774"/>
                    </a:cubicBezTo>
                    <a:cubicBezTo>
                      <a:pt x="983594" y="280791"/>
                      <a:pt x="1012526" y="270841"/>
                      <a:pt x="1042454" y="262345"/>
                    </a:cubicBezTo>
                    <a:lnTo>
                      <a:pt x="1081872" y="40880"/>
                    </a:lnTo>
                    <a:lnTo>
                      <a:pt x="1081833" y="40880"/>
                    </a:lnTo>
                    <a:cubicBezTo>
                      <a:pt x="1086234" y="16885"/>
                      <a:pt x="1107321" y="-413"/>
                      <a:pt x="1131699" y="8"/>
                    </a:cubicBezTo>
                    <a:lnTo>
                      <a:pt x="1623505" y="8"/>
                    </a:lnTo>
                    <a:cubicBezTo>
                      <a:pt x="1647884" y="-413"/>
                      <a:pt x="1668970" y="16885"/>
                      <a:pt x="1673371" y="40880"/>
                    </a:cubicBezTo>
                    <a:lnTo>
                      <a:pt x="1712292" y="262345"/>
                    </a:lnTo>
                    <a:lnTo>
                      <a:pt x="1712254" y="262345"/>
                    </a:lnTo>
                    <a:cubicBezTo>
                      <a:pt x="1787148" y="284771"/>
                      <a:pt x="1859515" y="314851"/>
                      <a:pt x="1928251" y="352127"/>
                    </a:cubicBezTo>
                    <a:lnTo>
                      <a:pt x="2112790" y="222961"/>
                    </a:lnTo>
                    <a:lnTo>
                      <a:pt x="2112790" y="222923"/>
                    </a:lnTo>
                    <a:cubicBezTo>
                      <a:pt x="2132690" y="209184"/>
                      <a:pt x="2159594" y="211710"/>
                      <a:pt x="2176625" y="228931"/>
                    </a:cubicBezTo>
                    <a:lnTo>
                      <a:pt x="2525766" y="578072"/>
                    </a:lnTo>
                    <a:lnTo>
                      <a:pt x="2525766" y="578034"/>
                    </a:lnTo>
                    <a:cubicBezTo>
                      <a:pt x="2542987" y="595064"/>
                      <a:pt x="2545513" y="621968"/>
                      <a:pt x="2531736" y="641906"/>
                    </a:cubicBezTo>
                    <a:lnTo>
                      <a:pt x="2402570" y="826945"/>
                    </a:lnTo>
                    <a:cubicBezTo>
                      <a:pt x="2439769" y="895448"/>
                      <a:pt x="2469696" y="967661"/>
                      <a:pt x="2491854" y="1042404"/>
                    </a:cubicBezTo>
                    <a:lnTo>
                      <a:pt x="2713819" y="1081325"/>
                    </a:lnTo>
                    <a:lnTo>
                      <a:pt x="2713780" y="1081286"/>
                    </a:lnTo>
                    <a:cubicBezTo>
                      <a:pt x="2737775" y="1085688"/>
                      <a:pt x="2755073" y="1106775"/>
                      <a:pt x="2754691" y="1131191"/>
                    </a:cubicBezTo>
                    <a:lnTo>
                      <a:pt x="2754691" y="1624458"/>
                    </a:lnTo>
                    <a:cubicBezTo>
                      <a:pt x="2755035" y="1649027"/>
                      <a:pt x="2737470" y="1670153"/>
                      <a:pt x="2713282" y="1674323"/>
                    </a:cubicBezTo>
                    <a:lnTo>
                      <a:pt x="2492347" y="1713244"/>
                    </a:lnTo>
                    <a:cubicBezTo>
                      <a:pt x="2469959" y="1788215"/>
                      <a:pt x="2440032" y="1860740"/>
                      <a:pt x="2403063" y="1929702"/>
                    </a:cubicBezTo>
                    <a:lnTo>
                      <a:pt x="2531729" y="2114242"/>
                    </a:lnTo>
                    <a:cubicBezTo>
                      <a:pt x="2545200" y="2134065"/>
                      <a:pt x="2542712" y="2160663"/>
                      <a:pt x="2525758" y="2177578"/>
                    </a:cubicBezTo>
                    <a:lnTo>
                      <a:pt x="2176618" y="2526719"/>
                    </a:lnTo>
                    <a:cubicBezTo>
                      <a:pt x="2159473" y="2543787"/>
                      <a:pt x="2132569" y="2546122"/>
                      <a:pt x="2112783" y="2532230"/>
                    </a:cubicBezTo>
                    <a:lnTo>
                      <a:pt x="1927245" y="2401536"/>
                    </a:lnTo>
                    <a:cubicBezTo>
                      <a:pt x="1858971" y="2438849"/>
                      <a:pt x="1786911" y="2468815"/>
                      <a:pt x="1712247" y="2490820"/>
                    </a:cubicBezTo>
                    <a:lnTo>
                      <a:pt x="1672331" y="2712784"/>
                    </a:lnTo>
                    <a:lnTo>
                      <a:pt x="1672369" y="2712784"/>
                    </a:lnTo>
                    <a:cubicBezTo>
                      <a:pt x="1668045" y="2736397"/>
                      <a:pt x="1647494" y="2753580"/>
                      <a:pt x="1623499" y="2753657"/>
                    </a:cubicBezTo>
                    <a:close/>
                    <a:moveTo>
                      <a:pt x="1174639" y="2653872"/>
                    </a:moveTo>
                    <a:lnTo>
                      <a:pt x="1583130" y="2653872"/>
                    </a:lnTo>
                    <a:lnTo>
                      <a:pt x="1621018" y="2442391"/>
                    </a:lnTo>
                    <a:lnTo>
                      <a:pt x="1620980" y="2442429"/>
                    </a:lnTo>
                    <a:cubicBezTo>
                      <a:pt x="1624041" y="2422490"/>
                      <a:pt x="1638813" y="2406340"/>
                      <a:pt x="1658408" y="2401518"/>
                    </a:cubicBezTo>
                    <a:cubicBezTo>
                      <a:pt x="1745548" y="2379322"/>
                      <a:pt x="1829358" y="2345797"/>
                      <a:pt x="1907774" y="2301783"/>
                    </a:cubicBezTo>
                    <a:cubicBezTo>
                      <a:pt x="1923235" y="2292866"/>
                      <a:pt x="1942217" y="2292866"/>
                      <a:pt x="1957679" y="2301783"/>
                    </a:cubicBezTo>
                    <a:lnTo>
                      <a:pt x="2134253" y="2424973"/>
                    </a:lnTo>
                    <a:lnTo>
                      <a:pt x="2423533" y="2135193"/>
                    </a:lnTo>
                    <a:lnTo>
                      <a:pt x="2301794" y="1959608"/>
                    </a:lnTo>
                    <a:cubicBezTo>
                      <a:pt x="2291499" y="1943305"/>
                      <a:pt x="2291499" y="1922524"/>
                      <a:pt x="2301794" y="1906260"/>
                    </a:cubicBezTo>
                    <a:cubicBezTo>
                      <a:pt x="2346991" y="1827997"/>
                      <a:pt x="2381701" y="1744147"/>
                      <a:pt x="2405046" y="1656854"/>
                    </a:cubicBezTo>
                    <a:cubicBezTo>
                      <a:pt x="2410060" y="1637948"/>
                      <a:pt x="2425636" y="1623712"/>
                      <a:pt x="2444962" y="1620460"/>
                    </a:cubicBezTo>
                    <a:lnTo>
                      <a:pt x="2655904" y="1582036"/>
                    </a:lnTo>
                    <a:lnTo>
                      <a:pt x="2655904" y="1172545"/>
                    </a:lnTo>
                    <a:lnTo>
                      <a:pt x="2444423" y="1135155"/>
                    </a:lnTo>
                    <a:cubicBezTo>
                      <a:pt x="2425326" y="1131711"/>
                      <a:pt x="2409980" y="1117512"/>
                      <a:pt x="2405043" y="1098761"/>
                    </a:cubicBezTo>
                    <a:cubicBezTo>
                      <a:pt x="2381698" y="1011466"/>
                      <a:pt x="2346987" y="927614"/>
                      <a:pt x="2301791" y="849355"/>
                    </a:cubicBezTo>
                    <a:cubicBezTo>
                      <a:pt x="2291496" y="833090"/>
                      <a:pt x="2291496" y="812271"/>
                      <a:pt x="2301791" y="796006"/>
                    </a:cubicBezTo>
                    <a:lnTo>
                      <a:pt x="2424480" y="619432"/>
                    </a:lnTo>
                    <a:lnTo>
                      <a:pt x="2135690" y="330642"/>
                    </a:lnTo>
                    <a:lnTo>
                      <a:pt x="1957656" y="453332"/>
                    </a:lnTo>
                    <a:cubicBezTo>
                      <a:pt x="1941124" y="464086"/>
                      <a:pt x="1919807" y="464086"/>
                      <a:pt x="1903274" y="453332"/>
                    </a:cubicBezTo>
                    <a:lnTo>
                      <a:pt x="1891296" y="446864"/>
                    </a:lnTo>
                    <a:cubicBezTo>
                      <a:pt x="1816363" y="404767"/>
                      <a:pt x="1736413" y="372275"/>
                      <a:pt x="1653411" y="350079"/>
                    </a:cubicBezTo>
                    <a:cubicBezTo>
                      <a:pt x="1634812" y="344989"/>
                      <a:pt x="1620844" y="329643"/>
                      <a:pt x="1617475" y="310699"/>
                    </a:cubicBezTo>
                    <a:lnTo>
                      <a:pt x="1580085" y="99718"/>
                    </a:lnTo>
                    <a:lnTo>
                      <a:pt x="1173083" y="99718"/>
                    </a:lnTo>
                    <a:lnTo>
                      <a:pt x="1135195" y="310699"/>
                    </a:lnTo>
                    <a:cubicBezTo>
                      <a:pt x="1131751" y="329796"/>
                      <a:pt x="1117552" y="345180"/>
                      <a:pt x="1098761" y="350079"/>
                    </a:cubicBezTo>
                    <a:cubicBezTo>
                      <a:pt x="1062673" y="359570"/>
                      <a:pt x="1027196" y="371204"/>
                      <a:pt x="992521" y="385020"/>
                    </a:cubicBezTo>
                    <a:cubicBezTo>
                      <a:pt x="942885" y="405073"/>
                      <a:pt x="894855" y="428916"/>
                      <a:pt x="848895" y="456316"/>
                    </a:cubicBezTo>
                    <a:cubicBezTo>
                      <a:pt x="832592" y="466649"/>
                      <a:pt x="811811" y="466649"/>
                      <a:pt x="795509" y="456316"/>
                    </a:cubicBezTo>
                    <a:lnTo>
                      <a:pt x="619425" y="333127"/>
                    </a:lnTo>
                    <a:lnTo>
                      <a:pt x="330144" y="621917"/>
                    </a:lnTo>
                    <a:lnTo>
                      <a:pt x="453334" y="798491"/>
                    </a:lnTo>
                    <a:lnTo>
                      <a:pt x="453372" y="798491"/>
                    </a:lnTo>
                    <a:cubicBezTo>
                      <a:pt x="463667" y="814795"/>
                      <a:pt x="463667" y="835575"/>
                      <a:pt x="453372" y="851840"/>
                    </a:cubicBezTo>
                    <a:cubicBezTo>
                      <a:pt x="407869" y="930064"/>
                      <a:pt x="372851" y="1013914"/>
                      <a:pt x="349120" y="1101246"/>
                    </a:cubicBezTo>
                    <a:cubicBezTo>
                      <a:pt x="344031" y="1119806"/>
                      <a:pt x="328685" y="1133775"/>
                      <a:pt x="309703" y="1137143"/>
                    </a:cubicBezTo>
                    <a:lnTo>
                      <a:pt x="98721" y="1174533"/>
                    </a:lnTo>
                    <a:lnTo>
                      <a:pt x="98721" y="1584024"/>
                    </a:lnTo>
                    <a:lnTo>
                      <a:pt x="310702" y="1620916"/>
                    </a:lnTo>
                    <a:lnTo>
                      <a:pt x="310702" y="1620955"/>
                    </a:lnTo>
                    <a:cubicBezTo>
                      <a:pt x="329951" y="1624476"/>
                      <a:pt x="345375" y="1638903"/>
                      <a:pt x="350120" y="1657847"/>
                    </a:cubicBezTo>
                    <a:cubicBezTo>
                      <a:pt x="373235" y="1745218"/>
                      <a:pt x="407984" y="1829101"/>
                      <a:pt x="453372" y="1907253"/>
                    </a:cubicBezTo>
                    <a:cubicBezTo>
                      <a:pt x="463896" y="1923633"/>
                      <a:pt x="463896" y="1944681"/>
                      <a:pt x="453372" y="1961099"/>
                    </a:cubicBezTo>
                    <a:lnTo>
                      <a:pt x="330183" y="2137183"/>
                    </a:lnTo>
                    <a:lnTo>
                      <a:pt x="619463" y="2426463"/>
                    </a:lnTo>
                    <a:lnTo>
                      <a:pt x="795508" y="2301775"/>
                    </a:lnTo>
                    <a:cubicBezTo>
                      <a:pt x="811811" y="2291442"/>
                      <a:pt x="832592" y="2291442"/>
                      <a:pt x="848894" y="2301775"/>
                    </a:cubicBezTo>
                    <a:cubicBezTo>
                      <a:pt x="927195" y="2346896"/>
                      <a:pt x="1011047" y="2381760"/>
                      <a:pt x="1098261" y="2405487"/>
                    </a:cubicBezTo>
                    <a:cubicBezTo>
                      <a:pt x="1116860" y="2410616"/>
                      <a:pt x="1130829" y="2425923"/>
                      <a:pt x="1134197" y="2444905"/>
                    </a:cubicBezTo>
                    <a:close/>
                  </a:path>
                </a:pathLst>
              </a:custGeom>
              <a:solidFill>
                <a:srgbClr val="000000"/>
              </a:solidFill>
              <a:ln w="9797"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C9E85F47-A91F-45DC-6B76-44CAFBD89503}"/>
                  </a:ext>
                </a:extLst>
              </p:cNvPr>
              <p:cNvSpPr/>
              <p:nvPr/>
            </p:nvSpPr>
            <p:spPr>
              <a:xfrm>
                <a:off x="8524909" y="3792024"/>
                <a:ext cx="34105" cy="69637"/>
              </a:xfrm>
              <a:custGeom>
                <a:avLst/>
                <a:gdLst>
                  <a:gd name="connsiteX0" fmla="*/ 234444 w 283844"/>
                  <a:gd name="connsiteY0" fmla="*/ 579559 h 579560"/>
                  <a:gd name="connsiteX1" fmla="*/ 199005 w 283844"/>
                  <a:gd name="connsiteY1" fmla="*/ 565092 h 579560"/>
                  <a:gd name="connsiteX2" fmla="*/ 14466 w 283844"/>
                  <a:gd name="connsiteY2" fmla="*/ 380553 h 579560"/>
                  <a:gd name="connsiteX3" fmla="*/ 0 w 283844"/>
                  <a:gd name="connsiteY3" fmla="*/ 345651 h 579560"/>
                  <a:gd name="connsiteX4" fmla="*/ 0 w 283844"/>
                  <a:gd name="connsiteY4" fmla="*/ 49865 h 579560"/>
                  <a:gd name="connsiteX5" fmla="*/ 49866 w 283844"/>
                  <a:gd name="connsiteY5" fmla="*/ 0 h 579560"/>
                  <a:gd name="connsiteX6" fmla="*/ 99770 w 283844"/>
                  <a:gd name="connsiteY6" fmla="*/ 49865 h 579560"/>
                  <a:gd name="connsiteX7" fmla="*/ 99770 w 283844"/>
                  <a:gd name="connsiteY7" fmla="*/ 324685 h 579560"/>
                  <a:gd name="connsiteX8" fmla="*/ 269349 w 283844"/>
                  <a:gd name="connsiteY8" fmla="*/ 494754 h 579560"/>
                  <a:gd name="connsiteX9" fmla="*/ 269349 w 283844"/>
                  <a:gd name="connsiteY9" fmla="*/ 494792 h 579560"/>
                  <a:gd name="connsiteX10" fmla="*/ 269349 w 283844"/>
                  <a:gd name="connsiteY10" fmla="*/ 565094 h 579560"/>
                  <a:gd name="connsiteX11" fmla="*/ 234447 w 283844"/>
                  <a:gd name="connsiteY11" fmla="*/ 579561 h 57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3844" h="579560">
                    <a:moveTo>
                      <a:pt x="234444" y="579559"/>
                    </a:moveTo>
                    <a:cubicBezTo>
                      <a:pt x="221164" y="579635"/>
                      <a:pt x="208420" y="574431"/>
                      <a:pt x="199005" y="565092"/>
                    </a:cubicBezTo>
                    <a:lnTo>
                      <a:pt x="14466" y="380553"/>
                    </a:lnTo>
                    <a:cubicBezTo>
                      <a:pt x="5243" y="371254"/>
                      <a:pt x="77" y="358739"/>
                      <a:pt x="0" y="345651"/>
                    </a:cubicBezTo>
                    <a:lnTo>
                      <a:pt x="0" y="49865"/>
                    </a:lnTo>
                    <a:cubicBezTo>
                      <a:pt x="0" y="22349"/>
                      <a:pt x="22349" y="0"/>
                      <a:pt x="49866" y="0"/>
                    </a:cubicBezTo>
                    <a:cubicBezTo>
                      <a:pt x="77420" y="0"/>
                      <a:pt x="99770" y="22349"/>
                      <a:pt x="99770" y="49865"/>
                    </a:cubicBezTo>
                    <a:lnTo>
                      <a:pt x="99770" y="324685"/>
                    </a:lnTo>
                    <a:lnTo>
                      <a:pt x="269349" y="494754"/>
                    </a:lnTo>
                    <a:lnTo>
                      <a:pt x="269349" y="494792"/>
                    </a:lnTo>
                    <a:cubicBezTo>
                      <a:pt x="288676" y="514233"/>
                      <a:pt x="288676" y="545653"/>
                      <a:pt x="269349" y="565094"/>
                    </a:cubicBezTo>
                    <a:cubicBezTo>
                      <a:pt x="260049" y="574317"/>
                      <a:pt x="247496" y="579523"/>
                      <a:pt x="234447" y="579561"/>
                    </a:cubicBezTo>
                    <a:close/>
                  </a:path>
                </a:pathLst>
              </a:custGeom>
              <a:solidFill>
                <a:srgbClr val="000000"/>
              </a:solidFill>
              <a:ln w="9797" cap="flat">
                <a:noFill/>
                <a:prstDash val="solid"/>
                <a:miter/>
              </a:ln>
            </p:spPr>
            <p:txBody>
              <a:bodyPr rtlCol="0" anchor="ctr"/>
              <a:lstStyle/>
              <a:p>
                <a:endParaRPr lang="en-US" dirty="0"/>
              </a:p>
            </p:txBody>
          </p:sp>
        </p:grpSp>
      </p:grpSp>
      <p:grpSp>
        <p:nvGrpSpPr>
          <p:cNvPr id="293" name="Group 292">
            <a:extLst>
              <a:ext uri="{FF2B5EF4-FFF2-40B4-BE49-F238E27FC236}">
                <a16:creationId xmlns:a16="http://schemas.microsoft.com/office/drawing/2014/main" id="{7518DD1D-81FB-BFF8-FC55-BE5EAD6CD35B}"/>
              </a:ext>
            </a:extLst>
          </p:cNvPr>
          <p:cNvGrpSpPr/>
          <p:nvPr/>
        </p:nvGrpSpPr>
        <p:grpSpPr>
          <a:xfrm>
            <a:off x="7371724" y="5284349"/>
            <a:ext cx="731520" cy="731520"/>
            <a:chOff x="7811196" y="5131991"/>
            <a:chExt cx="731520" cy="731520"/>
          </a:xfrm>
        </p:grpSpPr>
        <p:sp>
          <p:nvSpPr>
            <p:cNvPr id="31" name="Freeform: Shape 30">
              <a:extLst>
                <a:ext uri="{FF2B5EF4-FFF2-40B4-BE49-F238E27FC236}">
                  <a16:creationId xmlns:a16="http://schemas.microsoft.com/office/drawing/2014/main" id="{29BF2589-4D03-BEDF-76D9-6E0E29A62A2D}"/>
                </a:ext>
              </a:extLst>
            </p:cNvPr>
            <p:cNvSpPr>
              <a:spLocks noChangeAspect="1"/>
            </p:cNvSpPr>
            <p:nvPr/>
          </p:nvSpPr>
          <p:spPr>
            <a:xfrm>
              <a:off x="7811196" y="5131991"/>
              <a:ext cx="731520" cy="731520"/>
            </a:xfrm>
            <a:custGeom>
              <a:avLst/>
              <a:gdLst>
                <a:gd name="connsiteX0" fmla="*/ 1123915 w 1123914"/>
                <a:gd name="connsiteY0" fmla="*/ 561957 h 1123914"/>
                <a:gd name="connsiteX1" fmla="*/ 561957 w 1123914"/>
                <a:gd name="connsiteY1" fmla="*/ 1123915 h 1123914"/>
                <a:gd name="connsiteX2" fmla="*/ 0 w 1123914"/>
                <a:gd name="connsiteY2" fmla="*/ 561957 h 1123914"/>
                <a:gd name="connsiteX3" fmla="*/ 561957 w 1123914"/>
                <a:gd name="connsiteY3" fmla="*/ 0 h 1123914"/>
                <a:gd name="connsiteX4" fmla="*/ 1123915 w 1123914"/>
                <a:gd name="connsiteY4" fmla="*/ 561957 h 112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14" h="1123914">
                  <a:moveTo>
                    <a:pt x="1123915" y="561957"/>
                  </a:moveTo>
                  <a:cubicBezTo>
                    <a:pt x="1123915" y="872318"/>
                    <a:pt x="872318" y="1123915"/>
                    <a:pt x="561957" y="1123915"/>
                  </a:cubicBezTo>
                  <a:cubicBezTo>
                    <a:pt x="251597" y="1123915"/>
                    <a:pt x="0" y="872318"/>
                    <a:pt x="0" y="561957"/>
                  </a:cubicBezTo>
                  <a:cubicBezTo>
                    <a:pt x="0" y="251597"/>
                    <a:pt x="251597" y="0"/>
                    <a:pt x="561957" y="0"/>
                  </a:cubicBezTo>
                  <a:cubicBezTo>
                    <a:pt x="872318" y="0"/>
                    <a:pt x="1123915" y="251597"/>
                    <a:pt x="1123915" y="561957"/>
                  </a:cubicBezTo>
                  <a:close/>
                </a:path>
              </a:pathLst>
            </a:custGeom>
            <a:solidFill>
              <a:srgbClr val="F2F2F2"/>
            </a:solidFill>
            <a:ln w="11941" cap="flat">
              <a:noFill/>
              <a:prstDash val="solid"/>
              <a:miter/>
            </a:ln>
          </p:spPr>
          <p:txBody>
            <a:bodyPr rtlCol="0" anchor="ctr"/>
            <a:lstStyle/>
            <a:p>
              <a:endParaRPr lang="en-US" dirty="0"/>
            </a:p>
          </p:txBody>
        </p:sp>
        <p:pic>
          <p:nvPicPr>
            <p:cNvPr id="103" name="Graphic 102" descr="Lightbulb and gear outline">
              <a:extLst>
                <a:ext uri="{FF2B5EF4-FFF2-40B4-BE49-F238E27FC236}">
                  <a16:creationId xmlns:a16="http://schemas.microsoft.com/office/drawing/2014/main" id="{C4C2DD9B-63C7-AF75-5EF8-EEA3BAC41F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48356" y="5269151"/>
              <a:ext cx="457200" cy="457200"/>
            </a:xfrm>
            <a:prstGeom prst="rect">
              <a:avLst/>
            </a:prstGeom>
          </p:spPr>
        </p:pic>
      </p:grpSp>
      <p:grpSp>
        <p:nvGrpSpPr>
          <p:cNvPr id="294" name="Group 293">
            <a:extLst>
              <a:ext uri="{FF2B5EF4-FFF2-40B4-BE49-F238E27FC236}">
                <a16:creationId xmlns:a16="http://schemas.microsoft.com/office/drawing/2014/main" id="{51C65632-0A81-E758-E342-A86049C6EA25}"/>
              </a:ext>
            </a:extLst>
          </p:cNvPr>
          <p:cNvGrpSpPr/>
          <p:nvPr/>
        </p:nvGrpSpPr>
        <p:grpSpPr>
          <a:xfrm>
            <a:off x="3595108" y="3833755"/>
            <a:ext cx="731520" cy="731520"/>
            <a:chOff x="2958469" y="3587105"/>
            <a:chExt cx="731520" cy="731520"/>
          </a:xfrm>
        </p:grpSpPr>
        <p:sp>
          <p:nvSpPr>
            <p:cNvPr id="33" name="Freeform: Shape 32">
              <a:extLst>
                <a:ext uri="{FF2B5EF4-FFF2-40B4-BE49-F238E27FC236}">
                  <a16:creationId xmlns:a16="http://schemas.microsoft.com/office/drawing/2014/main" id="{9E152560-02C5-CE0A-16B4-5D4B4816B0A3}"/>
                </a:ext>
              </a:extLst>
            </p:cNvPr>
            <p:cNvSpPr>
              <a:spLocks noChangeAspect="1"/>
            </p:cNvSpPr>
            <p:nvPr/>
          </p:nvSpPr>
          <p:spPr>
            <a:xfrm>
              <a:off x="2958469" y="3587105"/>
              <a:ext cx="731520" cy="731520"/>
            </a:xfrm>
            <a:custGeom>
              <a:avLst/>
              <a:gdLst>
                <a:gd name="connsiteX0" fmla="*/ 1123915 w 1123914"/>
                <a:gd name="connsiteY0" fmla="*/ 561957 h 1123914"/>
                <a:gd name="connsiteX1" fmla="*/ 561957 w 1123914"/>
                <a:gd name="connsiteY1" fmla="*/ 1123915 h 1123914"/>
                <a:gd name="connsiteX2" fmla="*/ 0 w 1123914"/>
                <a:gd name="connsiteY2" fmla="*/ 561957 h 1123914"/>
                <a:gd name="connsiteX3" fmla="*/ 561957 w 1123914"/>
                <a:gd name="connsiteY3" fmla="*/ 0 h 1123914"/>
                <a:gd name="connsiteX4" fmla="*/ 1123915 w 1123914"/>
                <a:gd name="connsiteY4" fmla="*/ 561957 h 112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14" h="1123914">
                  <a:moveTo>
                    <a:pt x="1123915" y="561957"/>
                  </a:moveTo>
                  <a:cubicBezTo>
                    <a:pt x="1123915" y="872318"/>
                    <a:pt x="872318" y="1123915"/>
                    <a:pt x="561957" y="1123915"/>
                  </a:cubicBezTo>
                  <a:cubicBezTo>
                    <a:pt x="251597" y="1123915"/>
                    <a:pt x="0" y="872318"/>
                    <a:pt x="0" y="561957"/>
                  </a:cubicBezTo>
                  <a:cubicBezTo>
                    <a:pt x="0" y="251597"/>
                    <a:pt x="251597" y="0"/>
                    <a:pt x="561957" y="0"/>
                  </a:cubicBezTo>
                  <a:cubicBezTo>
                    <a:pt x="872318" y="0"/>
                    <a:pt x="1123915" y="251597"/>
                    <a:pt x="1123915" y="561957"/>
                  </a:cubicBezTo>
                  <a:close/>
                </a:path>
              </a:pathLst>
            </a:custGeom>
            <a:solidFill>
              <a:srgbClr val="F2F2F2"/>
            </a:solidFill>
            <a:ln w="11941" cap="flat">
              <a:noFill/>
              <a:prstDash val="solid"/>
              <a:miter/>
            </a:ln>
          </p:spPr>
          <p:txBody>
            <a:bodyPr rtlCol="0" anchor="ctr"/>
            <a:lstStyle/>
            <a:p>
              <a:endParaRPr lang="en-US" dirty="0"/>
            </a:p>
          </p:txBody>
        </p:sp>
        <p:pic>
          <p:nvPicPr>
            <p:cNvPr id="107" name="Graphic 106" descr="Shield Tick outline">
              <a:extLst>
                <a:ext uri="{FF2B5EF4-FFF2-40B4-BE49-F238E27FC236}">
                  <a16:creationId xmlns:a16="http://schemas.microsoft.com/office/drawing/2014/main" id="{6E5D20D6-93AF-4177-267C-80812D9507E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89311" y="3717947"/>
              <a:ext cx="469836" cy="469836"/>
            </a:xfrm>
            <a:prstGeom prst="rect">
              <a:avLst/>
            </a:prstGeom>
          </p:spPr>
        </p:pic>
      </p:grpSp>
      <p:grpSp>
        <p:nvGrpSpPr>
          <p:cNvPr id="291" name="Group 290">
            <a:extLst>
              <a:ext uri="{FF2B5EF4-FFF2-40B4-BE49-F238E27FC236}">
                <a16:creationId xmlns:a16="http://schemas.microsoft.com/office/drawing/2014/main" id="{ABFB3DA1-1DB9-F902-5688-D196B38DDE58}"/>
              </a:ext>
            </a:extLst>
          </p:cNvPr>
          <p:cNvGrpSpPr/>
          <p:nvPr/>
        </p:nvGrpSpPr>
        <p:grpSpPr>
          <a:xfrm>
            <a:off x="4088281" y="5284349"/>
            <a:ext cx="731520" cy="731520"/>
            <a:chOff x="3728931" y="5131991"/>
            <a:chExt cx="731520" cy="731520"/>
          </a:xfrm>
        </p:grpSpPr>
        <p:sp>
          <p:nvSpPr>
            <p:cNvPr id="34" name="Freeform: Shape 33">
              <a:extLst>
                <a:ext uri="{FF2B5EF4-FFF2-40B4-BE49-F238E27FC236}">
                  <a16:creationId xmlns:a16="http://schemas.microsoft.com/office/drawing/2014/main" id="{7A9201C9-C098-A891-75CF-618FF4786D2D}"/>
                </a:ext>
              </a:extLst>
            </p:cNvPr>
            <p:cNvSpPr>
              <a:spLocks noChangeAspect="1"/>
            </p:cNvSpPr>
            <p:nvPr/>
          </p:nvSpPr>
          <p:spPr>
            <a:xfrm>
              <a:off x="3728931" y="5131991"/>
              <a:ext cx="731520" cy="731520"/>
            </a:xfrm>
            <a:custGeom>
              <a:avLst/>
              <a:gdLst>
                <a:gd name="connsiteX0" fmla="*/ 1123915 w 1123914"/>
                <a:gd name="connsiteY0" fmla="*/ 561957 h 1123914"/>
                <a:gd name="connsiteX1" fmla="*/ 561957 w 1123914"/>
                <a:gd name="connsiteY1" fmla="*/ 1123915 h 1123914"/>
                <a:gd name="connsiteX2" fmla="*/ 0 w 1123914"/>
                <a:gd name="connsiteY2" fmla="*/ 561957 h 1123914"/>
                <a:gd name="connsiteX3" fmla="*/ 561957 w 1123914"/>
                <a:gd name="connsiteY3" fmla="*/ 0 h 1123914"/>
                <a:gd name="connsiteX4" fmla="*/ 1123915 w 1123914"/>
                <a:gd name="connsiteY4" fmla="*/ 561957 h 112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14" h="1123914">
                  <a:moveTo>
                    <a:pt x="1123915" y="561957"/>
                  </a:moveTo>
                  <a:cubicBezTo>
                    <a:pt x="1123915" y="872318"/>
                    <a:pt x="872318" y="1123915"/>
                    <a:pt x="561957" y="1123915"/>
                  </a:cubicBezTo>
                  <a:cubicBezTo>
                    <a:pt x="251597" y="1123915"/>
                    <a:pt x="0" y="872318"/>
                    <a:pt x="0" y="561957"/>
                  </a:cubicBezTo>
                  <a:cubicBezTo>
                    <a:pt x="0" y="251597"/>
                    <a:pt x="251597" y="0"/>
                    <a:pt x="561957" y="0"/>
                  </a:cubicBezTo>
                  <a:cubicBezTo>
                    <a:pt x="872318" y="0"/>
                    <a:pt x="1123915" y="251597"/>
                    <a:pt x="1123915" y="561957"/>
                  </a:cubicBezTo>
                  <a:close/>
                </a:path>
              </a:pathLst>
            </a:custGeom>
            <a:solidFill>
              <a:srgbClr val="F2F2F2"/>
            </a:solidFill>
            <a:ln w="11941"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4691CDE2-EFC3-E79B-4F29-CDC790BAEC9B}"/>
                </a:ext>
              </a:extLst>
            </p:cNvPr>
            <p:cNvSpPr/>
            <p:nvPr/>
          </p:nvSpPr>
          <p:spPr>
            <a:xfrm>
              <a:off x="3852363" y="5255425"/>
              <a:ext cx="484657" cy="484653"/>
            </a:xfrm>
            <a:custGeom>
              <a:avLst/>
              <a:gdLst>
                <a:gd name="connsiteX0" fmla="*/ 1212214 w 2605843"/>
                <a:gd name="connsiteY0" fmla="*/ 32 h 2605823"/>
                <a:gd name="connsiteX1" fmla="*/ 153108 w 2605843"/>
                <a:gd name="connsiteY1" fmla="*/ 1116383 h 2605823"/>
                <a:gd name="connsiteX2" fmla="*/ 58463 w 2605843"/>
                <a:gd name="connsiteY2" fmla="*/ 925102 h 2605823"/>
                <a:gd name="connsiteX3" fmla="*/ 28175 w 2605843"/>
                <a:gd name="connsiteY3" fmla="*/ 908066 h 2605823"/>
                <a:gd name="connsiteX4" fmla="*/ 3784 w 2605843"/>
                <a:gd name="connsiteY4" fmla="*/ 923622 h 2605823"/>
                <a:gd name="connsiteX5" fmla="*/ 3573 w 2605843"/>
                <a:gd name="connsiteY5" fmla="*/ 952557 h 2605823"/>
                <a:gd name="connsiteX6" fmla="*/ 155010 w 2605843"/>
                <a:gd name="connsiteY6" fmla="*/ 1255561 h 2605823"/>
                <a:gd name="connsiteX7" fmla="*/ 154989 w 2605843"/>
                <a:gd name="connsiteY7" fmla="*/ 1255561 h 2605823"/>
                <a:gd name="connsiteX8" fmla="*/ 179253 w 2605843"/>
                <a:gd name="connsiteY8" fmla="*/ 1272089 h 2605823"/>
                <a:gd name="connsiteX9" fmla="*/ 206116 w 2605843"/>
                <a:gd name="connsiteY9" fmla="*/ 1260295 h 2605823"/>
                <a:gd name="connsiteX10" fmla="*/ 418132 w 2605843"/>
                <a:gd name="connsiteY10" fmla="*/ 987603 h 2605823"/>
                <a:gd name="connsiteX11" fmla="*/ 418111 w 2605843"/>
                <a:gd name="connsiteY11" fmla="*/ 987603 h 2605823"/>
                <a:gd name="connsiteX12" fmla="*/ 427242 w 2605843"/>
                <a:gd name="connsiteY12" fmla="*/ 964227 h 2605823"/>
                <a:gd name="connsiteX13" fmla="*/ 415617 w 2605843"/>
                <a:gd name="connsiteY13" fmla="*/ 941992 h 2605823"/>
                <a:gd name="connsiteX14" fmla="*/ 391226 w 2605843"/>
                <a:gd name="connsiteY14" fmla="*/ 936137 h 2605823"/>
                <a:gd name="connsiteX15" fmla="*/ 370788 w 2605843"/>
                <a:gd name="connsiteY15" fmla="*/ 950679 h 2605823"/>
                <a:gd name="connsiteX16" fmla="*/ 212734 w 2605843"/>
                <a:gd name="connsiteY16" fmla="*/ 1153307 h 2605823"/>
                <a:gd name="connsiteX17" fmla="*/ 1212213 w 2605843"/>
                <a:gd name="connsiteY17" fmla="*/ 60601 h 2605823"/>
                <a:gd name="connsiteX18" fmla="*/ 1233919 w 2605843"/>
                <a:gd name="connsiteY18" fmla="*/ 51871 h 2605823"/>
                <a:gd name="connsiteX19" fmla="*/ 1242944 w 2605843"/>
                <a:gd name="connsiteY19" fmla="*/ 30292 h 2605823"/>
                <a:gd name="connsiteX20" fmla="*/ 1233919 w 2605843"/>
                <a:gd name="connsiteY20" fmla="*/ 8712 h 2605823"/>
                <a:gd name="connsiteX21" fmla="*/ 1212213 w 2605843"/>
                <a:gd name="connsiteY21" fmla="*/ 4 h 2605823"/>
                <a:gd name="connsiteX22" fmla="*/ 1145953 w 2605843"/>
                <a:gd name="connsiteY22" fmla="*/ 484848 h 2605823"/>
                <a:gd name="connsiteX23" fmla="*/ 1145974 w 2605843"/>
                <a:gd name="connsiteY23" fmla="*/ 484827 h 2605823"/>
                <a:gd name="connsiteX24" fmla="*/ 1121351 w 2605843"/>
                <a:gd name="connsiteY24" fmla="*/ 515136 h 2605823"/>
                <a:gd name="connsiteX25" fmla="*/ 1121351 w 2605843"/>
                <a:gd name="connsiteY25" fmla="*/ 673277 h 2605823"/>
                <a:gd name="connsiteX26" fmla="*/ 977478 w 2605843"/>
                <a:gd name="connsiteY26" fmla="*/ 721572 h 2605823"/>
                <a:gd name="connsiteX27" fmla="*/ 870529 w 2605843"/>
                <a:gd name="connsiteY27" fmla="*/ 614585 h 2605823"/>
                <a:gd name="connsiteX28" fmla="*/ 870529 w 2605843"/>
                <a:gd name="connsiteY28" fmla="*/ 614564 h 2605823"/>
                <a:gd name="connsiteX29" fmla="*/ 848780 w 2605843"/>
                <a:gd name="connsiteY29" fmla="*/ 605328 h 2605823"/>
                <a:gd name="connsiteX30" fmla="*/ 827011 w 2605843"/>
                <a:gd name="connsiteY30" fmla="*/ 614564 h 2605823"/>
                <a:gd name="connsiteX31" fmla="*/ 614995 w 2605843"/>
                <a:gd name="connsiteY31" fmla="*/ 826661 h 2605823"/>
                <a:gd name="connsiteX32" fmla="*/ 613093 w 2605843"/>
                <a:gd name="connsiteY32" fmla="*/ 867369 h 2605823"/>
                <a:gd name="connsiteX33" fmla="*/ 723824 w 2605843"/>
                <a:gd name="connsiteY33" fmla="*/ 1005619 h 2605823"/>
                <a:gd name="connsiteX34" fmla="*/ 677452 w 2605843"/>
                <a:gd name="connsiteY34" fmla="*/ 1121150 h 2605823"/>
                <a:gd name="connsiteX35" fmla="*/ 515616 w 2605843"/>
                <a:gd name="connsiteY35" fmla="*/ 1121150 h 2605823"/>
                <a:gd name="connsiteX36" fmla="*/ 485328 w 2605843"/>
                <a:gd name="connsiteY36" fmla="*/ 1151438 h 2605823"/>
                <a:gd name="connsiteX37" fmla="*/ 485328 w 2605843"/>
                <a:gd name="connsiteY37" fmla="*/ 1454442 h 2605823"/>
                <a:gd name="connsiteX38" fmla="*/ 515616 w 2605843"/>
                <a:gd name="connsiteY38" fmla="*/ 1484751 h 2605823"/>
                <a:gd name="connsiteX39" fmla="*/ 673670 w 2605843"/>
                <a:gd name="connsiteY39" fmla="*/ 1484751 h 2605823"/>
                <a:gd name="connsiteX40" fmla="*/ 722896 w 2605843"/>
                <a:gd name="connsiteY40" fmla="*/ 1627736 h 2605823"/>
                <a:gd name="connsiteX41" fmla="*/ 614999 w 2605843"/>
                <a:gd name="connsiteY41" fmla="*/ 1735676 h 2605823"/>
                <a:gd name="connsiteX42" fmla="*/ 614999 w 2605843"/>
                <a:gd name="connsiteY42" fmla="*/ 1778285 h 2605823"/>
                <a:gd name="connsiteX43" fmla="*/ 827015 w 2605843"/>
                <a:gd name="connsiteY43" fmla="*/ 1990382 h 2605823"/>
                <a:gd name="connsiteX44" fmla="*/ 848785 w 2605843"/>
                <a:gd name="connsiteY44" fmla="*/ 1999619 h 2605823"/>
                <a:gd name="connsiteX45" fmla="*/ 870555 w 2605843"/>
                <a:gd name="connsiteY45" fmla="*/ 1990382 h 2605823"/>
                <a:gd name="connsiteX46" fmla="*/ 977504 w 2605843"/>
                <a:gd name="connsiteY46" fmla="*/ 1883395 h 2605823"/>
                <a:gd name="connsiteX47" fmla="*/ 1121377 w 2605843"/>
                <a:gd name="connsiteY47" fmla="*/ 1932642 h 2605823"/>
                <a:gd name="connsiteX48" fmla="*/ 1121377 w 2605843"/>
                <a:gd name="connsiteY48" fmla="*/ 2090783 h 2605823"/>
                <a:gd name="connsiteX49" fmla="*/ 1121356 w 2605843"/>
                <a:gd name="connsiteY49" fmla="*/ 2090761 h 2605823"/>
                <a:gd name="connsiteX50" fmla="*/ 1151644 w 2605843"/>
                <a:gd name="connsiteY50" fmla="*/ 2121070 h 2605823"/>
                <a:gd name="connsiteX51" fmla="*/ 1454523 w 2605843"/>
                <a:gd name="connsiteY51" fmla="*/ 2121070 h 2605823"/>
                <a:gd name="connsiteX52" fmla="*/ 1484811 w 2605843"/>
                <a:gd name="connsiteY52" fmla="*/ 2090761 h 2605823"/>
                <a:gd name="connsiteX53" fmla="*/ 1484811 w 2605843"/>
                <a:gd name="connsiteY53" fmla="*/ 1932621 h 2605823"/>
                <a:gd name="connsiteX54" fmla="*/ 1628683 w 2605843"/>
                <a:gd name="connsiteY54" fmla="*/ 1883374 h 2605823"/>
                <a:gd name="connsiteX55" fmla="*/ 1735632 w 2605843"/>
                <a:gd name="connsiteY55" fmla="*/ 1990361 h 2605823"/>
                <a:gd name="connsiteX56" fmla="*/ 1735632 w 2605843"/>
                <a:gd name="connsiteY56" fmla="*/ 1990382 h 2605823"/>
                <a:gd name="connsiteX57" fmla="*/ 1757402 w 2605843"/>
                <a:gd name="connsiteY57" fmla="*/ 1999619 h 2605823"/>
                <a:gd name="connsiteX58" fmla="*/ 1779172 w 2605843"/>
                <a:gd name="connsiteY58" fmla="*/ 1990382 h 2605823"/>
                <a:gd name="connsiteX59" fmla="*/ 1991188 w 2605843"/>
                <a:gd name="connsiteY59" fmla="*/ 1778285 h 2605823"/>
                <a:gd name="connsiteX60" fmla="*/ 1991188 w 2605843"/>
                <a:gd name="connsiteY60" fmla="*/ 1735675 h 2605823"/>
                <a:gd name="connsiteX61" fmla="*/ 1883291 w 2605843"/>
                <a:gd name="connsiteY61" fmla="*/ 1627736 h 2605823"/>
                <a:gd name="connsiteX62" fmla="*/ 1932517 w 2605843"/>
                <a:gd name="connsiteY62" fmla="*/ 1484751 h 2605823"/>
                <a:gd name="connsiteX63" fmla="*/ 2090571 w 2605843"/>
                <a:gd name="connsiteY63" fmla="*/ 1484751 h 2605823"/>
                <a:gd name="connsiteX64" fmla="*/ 2120859 w 2605843"/>
                <a:gd name="connsiteY64" fmla="*/ 1454442 h 2605823"/>
                <a:gd name="connsiteX65" fmla="*/ 2120859 w 2605843"/>
                <a:gd name="connsiteY65" fmla="*/ 1151438 h 2605823"/>
                <a:gd name="connsiteX66" fmla="*/ 2090571 w 2605843"/>
                <a:gd name="connsiteY66" fmla="*/ 1121150 h 2605823"/>
                <a:gd name="connsiteX67" fmla="*/ 1928735 w 2605843"/>
                <a:gd name="connsiteY67" fmla="*/ 1121150 h 2605823"/>
                <a:gd name="connsiteX68" fmla="*/ 1882363 w 2605843"/>
                <a:gd name="connsiteY68" fmla="*/ 1005619 h 2605823"/>
                <a:gd name="connsiteX69" fmla="*/ 1993095 w 2605843"/>
                <a:gd name="connsiteY69" fmla="*/ 867369 h 2605823"/>
                <a:gd name="connsiteX70" fmla="*/ 1993073 w 2605843"/>
                <a:gd name="connsiteY70" fmla="*/ 867369 h 2605823"/>
                <a:gd name="connsiteX71" fmla="*/ 1991192 w 2605843"/>
                <a:gd name="connsiteY71" fmla="*/ 826661 h 2605823"/>
                <a:gd name="connsiteX72" fmla="*/ 1779176 w 2605843"/>
                <a:gd name="connsiteY72" fmla="*/ 614564 h 2605823"/>
                <a:gd name="connsiteX73" fmla="*/ 1757407 w 2605843"/>
                <a:gd name="connsiteY73" fmla="*/ 605328 h 2605823"/>
                <a:gd name="connsiteX74" fmla="*/ 1735637 w 2605843"/>
                <a:gd name="connsiteY74" fmla="*/ 614564 h 2605823"/>
                <a:gd name="connsiteX75" fmla="*/ 1628688 w 2605843"/>
                <a:gd name="connsiteY75" fmla="*/ 721551 h 2605823"/>
                <a:gd name="connsiteX76" fmla="*/ 1484815 w 2605843"/>
                <a:gd name="connsiteY76" fmla="*/ 673256 h 2605823"/>
                <a:gd name="connsiteX77" fmla="*/ 1484815 w 2605843"/>
                <a:gd name="connsiteY77" fmla="*/ 515115 h 2605823"/>
                <a:gd name="connsiteX78" fmla="*/ 1484815 w 2605843"/>
                <a:gd name="connsiteY78" fmla="*/ 515136 h 2605823"/>
                <a:gd name="connsiteX79" fmla="*/ 1454527 w 2605843"/>
                <a:gd name="connsiteY79" fmla="*/ 484827 h 2605823"/>
                <a:gd name="connsiteX80" fmla="*/ 1151648 w 2605843"/>
                <a:gd name="connsiteY80" fmla="*/ 484827 h 2605823"/>
                <a:gd name="connsiteX81" fmla="*/ 1145983 w 2605843"/>
                <a:gd name="connsiteY81" fmla="*/ 484827 h 2605823"/>
                <a:gd name="connsiteX82" fmla="*/ 1181926 w 2605843"/>
                <a:gd name="connsiteY82" fmla="*/ 545444 h 2605823"/>
                <a:gd name="connsiteX83" fmla="*/ 1424226 w 2605843"/>
                <a:gd name="connsiteY83" fmla="*/ 545444 h 2605823"/>
                <a:gd name="connsiteX84" fmla="*/ 1424226 w 2605843"/>
                <a:gd name="connsiteY84" fmla="*/ 696945 h 2605823"/>
                <a:gd name="connsiteX85" fmla="*/ 1424226 w 2605843"/>
                <a:gd name="connsiteY85" fmla="*/ 696924 h 2605823"/>
                <a:gd name="connsiteX86" fmla="*/ 1446947 w 2605843"/>
                <a:gd name="connsiteY86" fmla="*/ 726282 h 2605823"/>
                <a:gd name="connsiteX87" fmla="*/ 1621109 w 2605843"/>
                <a:gd name="connsiteY87" fmla="*/ 783095 h 2605823"/>
                <a:gd name="connsiteX88" fmla="*/ 1621088 w 2605843"/>
                <a:gd name="connsiteY88" fmla="*/ 783095 h 2605823"/>
                <a:gd name="connsiteX89" fmla="*/ 1658013 w 2605843"/>
                <a:gd name="connsiteY89" fmla="*/ 778361 h 2605823"/>
                <a:gd name="connsiteX90" fmla="*/ 1757392 w 2605843"/>
                <a:gd name="connsiteY90" fmla="*/ 678938 h 2605823"/>
                <a:gd name="connsiteX91" fmla="*/ 1928697 w 2605843"/>
                <a:gd name="connsiteY91" fmla="*/ 850330 h 2605823"/>
                <a:gd name="connsiteX92" fmla="*/ 1824583 w 2605843"/>
                <a:gd name="connsiteY92" fmla="*/ 980989 h 2605823"/>
                <a:gd name="connsiteX93" fmla="*/ 1822702 w 2605843"/>
                <a:gd name="connsiteY93" fmla="*/ 1015081 h 2605823"/>
                <a:gd name="connsiteX94" fmla="*/ 1879494 w 2605843"/>
                <a:gd name="connsiteY94" fmla="*/ 1158066 h 2605823"/>
                <a:gd name="connsiteX95" fmla="*/ 1908830 w 2605843"/>
                <a:gd name="connsiteY95" fmla="*/ 1181738 h 2605823"/>
                <a:gd name="connsiteX96" fmla="*/ 2060267 w 2605843"/>
                <a:gd name="connsiteY96" fmla="*/ 1181738 h 2605823"/>
                <a:gd name="connsiteX97" fmla="*/ 2060267 w 2605843"/>
                <a:gd name="connsiteY97" fmla="*/ 1424147 h 2605823"/>
                <a:gd name="connsiteX98" fmla="*/ 1908830 w 2605843"/>
                <a:gd name="connsiteY98" fmla="*/ 1424147 h 2605823"/>
                <a:gd name="connsiteX99" fmla="*/ 1879494 w 2605843"/>
                <a:gd name="connsiteY99" fmla="*/ 1446868 h 2605823"/>
                <a:gd name="connsiteX100" fmla="*/ 1822702 w 2605843"/>
                <a:gd name="connsiteY100" fmla="*/ 1620137 h 2605823"/>
                <a:gd name="connsiteX101" fmla="*/ 1826485 w 2605843"/>
                <a:gd name="connsiteY101" fmla="*/ 1657082 h 2605823"/>
                <a:gd name="connsiteX102" fmla="*/ 1925865 w 2605843"/>
                <a:gd name="connsiteY102" fmla="*/ 1757458 h 2605823"/>
                <a:gd name="connsiteX103" fmla="*/ 1757390 w 2605843"/>
                <a:gd name="connsiteY103" fmla="*/ 1925993 h 2605823"/>
                <a:gd name="connsiteX104" fmla="*/ 1658010 w 2605843"/>
                <a:gd name="connsiteY104" fmla="*/ 1826570 h 2605823"/>
                <a:gd name="connsiteX105" fmla="*/ 1621086 w 2605843"/>
                <a:gd name="connsiteY105" fmla="*/ 1821835 h 2605823"/>
                <a:gd name="connsiteX106" fmla="*/ 1446924 w 2605843"/>
                <a:gd name="connsiteY106" fmla="*/ 1879601 h 2605823"/>
                <a:gd name="connsiteX107" fmla="*/ 1446945 w 2605843"/>
                <a:gd name="connsiteY107" fmla="*/ 1879601 h 2605823"/>
                <a:gd name="connsiteX108" fmla="*/ 1424224 w 2605843"/>
                <a:gd name="connsiteY108" fmla="*/ 1908937 h 2605823"/>
                <a:gd name="connsiteX109" fmla="*/ 1424224 w 2605843"/>
                <a:gd name="connsiteY109" fmla="*/ 2060439 h 2605823"/>
                <a:gd name="connsiteX110" fmla="*/ 1181924 w 2605843"/>
                <a:gd name="connsiteY110" fmla="*/ 2060439 h 2605823"/>
                <a:gd name="connsiteX111" fmla="*/ 1181924 w 2605843"/>
                <a:gd name="connsiteY111" fmla="*/ 1908937 h 2605823"/>
                <a:gd name="connsiteX112" fmla="*/ 1159224 w 2605843"/>
                <a:gd name="connsiteY112" fmla="*/ 1879601 h 2605823"/>
                <a:gd name="connsiteX113" fmla="*/ 985062 w 2605843"/>
                <a:gd name="connsiteY113" fmla="*/ 1821835 h 2605823"/>
                <a:gd name="connsiteX114" fmla="*/ 948159 w 2605843"/>
                <a:gd name="connsiteY114" fmla="*/ 1826570 h 2605823"/>
                <a:gd name="connsiteX115" fmla="*/ 848779 w 2605843"/>
                <a:gd name="connsiteY115" fmla="*/ 1925993 h 2605823"/>
                <a:gd name="connsiteX116" fmla="*/ 680304 w 2605843"/>
                <a:gd name="connsiteY116" fmla="*/ 1757458 h 2605823"/>
                <a:gd name="connsiteX117" fmla="*/ 779684 w 2605843"/>
                <a:gd name="connsiteY117" fmla="*/ 1657082 h 2605823"/>
                <a:gd name="connsiteX118" fmla="*/ 783467 w 2605843"/>
                <a:gd name="connsiteY118" fmla="*/ 1620137 h 2605823"/>
                <a:gd name="connsiteX119" fmla="*/ 726675 w 2605843"/>
                <a:gd name="connsiteY119" fmla="*/ 1446868 h 2605823"/>
                <a:gd name="connsiteX120" fmla="*/ 697339 w 2605843"/>
                <a:gd name="connsiteY120" fmla="*/ 1424147 h 2605823"/>
                <a:gd name="connsiteX121" fmla="*/ 545902 w 2605843"/>
                <a:gd name="connsiteY121" fmla="*/ 1424147 h 2605823"/>
                <a:gd name="connsiteX122" fmla="*/ 545902 w 2605843"/>
                <a:gd name="connsiteY122" fmla="*/ 1181738 h 2605823"/>
                <a:gd name="connsiteX123" fmla="*/ 697339 w 2605843"/>
                <a:gd name="connsiteY123" fmla="*/ 1181738 h 2605823"/>
                <a:gd name="connsiteX124" fmla="*/ 726675 w 2605843"/>
                <a:gd name="connsiteY124" fmla="*/ 1158066 h 2605823"/>
                <a:gd name="connsiteX125" fmla="*/ 783467 w 2605843"/>
                <a:gd name="connsiteY125" fmla="*/ 1015081 h 2605823"/>
                <a:gd name="connsiteX126" fmla="*/ 781565 w 2605843"/>
                <a:gd name="connsiteY126" fmla="*/ 980989 h 2605823"/>
                <a:gd name="connsiteX127" fmla="*/ 677450 w 2605843"/>
                <a:gd name="connsiteY127" fmla="*/ 850330 h 2605823"/>
                <a:gd name="connsiteX128" fmla="*/ 848756 w 2605843"/>
                <a:gd name="connsiteY128" fmla="*/ 678938 h 2605823"/>
                <a:gd name="connsiteX129" fmla="*/ 948135 w 2605843"/>
                <a:gd name="connsiteY129" fmla="*/ 778361 h 2605823"/>
                <a:gd name="connsiteX130" fmla="*/ 985060 w 2605843"/>
                <a:gd name="connsiteY130" fmla="*/ 783095 h 2605823"/>
                <a:gd name="connsiteX131" fmla="*/ 1159222 w 2605843"/>
                <a:gd name="connsiteY131" fmla="*/ 726282 h 2605823"/>
                <a:gd name="connsiteX132" fmla="*/ 1181922 w 2605843"/>
                <a:gd name="connsiteY132" fmla="*/ 696924 h 2605823"/>
                <a:gd name="connsiteX133" fmla="*/ 1181922 w 2605843"/>
                <a:gd name="connsiteY133" fmla="*/ 545422 h 2605823"/>
                <a:gd name="connsiteX134" fmla="*/ 1303079 w 2605843"/>
                <a:gd name="connsiteY134" fmla="*/ 969638 h 2605823"/>
                <a:gd name="connsiteX135" fmla="*/ 969916 w 2605843"/>
                <a:gd name="connsiteY135" fmla="*/ 1302952 h 2605823"/>
                <a:gd name="connsiteX136" fmla="*/ 1303079 w 2605843"/>
                <a:gd name="connsiteY136" fmla="*/ 1636267 h 2605823"/>
                <a:gd name="connsiteX137" fmla="*/ 1636242 w 2605843"/>
                <a:gd name="connsiteY137" fmla="*/ 1302952 h 2605823"/>
                <a:gd name="connsiteX138" fmla="*/ 1303079 w 2605843"/>
                <a:gd name="connsiteY138" fmla="*/ 969638 h 2605823"/>
                <a:gd name="connsiteX139" fmla="*/ 1303079 w 2605843"/>
                <a:gd name="connsiteY139" fmla="*/ 1030233 h 2605823"/>
                <a:gd name="connsiteX140" fmla="*/ 1575669 w 2605843"/>
                <a:gd name="connsiteY140" fmla="*/ 1302925 h 2605823"/>
                <a:gd name="connsiteX141" fmla="*/ 1303079 w 2605843"/>
                <a:gd name="connsiteY141" fmla="*/ 1575618 h 2605823"/>
                <a:gd name="connsiteX142" fmla="*/ 1030490 w 2605843"/>
                <a:gd name="connsiteY142" fmla="*/ 1302925 h 2605823"/>
                <a:gd name="connsiteX143" fmla="*/ 1303079 w 2605843"/>
                <a:gd name="connsiteY143" fmla="*/ 1030233 h 2605823"/>
                <a:gd name="connsiteX144" fmla="*/ 2418024 w 2605843"/>
                <a:gd name="connsiteY144" fmla="*/ 1333237 h 2605823"/>
                <a:gd name="connsiteX145" fmla="*/ 2418045 w 2605843"/>
                <a:gd name="connsiteY145" fmla="*/ 1333237 h 2605823"/>
                <a:gd name="connsiteX146" fmla="*/ 2400059 w 2605843"/>
                <a:gd name="connsiteY146" fmla="*/ 1344608 h 2605823"/>
                <a:gd name="connsiteX147" fmla="*/ 2188043 w 2605843"/>
                <a:gd name="connsiteY147" fmla="*/ 1617300 h 2605823"/>
                <a:gd name="connsiteX148" fmla="*/ 2178933 w 2605843"/>
                <a:gd name="connsiteY148" fmla="*/ 1640676 h 2605823"/>
                <a:gd name="connsiteX149" fmla="*/ 2190537 w 2605843"/>
                <a:gd name="connsiteY149" fmla="*/ 1662911 h 2605823"/>
                <a:gd name="connsiteX150" fmla="*/ 2214927 w 2605843"/>
                <a:gd name="connsiteY150" fmla="*/ 1668766 h 2605823"/>
                <a:gd name="connsiteX151" fmla="*/ 2235365 w 2605843"/>
                <a:gd name="connsiteY151" fmla="*/ 1654224 h 2605823"/>
                <a:gd name="connsiteX152" fmla="*/ 2393420 w 2605843"/>
                <a:gd name="connsiteY152" fmla="*/ 1451596 h 2605823"/>
                <a:gd name="connsiteX153" fmla="*/ 1393941 w 2605843"/>
                <a:gd name="connsiteY153" fmla="*/ 2545223 h 2605823"/>
                <a:gd name="connsiteX154" fmla="*/ 1372255 w 2605843"/>
                <a:gd name="connsiteY154" fmla="*/ 2553952 h 2605823"/>
                <a:gd name="connsiteX155" fmla="*/ 1363230 w 2605843"/>
                <a:gd name="connsiteY155" fmla="*/ 2575531 h 2605823"/>
                <a:gd name="connsiteX156" fmla="*/ 1372255 w 2605843"/>
                <a:gd name="connsiteY156" fmla="*/ 2597112 h 2605823"/>
                <a:gd name="connsiteX157" fmla="*/ 1393941 w 2605843"/>
                <a:gd name="connsiteY157" fmla="*/ 2605819 h 2605823"/>
                <a:gd name="connsiteX158" fmla="*/ 2453046 w 2605843"/>
                <a:gd name="connsiteY158" fmla="*/ 1489468 h 2605823"/>
                <a:gd name="connsiteX159" fmla="*/ 2547691 w 2605843"/>
                <a:gd name="connsiteY159" fmla="*/ 1679797 h 2605823"/>
                <a:gd name="connsiteX160" fmla="*/ 2547713 w 2605843"/>
                <a:gd name="connsiteY160" fmla="*/ 1679797 h 2605823"/>
                <a:gd name="connsiteX161" fmla="*/ 2588864 w 2605843"/>
                <a:gd name="connsiteY161" fmla="*/ 1693515 h 2605823"/>
                <a:gd name="connsiteX162" fmla="*/ 2602603 w 2605843"/>
                <a:gd name="connsiteY162" fmla="*/ 1652342 h 2605823"/>
                <a:gd name="connsiteX163" fmla="*/ 2451166 w 2605843"/>
                <a:gd name="connsiteY163" fmla="*/ 1349338 h 2605823"/>
                <a:gd name="connsiteX164" fmla="*/ 2418046 w 2605843"/>
                <a:gd name="connsiteY164" fmla="*/ 1333233 h 26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605843" h="2605823">
                  <a:moveTo>
                    <a:pt x="1212214" y="32"/>
                  </a:moveTo>
                  <a:cubicBezTo>
                    <a:pt x="645002" y="32"/>
                    <a:pt x="183517" y="496005"/>
                    <a:pt x="153108" y="1116383"/>
                  </a:cubicBezTo>
                  <a:lnTo>
                    <a:pt x="58463" y="925102"/>
                  </a:lnTo>
                  <a:cubicBezTo>
                    <a:pt x="52947" y="913625"/>
                    <a:pt x="40836" y="906819"/>
                    <a:pt x="28175" y="908066"/>
                  </a:cubicBezTo>
                  <a:cubicBezTo>
                    <a:pt x="17924" y="908785"/>
                    <a:pt x="8751" y="914639"/>
                    <a:pt x="3784" y="923622"/>
                  </a:cubicBezTo>
                  <a:cubicBezTo>
                    <a:pt x="-1183" y="932605"/>
                    <a:pt x="-1267" y="943511"/>
                    <a:pt x="3573" y="952557"/>
                  </a:cubicBezTo>
                  <a:lnTo>
                    <a:pt x="155010" y="1255561"/>
                  </a:lnTo>
                  <a:lnTo>
                    <a:pt x="154989" y="1255561"/>
                  </a:lnTo>
                  <a:cubicBezTo>
                    <a:pt x="159702" y="1264882"/>
                    <a:pt x="168854" y="1271117"/>
                    <a:pt x="179253" y="1272089"/>
                  </a:cubicBezTo>
                  <a:cubicBezTo>
                    <a:pt x="189630" y="1273040"/>
                    <a:pt x="199776" y="1268602"/>
                    <a:pt x="206116" y="1260295"/>
                  </a:cubicBezTo>
                  <a:lnTo>
                    <a:pt x="418132" y="987603"/>
                  </a:lnTo>
                  <a:lnTo>
                    <a:pt x="418111" y="987603"/>
                  </a:lnTo>
                  <a:cubicBezTo>
                    <a:pt x="424388" y="981495"/>
                    <a:pt x="427706" y="972977"/>
                    <a:pt x="427242" y="964227"/>
                  </a:cubicBezTo>
                  <a:cubicBezTo>
                    <a:pt x="426755" y="955498"/>
                    <a:pt x="422528" y="947382"/>
                    <a:pt x="415617" y="941992"/>
                  </a:cubicBezTo>
                  <a:cubicBezTo>
                    <a:pt x="408727" y="936602"/>
                    <a:pt x="399828" y="934468"/>
                    <a:pt x="391226" y="936137"/>
                  </a:cubicBezTo>
                  <a:cubicBezTo>
                    <a:pt x="382645" y="937807"/>
                    <a:pt x="375184" y="943112"/>
                    <a:pt x="370788" y="950679"/>
                  </a:cubicBezTo>
                  <a:lnTo>
                    <a:pt x="212734" y="1153307"/>
                  </a:lnTo>
                  <a:cubicBezTo>
                    <a:pt x="226240" y="545352"/>
                    <a:pt x="670242" y="60601"/>
                    <a:pt x="1212213" y="60601"/>
                  </a:cubicBezTo>
                  <a:cubicBezTo>
                    <a:pt x="1220329" y="60706"/>
                    <a:pt x="1228149" y="57578"/>
                    <a:pt x="1233919" y="51871"/>
                  </a:cubicBezTo>
                  <a:cubicBezTo>
                    <a:pt x="1239689" y="46186"/>
                    <a:pt x="1242944" y="38408"/>
                    <a:pt x="1242944" y="30292"/>
                  </a:cubicBezTo>
                  <a:cubicBezTo>
                    <a:pt x="1242944" y="22175"/>
                    <a:pt x="1239690" y="14419"/>
                    <a:pt x="1233919" y="8712"/>
                  </a:cubicBezTo>
                  <a:cubicBezTo>
                    <a:pt x="1228149" y="3026"/>
                    <a:pt x="1220329" y="-123"/>
                    <a:pt x="1212213" y="4"/>
                  </a:cubicBezTo>
                  <a:close/>
                  <a:moveTo>
                    <a:pt x="1145953" y="484848"/>
                  </a:moveTo>
                  <a:lnTo>
                    <a:pt x="1145974" y="484827"/>
                  </a:lnTo>
                  <a:cubicBezTo>
                    <a:pt x="1131496" y="487596"/>
                    <a:pt x="1121097" y="500383"/>
                    <a:pt x="1121351" y="515136"/>
                  </a:cubicBezTo>
                  <a:lnTo>
                    <a:pt x="1121351" y="673277"/>
                  </a:lnTo>
                  <a:cubicBezTo>
                    <a:pt x="1074239" y="684606"/>
                    <a:pt x="1024168" y="698428"/>
                    <a:pt x="977478" y="721572"/>
                  </a:cubicBezTo>
                  <a:lnTo>
                    <a:pt x="870529" y="614585"/>
                  </a:lnTo>
                  <a:lnTo>
                    <a:pt x="870529" y="614564"/>
                  </a:lnTo>
                  <a:cubicBezTo>
                    <a:pt x="864843" y="608667"/>
                    <a:pt x="856981" y="605328"/>
                    <a:pt x="848780" y="605328"/>
                  </a:cubicBezTo>
                  <a:cubicBezTo>
                    <a:pt x="840559" y="605328"/>
                    <a:pt x="832717" y="608667"/>
                    <a:pt x="827011" y="614564"/>
                  </a:cubicBezTo>
                  <a:lnTo>
                    <a:pt x="614995" y="826661"/>
                  </a:lnTo>
                  <a:cubicBezTo>
                    <a:pt x="603962" y="837715"/>
                    <a:pt x="603138" y="855343"/>
                    <a:pt x="613093" y="867369"/>
                  </a:cubicBezTo>
                  <a:lnTo>
                    <a:pt x="723824" y="1005619"/>
                  </a:lnTo>
                  <a:cubicBezTo>
                    <a:pt x="703365" y="1043051"/>
                    <a:pt x="688908" y="1079893"/>
                    <a:pt x="677452" y="1121150"/>
                  </a:cubicBezTo>
                  <a:lnTo>
                    <a:pt x="515616" y="1121150"/>
                  </a:lnTo>
                  <a:cubicBezTo>
                    <a:pt x="498876" y="1121150"/>
                    <a:pt x="485328" y="1134719"/>
                    <a:pt x="485328" y="1151438"/>
                  </a:cubicBezTo>
                  <a:lnTo>
                    <a:pt x="485328" y="1454442"/>
                  </a:lnTo>
                  <a:cubicBezTo>
                    <a:pt x="485328" y="1471182"/>
                    <a:pt x="498876" y="1484751"/>
                    <a:pt x="515616" y="1484751"/>
                  </a:cubicBezTo>
                  <a:lnTo>
                    <a:pt x="673670" y="1484751"/>
                  </a:lnTo>
                  <a:cubicBezTo>
                    <a:pt x="684893" y="1531461"/>
                    <a:pt x="700111" y="1581425"/>
                    <a:pt x="722896" y="1627736"/>
                  </a:cubicBezTo>
                  <a:lnTo>
                    <a:pt x="614999" y="1735676"/>
                  </a:lnTo>
                  <a:cubicBezTo>
                    <a:pt x="603333" y="1747490"/>
                    <a:pt x="603333" y="1766470"/>
                    <a:pt x="614999" y="1778285"/>
                  </a:cubicBezTo>
                  <a:lnTo>
                    <a:pt x="827015" y="1990382"/>
                  </a:lnTo>
                  <a:cubicBezTo>
                    <a:pt x="832722" y="1996279"/>
                    <a:pt x="840563" y="1999619"/>
                    <a:pt x="848785" y="1999619"/>
                  </a:cubicBezTo>
                  <a:cubicBezTo>
                    <a:pt x="856986" y="1999619"/>
                    <a:pt x="864849" y="1996279"/>
                    <a:pt x="870555" y="1990382"/>
                  </a:cubicBezTo>
                  <a:lnTo>
                    <a:pt x="977504" y="1883395"/>
                  </a:lnTo>
                  <a:cubicBezTo>
                    <a:pt x="1024193" y="1906539"/>
                    <a:pt x="1074244" y="1921292"/>
                    <a:pt x="1121377" y="1932642"/>
                  </a:cubicBezTo>
                  <a:lnTo>
                    <a:pt x="1121377" y="2090783"/>
                  </a:lnTo>
                  <a:lnTo>
                    <a:pt x="1121356" y="2090761"/>
                  </a:lnTo>
                  <a:cubicBezTo>
                    <a:pt x="1121356" y="2107501"/>
                    <a:pt x="1134925" y="2121070"/>
                    <a:pt x="1151644" y="2121070"/>
                  </a:cubicBezTo>
                  <a:lnTo>
                    <a:pt x="1454523" y="2121070"/>
                  </a:lnTo>
                  <a:cubicBezTo>
                    <a:pt x="1471241" y="2121070"/>
                    <a:pt x="1484811" y="2107501"/>
                    <a:pt x="1484811" y="2090761"/>
                  </a:cubicBezTo>
                  <a:lnTo>
                    <a:pt x="1484811" y="1932621"/>
                  </a:lnTo>
                  <a:cubicBezTo>
                    <a:pt x="1531943" y="1921292"/>
                    <a:pt x="1581972" y="1906539"/>
                    <a:pt x="1628683" y="1883374"/>
                  </a:cubicBezTo>
                  <a:lnTo>
                    <a:pt x="1735632" y="1990361"/>
                  </a:lnTo>
                  <a:lnTo>
                    <a:pt x="1735632" y="1990382"/>
                  </a:lnTo>
                  <a:cubicBezTo>
                    <a:pt x="1741339" y="1996279"/>
                    <a:pt x="1749202" y="1999619"/>
                    <a:pt x="1757402" y="1999619"/>
                  </a:cubicBezTo>
                  <a:cubicBezTo>
                    <a:pt x="1765603" y="1999619"/>
                    <a:pt x="1773466" y="1996279"/>
                    <a:pt x="1779172" y="1990382"/>
                  </a:cubicBezTo>
                  <a:lnTo>
                    <a:pt x="1991188" y="1778285"/>
                  </a:lnTo>
                  <a:cubicBezTo>
                    <a:pt x="2002854" y="1766470"/>
                    <a:pt x="2002854" y="1747490"/>
                    <a:pt x="1991188" y="1735675"/>
                  </a:cubicBezTo>
                  <a:lnTo>
                    <a:pt x="1883291" y="1627736"/>
                  </a:lnTo>
                  <a:cubicBezTo>
                    <a:pt x="1906076" y="1581427"/>
                    <a:pt x="1921272" y="1531462"/>
                    <a:pt x="1932517" y="1484751"/>
                  </a:cubicBezTo>
                  <a:lnTo>
                    <a:pt x="2090571" y="1484751"/>
                  </a:lnTo>
                  <a:cubicBezTo>
                    <a:pt x="2107290" y="1484751"/>
                    <a:pt x="2120859" y="1471182"/>
                    <a:pt x="2120859" y="1454442"/>
                  </a:cubicBezTo>
                  <a:lnTo>
                    <a:pt x="2120859" y="1151438"/>
                  </a:lnTo>
                  <a:cubicBezTo>
                    <a:pt x="2120859" y="1134720"/>
                    <a:pt x="2107290" y="1121150"/>
                    <a:pt x="2090571" y="1121150"/>
                  </a:cubicBezTo>
                  <a:lnTo>
                    <a:pt x="1928735" y="1121150"/>
                  </a:lnTo>
                  <a:cubicBezTo>
                    <a:pt x="1917258" y="1079893"/>
                    <a:pt x="1902822" y="1043051"/>
                    <a:pt x="1882363" y="1005619"/>
                  </a:cubicBezTo>
                  <a:lnTo>
                    <a:pt x="1993095" y="867369"/>
                  </a:lnTo>
                  <a:lnTo>
                    <a:pt x="1993073" y="867369"/>
                  </a:lnTo>
                  <a:cubicBezTo>
                    <a:pt x="2003028" y="855342"/>
                    <a:pt x="2002204" y="837715"/>
                    <a:pt x="1991192" y="826661"/>
                  </a:cubicBezTo>
                  <a:lnTo>
                    <a:pt x="1779176" y="614564"/>
                  </a:lnTo>
                  <a:cubicBezTo>
                    <a:pt x="1773470" y="608667"/>
                    <a:pt x="1765607" y="605328"/>
                    <a:pt x="1757407" y="605328"/>
                  </a:cubicBezTo>
                  <a:cubicBezTo>
                    <a:pt x="1749206" y="605328"/>
                    <a:pt x="1741343" y="608667"/>
                    <a:pt x="1735637" y="614564"/>
                  </a:cubicBezTo>
                  <a:lnTo>
                    <a:pt x="1628688" y="721551"/>
                  </a:lnTo>
                  <a:cubicBezTo>
                    <a:pt x="1582020" y="698408"/>
                    <a:pt x="1531927" y="684585"/>
                    <a:pt x="1484815" y="673256"/>
                  </a:cubicBezTo>
                  <a:lnTo>
                    <a:pt x="1484815" y="515115"/>
                  </a:lnTo>
                  <a:lnTo>
                    <a:pt x="1484815" y="515136"/>
                  </a:lnTo>
                  <a:cubicBezTo>
                    <a:pt x="1484815" y="498396"/>
                    <a:pt x="1471246" y="484827"/>
                    <a:pt x="1454527" y="484827"/>
                  </a:cubicBezTo>
                  <a:lnTo>
                    <a:pt x="1151648" y="484827"/>
                  </a:lnTo>
                  <a:cubicBezTo>
                    <a:pt x="1149767" y="484658"/>
                    <a:pt x="1147865" y="484658"/>
                    <a:pt x="1145983" y="484827"/>
                  </a:cubicBezTo>
                  <a:close/>
                  <a:moveTo>
                    <a:pt x="1181926" y="545444"/>
                  </a:moveTo>
                  <a:lnTo>
                    <a:pt x="1424226" y="545444"/>
                  </a:lnTo>
                  <a:lnTo>
                    <a:pt x="1424226" y="696945"/>
                  </a:lnTo>
                  <a:lnTo>
                    <a:pt x="1424226" y="696924"/>
                  </a:lnTo>
                  <a:cubicBezTo>
                    <a:pt x="1424226" y="710747"/>
                    <a:pt x="1433569" y="722837"/>
                    <a:pt x="1446947" y="726282"/>
                  </a:cubicBezTo>
                  <a:cubicBezTo>
                    <a:pt x="1507927" y="741479"/>
                    <a:pt x="1576151" y="756062"/>
                    <a:pt x="1621109" y="783095"/>
                  </a:cubicBezTo>
                  <a:lnTo>
                    <a:pt x="1621088" y="783095"/>
                  </a:lnTo>
                  <a:cubicBezTo>
                    <a:pt x="1633030" y="790155"/>
                    <a:pt x="1648248" y="788210"/>
                    <a:pt x="1658013" y="778361"/>
                  </a:cubicBezTo>
                  <a:lnTo>
                    <a:pt x="1757392" y="678938"/>
                  </a:lnTo>
                  <a:lnTo>
                    <a:pt x="1928697" y="850330"/>
                  </a:lnTo>
                  <a:lnTo>
                    <a:pt x="1824583" y="980989"/>
                  </a:lnTo>
                  <a:cubicBezTo>
                    <a:pt x="1817017" y="990880"/>
                    <a:pt x="1816255" y="1004407"/>
                    <a:pt x="1822702" y="1015081"/>
                  </a:cubicBezTo>
                  <a:cubicBezTo>
                    <a:pt x="1852419" y="1064518"/>
                    <a:pt x="1864889" y="1099370"/>
                    <a:pt x="1879494" y="1158066"/>
                  </a:cubicBezTo>
                  <a:cubicBezTo>
                    <a:pt x="1882558" y="1171826"/>
                    <a:pt x="1894733" y="1181633"/>
                    <a:pt x="1908830" y="1181738"/>
                  </a:cubicBezTo>
                  <a:lnTo>
                    <a:pt x="2060267" y="1181738"/>
                  </a:lnTo>
                  <a:lnTo>
                    <a:pt x="2060267" y="1424147"/>
                  </a:lnTo>
                  <a:lnTo>
                    <a:pt x="1908830" y="1424147"/>
                  </a:lnTo>
                  <a:cubicBezTo>
                    <a:pt x="1895007" y="1424147"/>
                    <a:pt x="1882939" y="1433489"/>
                    <a:pt x="1879494" y="1446868"/>
                  </a:cubicBezTo>
                  <a:cubicBezTo>
                    <a:pt x="1864318" y="1507885"/>
                    <a:pt x="1849734" y="1575184"/>
                    <a:pt x="1822702" y="1620137"/>
                  </a:cubicBezTo>
                  <a:cubicBezTo>
                    <a:pt x="1815389" y="1631889"/>
                    <a:pt x="1816953" y="1647064"/>
                    <a:pt x="1826485" y="1657082"/>
                  </a:cubicBezTo>
                  <a:lnTo>
                    <a:pt x="1925865" y="1757458"/>
                  </a:lnTo>
                  <a:lnTo>
                    <a:pt x="1757390" y="1925993"/>
                  </a:lnTo>
                  <a:lnTo>
                    <a:pt x="1658010" y="1826570"/>
                  </a:lnTo>
                  <a:cubicBezTo>
                    <a:pt x="1648245" y="1816720"/>
                    <a:pt x="1633027" y="1814776"/>
                    <a:pt x="1621086" y="1821835"/>
                  </a:cubicBezTo>
                  <a:cubicBezTo>
                    <a:pt x="1576130" y="1848868"/>
                    <a:pt x="1507925" y="1864403"/>
                    <a:pt x="1446924" y="1879601"/>
                  </a:cubicBezTo>
                  <a:lnTo>
                    <a:pt x="1446945" y="1879601"/>
                  </a:lnTo>
                  <a:cubicBezTo>
                    <a:pt x="1433566" y="1883046"/>
                    <a:pt x="1424224" y="1895114"/>
                    <a:pt x="1424224" y="1908937"/>
                  </a:cubicBezTo>
                  <a:lnTo>
                    <a:pt x="1424224" y="2060439"/>
                  </a:lnTo>
                  <a:lnTo>
                    <a:pt x="1181924" y="2060439"/>
                  </a:lnTo>
                  <a:lnTo>
                    <a:pt x="1181924" y="1908937"/>
                  </a:lnTo>
                  <a:cubicBezTo>
                    <a:pt x="1181945" y="1895114"/>
                    <a:pt x="1172603" y="1883046"/>
                    <a:pt x="1159224" y="1879601"/>
                  </a:cubicBezTo>
                  <a:cubicBezTo>
                    <a:pt x="1098245" y="1864404"/>
                    <a:pt x="1030020" y="1848869"/>
                    <a:pt x="985062" y="1821835"/>
                  </a:cubicBezTo>
                  <a:cubicBezTo>
                    <a:pt x="973120" y="1814776"/>
                    <a:pt x="957924" y="1816720"/>
                    <a:pt x="948159" y="1826570"/>
                  </a:cubicBezTo>
                  <a:lnTo>
                    <a:pt x="848779" y="1925993"/>
                  </a:lnTo>
                  <a:lnTo>
                    <a:pt x="680304" y="1757458"/>
                  </a:lnTo>
                  <a:lnTo>
                    <a:pt x="779684" y="1657082"/>
                  </a:lnTo>
                  <a:cubicBezTo>
                    <a:pt x="789216" y="1647064"/>
                    <a:pt x="790759" y="1631889"/>
                    <a:pt x="783467" y="1620137"/>
                  </a:cubicBezTo>
                  <a:cubicBezTo>
                    <a:pt x="756434" y="1575181"/>
                    <a:pt x="741850" y="1507863"/>
                    <a:pt x="726675" y="1446868"/>
                  </a:cubicBezTo>
                  <a:cubicBezTo>
                    <a:pt x="723209" y="1433488"/>
                    <a:pt x="711140" y="1424147"/>
                    <a:pt x="697339" y="1424147"/>
                  </a:cubicBezTo>
                  <a:lnTo>
                    <a:pt x="545902" y="1424147"/>
                  </a:lnTo>
                  <a:lnTo>
                    <a:pt x="545902" y="1181738"/>
                  </a:lnTo>
                  <a:lnTo>
                    <a:pt x="697339" y="1181738"/>
                  </a:lnTo>
                  <a:cubicBezTo>
                    <a:pt x="711436" y="1181633"/>
                    <a:pt x="723590" y="1171826"/>
                    <a:pt x="726675" y="1158066"/>
                  </a:cubicBezTo>
                  <a:cubicBezTo>
                    <a:pt x="741280" y="1099370"/>
                    <a:pt x="753750" y="1064519"/>
                    <a:pt x="783467" y="1015081"/>
                  </a:cubicBezTo>
                  <a:cubicBezTo>
                    <a:pt x="789892" y="1004407"/>
                    <a:pt x="789152" y="990880"/>
                    <a:pt x="781565" y="980989"/>
                  </a:cubicBezTo>
                  <a:lnTo>
                    <a:pt x="677450" y="850330"/>
                  </a:lnTo>
                  <a:lnTo>
                    <a:pt x="848756" y="678938"/>
                  </a:lnTo>
                  <a:lnTo>
                    <a:pt x="948135" y="778361"/>
                  </a:lnTo>
                  <a:cubicBezTo>
                    <a:pt x="957921" y="788210"/>
                    <a:pt x="973118" y="790155"/>
                    <a:pt x="985060" y="783095"/>
                  </a:cubicBezTo>
                  <a:cubicBezTo>
                    <a:pt x="1029994" y="756062"/>
                    <a:pt x="1098221" y="741479"/>
                    <a:pt x="1159222" y="726282"/>
                  </a:cubicBezTo>
                  <a:cubicBezTo>
                    <a:pt x="1172580" y="722837"/>
                    <a:pt x="1181943" y="710747"/>
                    <a:pt x="1181922" y="696924"/>
                  </a:cubicBezTo>
                  <a:lnTo>
                    <a:pt x="1181922" y="545422"/>
                  </a:lnTo>
                  <a:close/>
                  <a:moveTo>
                    <a:pt x="1303079" y="969638"/>
                  </a:moveTo>
                  <a:cubicBezTo>
                    <a:pt x="1119432" y="969638"/>
                    <a:pt x="969916" y="1119219"/>
                    <a:pt x="969916" y="1302952"/>
                  </a:cubicBezTo>
                  <a:cubicBezTo>
                    <a:pt x="969916" y="1486665"/>
                    <a:pt x="1119432" y="1636267"/>
                    <a:pt x="1303079" y="1636267"/>
                  </a:cubicBezTo>
                  <a:cubicBezTo>
                    <a:pt x="1486726" y="1636267"/>
                    <a:pt x="1636242" y="1486686"/>
                    <a:pt x="1636242" y="1302952"/>
                  </a:cubicBezTo>
                  <a:cubicBezTo>
                    <a:pt x="1636242" y="1119240"/>
                    <a:pt x="1486726" y="969638"/>
                    <a:pt x="1303079" y="969638"/>
                  </a:cubicBezTo>
                  <a:close/>
                  <a:moveTo>
                    <a:pt x="1303079" y="1030233"/>
                  </a:moveTo>
                  <a:cubicBezTo>
                    <a:pt x="1453991" y="1030233"/>
                    <a:pt x="1575669" y="1151975"/>
                    <a:pt x="1575669" y="1302925"/>
                  </a:cubicBezTo>
                  <a:cubicBezTo>
                    <a:pt x="1575669" y="1453897"/>
                    <a:pt x="1453991" y="1575618"/>
                    <a:pt x="1303079" y="1575618"/>
                  </a:cubicBezTo>
                  <a:cubicBezTo>
                    <a:pt x="1152167" y="1575618"/>
                    <a:pt x="1030490" y="1453875"/>
                    <a:pt x="1030490" y="1302925"/>
                  </a:cubicBezTo>
                  <a:cubicBezTo>
                    <a:pt x="1030490" y="1151954"/>
                    <a:pt x="1152167" y="1030233"/>
                    <a:pt x="1303079" y="1030233"/>
                  </a:cubicBezTo>
                  <a:close/>
                  <a:moveTo>
                    <a:pt x="2418024" y="1333237"/>
                  </a:moveTo>
                  <a:lnTo>
                    <a:pt x="2418045" y="1333237"/>
                  </a:lnTo>
                  <a:cubicBezTo>
                    <a:pt x="2410859" y="1334716"/>
                    <a:pt x="2404476" y="1338753"/>
                    <a:pt x="2400059" y="1344608"/>
                  </a:cubicBezTo>
                  <a:lnTo>
                    <a:pt x="2188043" y="1617300"/>
                  </a:lnTo>
                  <a:cubicBezTo>
                    <a:pt x="2181765" y="1623408"/>
                    <a:pt x="2178447" y="1631926"/>
                    <a:pt x="2178933" y="1640676"/>
                  </a:cubicBezTo>
                  <a:cubicBezTo>
                    <a:pt x="2179398" y="1649427"/>
                    <a:pt x="2183646" y="1657522"/>
                    <a:pt x="2190537" y="1662911"/>
                  </a:cubicBezTo>
                  <a:cubicBezTo>
                    <a:pt x="2197448" y="1668301"/>
                    <a:pt x="2206325" y="1670436"/>
                    <a:pt x="2214927" y="1668766"/>
                  </a:cubicBezTo>
                  <a:cubicBezTo>
                    <a:pt x="2223529" y="1667096"/>
                    <a:pt x="2230969" y="1661812"/>
                    <a:pt x="2235365" y="1654224"/>
                  </a:cubicBezTo>
                  <a:lnTo>
                    <a:pt x="2393420" y="1451596"/>
                  </a:lnTo>
                  <a:cubicBezTo>
                    <a:pt x="2380569" y="2060200"/>
                    <a:pt x="1936333" y="2545223"/>
                    <a:pt x="1393941" y="2545223"/>
                  </a:cubicBezTo>
                  <a:cubicBezTo>
                    <a:pt x="1385846" y="2545117"/>
                    <a:pt x="1378025" y="2548245"/>
                    <a:pt x="1372255" y="2553952"/>
                  </a:cubicBezTo>
                  <a:cubicBezTo>
                    <a:pt x="1366485" y="2559637"/>
                    <a:pt x="1363230" y="2567415"/>
                    <a:pt x="1363230" y="2575531"/>
                  </a:cubicBezTo>
                  <a:cubicBezTo>
                    <a:pt x="1363230" y="2583627"/>
                    <a:pt x="1366485" y="2591405"/>
                    <a:pt x="1372255" y="2597112"/>
                  </a:cubicBezTo>
                  <a:cubicBezTo>
                    <a:pt x="1378025" y="2602797"/>
                    <a:pt x="1385846" y="2605946"/>
                    <a:pt x="1393941" y="2605819"/>
                  </a:cubicBezTo>
                  <a:cubicBezTo>
                    <a:pt x="1961206" y="2605819"/>
                    <a:pt x="2422638" y="2109868"/>
                    <a:pt x="2453046" y="1489468"/>
                  </a:cubicBezTo>
                  <a:lnTo>
                    <a:pt x="2547691" y="1679797"/>
                  </a:lnTo>
                  <a:lnTo>
                    <a:pt x="2547713" y="1679797"/>
                  </a:lnTo>
                  <a:cubicBezTo>
                    <a:pt x="2555279" y="1694952"/>
                    <a:pt x="2573710" y="1701102"/>
                    <a:pt x="2588864" y="1693515"/>
                  </a:cubicBezTo>
                  <a:cubicBezTo>
                    <a:pt x="2604040" y="1685927"/>
                    <a:pt x="2610169" y="1667496"/>
                    <a:pt x="2602603" y="1652342"/>
                  </a:cubicBezTo>
                  <a:lnTo>
                    <a:pt x="2451166" y="1349338"/>
                  </a:lnTo>
                  <a:cubicBezTo>
                    <a:pt x="2445015" y="1337101"/>
                    <a:pt x="2431446" y="1330506"/>
                    <a:pt x="2418046" y="1333233"/>
                  </a:cubicBezTo>
                  <a:close/>
                </a:path>
              </a:pathLst>
            </a:custGeom>
            <a:solidFill>
              <a:srgbClr val="000000"/>
            </a:solidFill>
            <a:ln w="5402" cap="flat">
              <a:noFill/>
              <a:prstDash val="solid"/>
              <a:miter/>
            </a:ln>
          </p:spPr>
          <p:txBody>
            <a:bodyPr rtlCol="0" anchor="ctr"/>
            <a:lstStyle/>
            <a:p>
              <a:endParaRPr lang="en-US" dirty="0"/>
            </a:p>
          </p:txBody>
        </p:sp>
      </p:grpSp>
      <p:grpSp>
        <p:nvGrpSpPr>
          <p:cNvPr id="290" name="Group 289">
            <a:extLst>
              <a:ext uri="{FF2B5EF4-FFF2-40B4-BE49-F238E27FC236}">
                <a16:creationId xmlns:a16="http://schemas.microsoft.com/office/drawing/2014/main" id="{94C164CA-CF23-229D-176D-433F1DBD1A9D}"/>
              </a:ext>
            </a:extLst>
          </p:cNvPr>
          <p:cNvGrpSpPr/>
          <p:nvPr/>
        </p:nvGrpSpPr>
        <p:grpSpPr>
          <a:xfrm>
            <a:off x="4088281" y="2529361"/>
            <a:ext cx="731520" cy="731520"/>
            <a:chOff x="3728931" y="2103368"/>
            <a:chExt cx="731520" cy="731520"/>
          </a:xfrm>
        </p:grpSpPr>
        <p:sp>
          <p:nvSpPr>
            <p:cNvPr id="32" name="Freeform: Shape 31">
              <a:extLst>
                <a:ext uri="{FF2B5EF4-FFF2-40B4-BE49-F238E27FC236}">
                  <a16:creationId xmlns:a16="http://schemas.microsoft.com/office/drawing/2014/main" id="{D92E19AD-0F5B-B53A-504D-6DDCE045D04F}"/>
                </a:ext>
              </a:extLst>
            </p:cNvPr>
            <p:cNvSpPr>
              <a:spLocks noChangeAspect="1"/>
            </p:cNvSpPr>
            <p:nvPr/>
          </p:nvSpPr>
          <p:spPr>
            <a:xfrm>
              <a:off x="3728931" y="2103368"/>
              <a:ext cx="731520" cy="731520"/>
            </a:xfrm>
            <a:custGeom>
              <a:avLst/>
              <a:gdLst>
                <a:gd name="connsiteX0" fmla="*/ 1123915 w 1123914"/>
                <a:gd name="connsiteY0" fmla="*/ 561957 h 1123914"/>
                <a:gd name="connsiteX1" fmla="*/ 561957 w 1123914"/>
                <a:gd name="connsiteY1" fmla="*/ 1123915 h 1123914"/>
                <a:gd name="connsiteX2" fmla="*/ 0 w 1123914"/>
                <a:gd name="connsiteY2" fmla="*/ 561957 h 1123914"/>
                <a:gd name="connsiteX3" fmla="*/ 561957 w 1123914"/>
                <a:gd name="connsiteY3" fmla="*/ 0 h 1123914"/>
                <a:gd name="connsiteX4" fmla="*/ 1123915 w 1123914"/>
                <a:gd name="connsiteY4" fmla="*/ 561957 h 112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14" h="1123914">
                  <a:moveTo>
                    <a:pt x="1123915" y="561957"/>
                  </a:moveTo>
                  <a:cubicBezTo>
                    <a:pt x="1123915" y="872318"/>
                    <a:pt x="872318" y="1123915"/>
                    <a:pt x="561957" y="1123915"/>
                  </a:cubicBezTo>
                  <a:cubicBezTo>
                    <a:pt x="251597" y="1123915"/>
                    <a:pt x="0" y="872318"/>
                    <a:pt x="0" y="561957"/>
                  </a:cubicBezTo>
                  <a:cubicBezTo>
                    <a:pt x="0" y="251597"/>
                    <a:pt x="251597" y="0"/>
                    <a:pt x="561957" y="0"/>
                  </a:cubicBezTo>
                  <a:cubicBezTo>
                    <a:pt x="872318" y="0"/>
                    <a:pt x="1123915" y="251597"/>
                    <a:pt x="1123915" y="561957"/>
                  </a:cubicBezTo>
                  <a:close/>
                </a:path>
              </a:pathLst>
            </a:custGeom>
            <a:solidFill>
              <a:srgbClr val="F2F2F2"/>
            </a:solidFill>
            <a:ln w="11941" cap="flat">
              <a:noFill/>
              <a:prstDash val="solid"/>
              <a:miter/>
            </a:ln>
          </p:spPr>
          <p:txBody>
            <a:bodyPr rtlCol="0" anchor="ctr"/>
            <a:lstStyle/>
            <a:p>
              <a:endParaRPr lang="en-US" dirty="0"/>
            </a:p>
          </p:txBody>
        </p:sp>
        <p:grpSp>
          <p:nvGrpSpPr>
            <p:cNvPr id="228" name="Group 227">
              <a:extLst>
                <a:ext uri="{FF2B5EF4-FFF2-40B4-BE49-F238E27FC236}">
                  <a16:creationId xmlns:a16="http://schemas.microsoft.com/office/drawing/2014/main" id="{80DE539C-7565-8622-FEAB-38225796655A}"/>
                </a:ext>
              </a:extLst>
            </p:cNvPr>
            <p:cNvGrpSpPr/>
            <p:nvPr/>
          </p:nvGrpSpPr>
          <p:grpSpPr>
            <a:xfrm>
              <a:off x="3887798" y="2266716"/>
              <a:ext cx="413786" cy="404825"/>
              <a:chOff x="3671708" y="371313"/>
              <a:chExt cx="4848391" cy="4743384"/>
            </a:xfrm>
          </p:grpSpPr>
          <p:sp>
            <p:nvSpPr>
              <p:cNvPr id="187" name="Freeform: Shape 186">
                <a:extLst>
                  <a:ext uri="{FF2B5EF4-FFF2-40B4-BE49-F238E27FC236}">
                    <a16:creationId xmlns:a16="http://schemas.microsoft.com/office/drawing/2014/main" id="{C2582A4B-75ED-E0FC-DA06-782D28081BD9}"/>
                  </a:ext>
                </a:extLst>
              </p:cNvPr>
              <p:cNvSpPr/>
              <p:nvPr/>
            </p:nvSpPr>
            <p:spPr>
              <a:xfrm>
                <a:off x="5633526" y="1784490"/>
                <a:ext cx="820118" cy="800681"/>
              </a:xfrm>
              <a:custGeom>
                <a:avLst/>
                <a:gdLst>
                  <a:gd name="connsiteX0" fmla="*/ 410059 w 820118"/>
                  <a:gd name="connsiteY0" fmla="*/ 800681 h 800681"/>
                  <a:gd name="connsiteX1" fmla="*/ 820119 w 820118"/>
                  <a:gd name="connsiteY1" fmla="*/ 400341 h 800681"/>
                  <a:gd name="connsiteX2" fmla="*/ 410059 w 820118"/>
                  <a:gd name="connsiteY2" fmla="*/ 0 h 800681"/>
                  <a:gd name="connsiteX3" fmla="*/ 0 w 820118"/>
                  <a:gd name="connsiteY3" fmla="*/ 400341 h 800681"/>
                  <a:gd name="connsiteX4" fmla="*/ 410059 w 820118"/>
                  <a:gd name="connsiteY4" fmla="*/ 800681 h 800681"/>
                  <a:gd name="connsiteX5" fmla="*/ 410059 w 820118"/>
                  <a:gd name="connsiteY5" fmla="*/ 89468 h 800681"/>
                  <a:gd name="connsiteX6" fmla="*/ 730651 w 820118"/>
                  <a:gd name="connsiteY6" fmla="*/ 400331 h 800681"/>
                  <a:gd name="connsiteX7" fmla="*/ 410059 w 820118"/>
                  <a:gd name="connsiteY7" fmla="*/ 711194 h 800681"/>
                  <a:gd name="connsiteX8" fmla="*/ 89467 w 820118"/>
                  <a:gd name="connsiteY8" fmla="*/ 400331 h 800681"/>
                  <a:gd name="connsiteX9" fmla="*/ 410059 w 820118"/>
                  <a:gd name="connsiteY9" fmla="*/ 89468 h 80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0118" h="800681">
                    <a:moveTo>
                      <a:pt x="410059" y="800681"/>
                    </a:moveTo>
                    <a:cubicBezTo>
                      <a:pt x="636158" y="800681"/>
                      <a:pt x="820119" y="621119"/>
                      <a:pt x="820119" y="400341"/>
                    </a:cubicBezTo>
                    <a:cubicBezTo>
                      <a:pt x="820119" y="179640"/>
                      <a:pt x="636158" y="0"/>
                      <a:pt x="410059" y="0"/>
                    </a:cubicBezTo>
                    <a:cubicBezTo>
                      <a:pt x="183961" y="0"/>
                      <a:pt x="0" y="179562"/>
                      <a:pt x="0" y="400341"/>
                    </a:cubicBezTo>
                    <a:cubicBezTo>
                      <a:pt x="77" y="621080"/>
                      <a:pt x="183961" y="800681"/>
                      <a:pt x="410059" y="800681"/>
                    </a:cubicBezTo>
                    <a:close/>
                    <a:moveTo>
                      <a:pt x="410059" y="89468"/>
                    </a:moveTo>
                    <a:cubicBezTo>
                      <a:pt x="586829" y="89468"/>
                      <a:pt x="730651" y="228920"/>
                      <a:pt x="730651" y="400331"/>
                    </a:cubicBezTo>
                    <a:cubicBezTo>
                      <a:pt x="730651" y="571781"/>
                      <a:pt x="586868" y="711194"/>
                      <a:pt x="410059" y="711194"/>
                    </a:cubicBezTo>
                    <a:cubicBezTo>
                      <a:pt x="233329" y="711194"/>
                      <a:pt x="89467" y="571742"/>
                      <a:pt x="89467" y="400331"/>
                    </a:cubicBezTo>
                    <a:cubicBezTo>
                      <a:pt x="89467" y="228881"/>
                      <a:pt x="233289" y="89468"/>
                      <a:pt x="410059" y="89468"/>
                    </a:cubicBezTo>
                    <a:close/>
                  </a:path>
                </a:pathLst>
              </a:custGeom>
              <a:solidFill>
                <a:srgbClr val="000000"/>
              </a:solidFill>
              <a:ln w="9797" cap="flat">
                <a:noFill/>
                <a:prstDash val="solid"/>
                <a:miter/>
              </a:ln>
            </p:spPr>
            <p:txBody>
              <a:bodyPr rtlCol="0" anchor="ctr"/>
              <a:lstStyle/>
              <a:p>
                <a:endParaRPr lang="en-US" dirty="0"/>
              </a:p>
            </p:txBody>
          </p:sp>
          <p:sp>
            <p:nvSpPr>
              <p:cNvPr id="188" name="Freeform: Shape 187">
                <a:extLst>
                  <a:ext uri="{FF2B5EF4-FFF2-40B4-BE49-F238E27FC236}">
                    <a16:creationId xmlns:a16="http://schemas.microsoft.com/office/drawing/2014/main" id="{2882D058-A571-9CA8-6DCD-158DCD9B4AF0}"/>
                  </a:ext>
                </a:extLst>
              </p:cNvPr>
              <p:cNvSpPr/>
              <p:nvPr/>
            </p:nvSpPr>
            <p:spPr>
              <a:xfrm>
                <a:off x="5050770" y="2664430"/>
                <a:ext cx="1985489" cy="1037444"/>
              </a:xfrm>
              <a:custGeom>
                <a:avLst/>
                <a:gdLst>
                  <a:gd name="connsiteX0" fmla="*/ 71 w 1985489"/>
                  <a:gd name="connsiteY0" fmla="*/ 992745 h 1037444"/>
                  <a:gd name="connsiteX1" fmla="*/ 44846 w 1985489"/>
                  <a:gd name="connsiteY1" fmla="*/ 1037444 h 1037444"/>
                  <a:gd name="connsiteX2" fmla="*/ 1940790 w 1985489"/>
                  <a:gd name="connsiteY2" fmla="*/ 1037444 h 1037444"/>
                  <a:gd name="connsiteX3" fmla="*/ 1985489 w 1985489"/>
                  <a:gd name="connsiteY3" fmla="*/ 992745 h 1037444"/>
                  <a:gd name="connsiteX4" fmla="*/ 992744 w 1985489"/>
                  <a:gd name="connsiteY4" fmla="*/ 0 h 1037444"/>
                  <a:gd name="connsiteX5" fmla="*/ 0 w 1985489"/>
                  <a:gd name="connsiteY5" fmla="*/ 992745 h 1037444"/>
                  <a:gd name="connsiteX6" fmla="*/ 1895034 w 1985489"/>
                  <a:gd name="connsiteY6" fmla="*/ 948007 h 1037444"/>
                  <a:gd name="connsiteX7" fmla="*/ 90694 w 1985489"/>
                  <a:gd name="connsiteY7" fmla="*/ 948007 h 1037444"/>
                  <a:gd name="connsiteX8" fmla="*/ 992874 w 1985489"/>
                  <a:gd name="connsiteY8" fmla="*/ 89532 h 1037444"/>
                  <a:gd name="connsiteX9" fmla="*/ 1895014 w 1985489"/>
                  <a:gd name="connsiteY9" fmla="*/ 948007 h 103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489" h="1037444">
                    <a:moveTo>
                      <a:pt x="71" y="992745"/>
                    </a:moveTo>
                    <a:cubicBezTo>
                      <a:pt x="71" y="1017429"/>
                      <a:pt x="20086" y="1037444"/>
                      <a:pt x="44846" y="1037444"/>
                    </a:cubicBezTo>
                    <a:lnTo>
                      <a:pt x="1940790" y="1037444"/>
                    </a:lnTo>
                    <a:cubicBezTo>
                      <a:pt x="1965474" y="1037444"/>
                      <a:pt x="1985489" y="1017429"/>
                      <a:pt x="1985489" y="992745"/>
                    </a:cubicBezTo>
                    <a:cubicBezTo>
                      <a:pt x="1985489" y="445329"/>
                      <a:pt x="1540140" y="0"/>
                      <a:pt x="992744" y="0"/>
                    </a:cubicBezTo>
                    <a:cubicBezTo>
                      <a:pt x="445407" y="0"/>
                      <a:pt x="0" y="445349"/>
                      <a:pt x="0" y="992745"/>
                    </a:cubicBezTo>
                    <a:close/>
                    <a:moveTo>
                      <a:pt x="1895034" y="948007"/>
                    </a:moveTo>
                    <a:lnTo>
                      <a:pt x="90694" y="948007"/>
                    </a:lnTo>
                    <a:cubicBezTo>
                      <a:pt x="114192" y="470700"/>
                      <a:pt x="509865" y="89532"/>
                      <a:pt x="992874" y="89532"/>
                    </a:cubicBezTo>
                    <a:cubicBezTo>
                      <a:pt x="1475922" y="89494"/>
                      <a:pt x="1871589" y="470622"/>
                      <a:pt x="1895014" y="948007"/>
                    </a:cubicBezTo>
                    <a:close/>
                  </a:path>
                </a:pathLst>
              </a:custGeom>
              <a:solidFill>
                <a:srgbClr val="000000"/>
              </a:solidFill>
              <a:ln w="9797" cap="flat">
                <a:noFill/>
                <a:prstDash val="solid"/>
                <a:miter/>
              </a:ln>
            </p:spPr>
            <p:txBody>
              <a:bodyPr rtlCol="0" anchor="ctr"/>
              <a:lstStyle/>
              <a:p>
                <a:endParaRPr lang="en-US" dirty="0"/>
              </a:p>
            </p:txBody>
          </p:sp>
          <p:sp>
            <p:nvSpPr>
              <p:cNvPr id="189" name="Freeform: Shape 188">
                <a:extLst>
                  <a:ext uri="{FF2B5EF4-FFF2-40B4-BE49-F238E27FC236}">
                    <a16:creationId xmlns:a16="http://schemas.microsoft.com/office/drawing/2014/main" id="{9CB295F3-B595-40E0-92FD-AE33C61D2DE9}"/>
                  </a:ext>
                </a:extLst>
              </p:cNvPr>
              <p:cNvSpPr/>
              <p:nvPr/>
            </p:nvSpPr>
            <p:spPr>
              <a:xfrm>
                <a:off x="3671708" y="371313"/>
                <a:ext cx="4848391" cy="4743384"/>
              </a:xfrm>
              <a:custGeom>
                <a:avLst/>
                <a:gdLst>
                  <a:gd name="connsiteX0" fmla="*/ 4741806 w 4848391"/>
                  <a:gd name="connsiteY0" fmla="*/ 1407456 h 4743384"/>
                  <a:gd name="connsiteX1" fmla="*/ 4846439 w 4848391"/>
                  <a:gd name="connsiteY1" fmla="*/ 1258049 h 4743384"/>
                  <a:gd name="connsiteX2" fmla="*/ 4814216 w 4848391"/>
                  <a:gd name="connsiteY2" fmla="*/ 1075499 h 4743384"/>
                  <a:gd name="connsiteX3" fmla="*/ 4664770 w 4848391"/>
                  <a:gd name="connsiteY3" fmla="*/ 970865 h 4743384"/>
                  <a:gd name="connsiteX4" fmla="*/ 4601165 w 4848391"/>
                  <a:gd name="connsiteY4" fmla="*/ 982040 h 4743384"/>
                  <a:gd name="connsiteX5" fmla="*/ 4561287 w 4848391"/>
                  <a:gd name="connsiteY5" fmla="*/ 913193 h 4743384"/>
                  <a:gd name="connsiteX6" fmla="*/ 4602810 w 4848391"/>
                  <a:gd name="connsiteY6" fmla="*/ 863633 h 4743384"/>
                  <a:gd name="connsiteX7" fmla="*/ 4586890 w 4848391"/>
                  <a:gd name="connsiteY7" fmla="*/ 681847 h 4743384"/>
                  <a:gd name="connsiteX8" fmla="*/ 4444949 w 4848391"/>
                  <a:gd name="connsiteY8" fmla="*/ 562792 h 4743384"/>
                  <a:gd name="connsiteX9" fmla="*/ 4350805 w 4848391"/>
                  <a:gd name="connsiteY9" fmla="*/ 533095 h 4743384"/>
                  <a:gd name="connsiteX10" fmla="*/ 4263205 w 4848391"/>
                  <a:gd name="connsiteY10" fmla="*/ 578560 h 4743384"/>
                  <a:gd name="connsiteX11" fmla="*/ 4221796 w 4848391"/>
                  <a:gd name="connsiteY11" fmla="*/ 628005 h 4743384"/>
                  <a:gd name="connsiteX12" fmla="*/ 4146902 w 4848391"/>
                  <a:gd name="connsiteY12" fmla="*/ 600757 h 4743384"/>
                  <a:gd name="connsiteX13" fmla="*/ 4146902 w 4848391"/>
                  <a:gd name="connsiteY13" fmla="*/ 536234 h 4743384"/>
                  <a:gd name="connsiteX14" fmla="*/ 4017854 w 4848391"/>
                  <a:gd name="connsiteY14" fmla="*/ 407264 h 4743384"/>
                  <a:gd name="connsiteX15" fmla="*/ 3832511 w 4848391"/>
                  <a:gd name="connsiteY15" fmla="*/ 407264 h 4743384"/>
                  <a:gd name="connsiteX16" fmla="*/ 3703581 w 4848391"/>
                  <a:gd name="connsiteY16" fmla="*/ 536234 h 4743384"/>
                  <a:gd name="connsiteX17" fmla="*/ 3703581 w 4848391"/>
                  <a:gd name="connsiteY17" fmla="*/ 600757 h 4743384"/>
                  <a:gd name="connsiteX18" fmla="*/ 3628648 w 4848391"/>
                  <a:gd name="connsiteY18" fmla="*/ 628005 h 4743384"/>
                  <a:gd name="connsiteX19" fmla="*/ 3587240 w 4848391"/>
                  <a:gd name="connsiteY19" fmla="*/ 578560 h 4743384"/>
                  <a:gd name="connsiteX20" fmla="*/ 3405454 w 4848391"/>
                  <a:gd name="connsiteY20" fmla="*/ 562639 h 4743384"/>
                  <a:gd name="connsiteX21" fmla="*/ 3334960 w 4848391"/>
                  <a:gd name="connsiteY21" fmla="*/ 621843 h 4743384"/>
                  <a:gd name="connsiteX22" fmla="*/ 2416478 w 4848391"/>
                  <a:gd name="connsiteY22" fmla="*/ 374965 h 4743384"/>
                  <a:gd name="connsiteX23" fmla="*/ 2416478 w 4848391"/>
                  <a:gd name="connsiteY23" fmla="*/ 90241 h 4743384"/>
                  <a:gd name="connsiteX24" fmla="*/ 3488188 w 4848391"/>
                  <a:gd name="connsiteY24" fmla="*/ 380745 h 4743384"/>
                  <a:gd name="connsiteX25" fmla="*/ 3549075 w 4848391"/>
                  <a:gd name="connsiteY25" fmla="*/ 363639 h 4743384"/>
                  <a:gd name="connsiteX26" fmla="*/ 3531968 w 4848391"/>
                  <a:gd name="connsiteY26" fmla="*/ 302751 h 4743384"/>
                  <a:gd name="connsiteX27" fmla="*/ 2371692 w 4848391"/>
                  <a:gd name="connsiteY27" fmla="*/ 0 h 4743384"/>
                  <a:gd name="connsiteX28" fmla="*/ 0 w 4848391"/>
                  <a:gd name="connsiteY28" fmla="*/ 2371692 h 4743384"/>
                  <a:gd name="connsiteX29" fmla="*/ 2371692 w 4848391"/>
                  <a:gd name="connsiteY29" fmla="*/ 4743385 h 4743384"/>
                  <a:gd name="connsiteX30" fmla="*/ 4743385 w 4848391"/>
                  <a:gd name="connsiteY30" fmla="*/ 2371692 h 4743384"/>
                  <a:gd name="connsiteX31" fmla="*/ 4726585 w 4848391"/>
                  <a:gd name="connsiteY31" fmla="*/ 2088036 h 4743384"/>
                  <a:gd name="connsiteX32" fmla="*/ 4676872 w 4848391"/>
                  <a:gd name="connsiteY32" fmla="*/ 2048924 h 4743384"/>
                  <a:gd name="connsiteX33" fmla="*/ 4637683 w 4848391"/>
                  <a:gd name="connsiteY33" fmla="*/ 2098636 h 4743384"/>
                  <a:gd name="connsiteX34" fmla="*/ 4653221 w 4848391"/>
                  <a:gd name="connsiteY34" fmla="*/ 2326998 h 4743384"/>
                  <a:gd name="connsiteX35" fmla="*/ 4368496 w 4848391"/>
                  <a:gd name="connsiteY35" fmla="*/ 2326998 h 4743384"/>
                  <a:gd name="connsiteX36" fmla="*/ 4355944 w 4848391"/>
                  <a:gd name="connsiteY36" fmla="*/ 2142723 h 4743384"/>
                  <a:gd name="connsiteX37" fmla="*/ 4399304 w 4848391"/>
                  <a:gd name="connsiteY37" fmla="*/ 2091327 h 4743384"/>
                  <a:gd name="connsiteX38" fmla="*/ 4403629 w 4848391"/>
                  <a:gd name="connsiteY38" fmla="*/ 1992748 h 4743384"/>
                  <a:gd name="connsiteX39" fmla="*/ 4381509 w 4848391"/>
                  <a:gd name="connsiteY39" fmla="*/ 1931975 h 4743384"/>
                  <a:gd name="connsiteX40" fmla="*/ 4442396 w 4848391"/>
                  <a:gd name="connsiteY40" fmla="*/ 1880846 h 4743384"/>
                  <a:gd name="connsiteX41" fmla="*/ 4498424 w 4848391"/>
                  <a:gd name="connsiteY41" fmla="*/ 1913146 h 4743384"/>
                  <a:gd name="connsiteX42" fmla="*/ 4562603 w 4848391"/>
                  <a:gd name="connsiteY42" fmla="*/ 1930444 h 4743384"/>
                  <a:gd name="connsiteX43" fmla="*/ 4596357 w 4848391"/>
                  <a:gd name="connsiteY43" fmla="*/ 1925928 h 4743384"/>
                  <a:gd name="connsiteX44" fmla="*/ 4674658 w 4848391"/>
                  <a:gd name="connsiteY44" fmla="*/ 1865920 h 4743384"/>
                  <a:gd name="connsiteX45" fmla="*/ 4767271 w 4848391"/>
                  <a:gd name="connsiteY45" fmla="*/ 1705492 h 4743384"/>
                  <a:gd name="connsiteX46" fmla="*/ 4720084 w 4848391"/>
                  <a:gd name="connsiteY46" fmla="*/ 1529261 h 4743384"/>
                  <a:gd name="connsiteX47" fmla="*/ 4664172 w 4848391"/>
                  <a:gd name="connsiteY47" fmla="*/ 1496999 h 4743384"/>
                  <a:gd name="connsiteX48" fmla="*/ 4677872 w 4848391"/>
                  <a:gd name="connsiteY48" fmla="*/ 1418584 h 4743384"/>
                  <a:gd name="connsiteX49" fmla="*/ 3247741 w 4848391"/>
                  <a:gd name="connsiteY49" fmla="*/ 863675 h 4743384"/>
                  <a:gd name="connsiteX50" fmla="*/ 3289341 w 4848391"/>
                  <a:gd name="connsiteY50" fmla="*/ 913235 h 4743384"/>
                  <a:gd name="connsiteX51" fmla="*/ 3249464 w 4848391"/>
                  <a:gd name="connsiteY51" fmla="*/ 982160 h 4743384"/>
                  <a:gd name="connsiteX52" fmla="*/ 3185859 w 4848391"/>
                  <a:gd name="connsiteY52" fmla="*/ 970985 h 4743384"/>
                  <a:gd name="connsiteX53" fmla="*/ 3036413 w 4848391"/>
                  <a:gd name="connsiteY53" fmla="*/ 1075658 h 4743384"/>
                  <a:gd name="connsiteX54" fmla="*/ 3004266 w 4848391"/>
                  <a:gd name="connsiteY54" fmla="*/ 1258130 h 4743384"/>
                  <a:gd name="connsiteX55" fmla="*/ 3025736 w 4848391"/>
                  <a:gd name="connsiteY55" fmla="*/ 1354417 h 4743384"/>
                  <a:gd name="connsiteX56" fmla="*/ 3108973 w 4848391"/>
                  <a:gd name="connsiteY56" fmla="*/ 1407536 h 4743384"/>
                  <a:gd name="connsiteX57" fmla="*/ 3172617 w 4848391"/>
                  <a:gd name="connsiteY57" fmla="*/ 1418787 h 4743384"/>
                  <a:gd name="connsiteX58" fmla="*/ 3186317 w 4848391"/>
                  <a:gd name="connsiteY58" fmla="*/ 1497241 h 4743384"/>
                  <a:gd name="connsiteX59" fmla="*/ 3130405 w 4848391"/>
                  <a:gd name="connsiteY59" fmla="*/ 1529503 h 4743384"/>
                  <a:gd name="connsiteX60" fmla="*/ 3083218 w 4848391"/>
                  <a:gd name="connsiteY60" fmla="*/ 1705773 h 4743384"/>
                  <a:gd name="connsiteX61" fmla="*/ 3175831 w 4848391"/>
                  <a:gd name="connsiteY61" fmla="*/ 1866123 h 4743384"/>
                  <a:gd name="connsiteX62" fmla="*/ 3254170 w 4848391"/>
                  <a:gd name="connsiteY62" fmla="*/ 1926207 h 4743384"/>
                  <a:gd name="connsiteX63" fmla="*/ 3287924 w 4848391"/>
                  <a:gd name="connsiteY63" fmla="*/ 1930722 h 4743384"/>
                  <a:gd name="connsiteX64" fmla="*/ 3352065 w 4848391"/>
                  <a:gd name="connsiteY64" fmla="*/ 1913501 h 4743384"/>
                  <a:gd name="connsiteX65" fmla="*/ 3408131 w 4848391"/>
                  <a:gd name="connsiteY65" fmla="*/ 1881124 h 4743384"/>
                  <a:gd name="connsiteX66" fmla="*/ 3468980 w 4848391"/>
                  <a:gd name="connsiteY66" fmla="*/ 1932254 h 4743384"/>
                  <a:gd name="connsiteX67" fmla="*/ 3446860 w 4848391"/>
                  <a:gd name="connsiteY67" fmla="*/ 1992988 h 4743384"/>
                  <a:gd name="connsiteX68" fmla="*/ 3451261 w 4848391"/>
                  <a:gd name="connsiteY68" fmla="*/ 2091567 h 4743384"/>
                  <a:gd name="connsiteX69" fmla="*/ 3523898 w 4848391"/>
                  <a:gd name="connsiteY69" fmla="*/ 2158348 h 4743384"/>
                  <a:gd name="connsiteX70" fmla="*/ 3698101 w 4848391"/>
                  <a:gd name="connsiteY70" fmla="*/ 2221762 h 4743384"/>
                  <a:gd name="connsiteX71" fmla="*/ 3742036 w 4848391"/>
                  <a:gd name="connsiteY71" fmla="*/ 2229493 h 4743384"/>
                  <a:gd name="connsiteX72" fmla="*/ 3863393 w 4848391"/>
                  <a:gd name="connsiteY72" fmla="*/ 2144609 h 4743384"/>
                  <a:gd name="connsiteX73" fmla="*/ 3885551 w 4848391"/>
                  <a:gd name="connsiteY73" fmla="*/ 2083760 h 4743384"/>
                  <a:gd name="connsiteX74" fmla="*/ 3925314 w 4848391"/>
                  <a:gd name="connsiteY74" fmla="*/ 2084870 h 4743384"/>
                  <a:gd name="connsiteX75" fmla="*/ 3965153 w 4848391"/>
                  <a:gd name="connsiteY75" fmla="*/ 2083760 h 4743384"/>
                  <a:gd name="connsiteX76" fmla="*/ 3987273 w 4848391"/>
                  <a:gd name="connsiteY76" fmla="*/ 2144533 h 4743384"/>
                  <a:gd name="connsiteX77" fmla="*/ 4108709 w 4848391"/>
                  <a:gd name="connsiteY77" fmla="*/ 2229455 h 4743384"/>
                  <a:gd name="connsiteX78" fmla="*/ 4152643 w 4848391"/>
                  <a:gd name="connsiteY78" fmla="*/ 2221647 h 4743384"/>
                  <a:gd name="connsiteX79" fmla="*/ 4270209 w 4848391"/>
                  <a:gd name="connsiteY79" fmla="*/ 2178861 h 4743384"/>
                  <a:gd name="connsiteX80" fmla="*/ 4279967 w 4848391"/>
                  <a:gd name="connsiteY80" fmla="*/ 2371934 h 4743384"/>
                  <a:gd name="connsiteX81" fmla="*/ 2371974 w 4848391"/>
                  <a:gd name="connsiteY81" fmla="*/ 4279927 h 4743384"/>
                  <a:gd name="connsiteX82" fmla="*/ 463980 w 4848391"/>
                  <a:gd name="connsiteY82" fmla="*/ 2371934 h 4743384"/>
                  <a:gd name="connsiteX83" fmla="*/ 2371974 w 4848391"/>
                  <a:gd name="connsiteY83" fmla="*/ 463940 h 4743384"/>
                  <a:gd name="connsiteX84" fmla="*/ 3261750 w 4848391"/>
                  <a:gd name="connsiteY84" fmla="*/ 683876 h 4743384"/>
                  <a:gd name="connsiteX85" fmla="*/ 3247743 w 4848391"/>
                  <a:gd name="connsiteY85" fmla="*/ 863673 h 4743384"/>
                  <a:gd name="connsiteX86" fmla="*/ 2327192 w 4848391"/>
                  <a:gd name="connsiteY86" fmla="*/ 90279 h 4743384"/>
                  <a:gd name="connsiteX87" fmla="*/ 2327192 w 4848391"/>
                  <a:gd name="connsiteY87" fmla="*/ 374974 h 4743384"/>
                  <a:gd name="connsiteX88" fmla="*/ 375013 w 4848391"/>
                  <a:gd name="connsiteY88" fmla="*/ 2327153 h 4743384"/>
                  <a:gd name="connsiteX89" fmla="*/ 90318 w 4848391"/>
                  <a:gd name="connsiteY89" fmla="*/ 2327153 h 4743384"/>
                  <a:gd name="connsiteX90" fmla="*/ 2327202 w 4848391"/>
                  <a:gd name="connsiteY90" fmla="*/ 90269 h 4743384"/>
                  <a:gd name="connsiteX91" fmla="*/ 90308 w 4848391"/>
                  <a:gd name="connsiteY91" fmla="*/ 2416610 h 4743384"/>
                  <a:gd name="connsiteX92" fmla="*/ 375003 w 4848391"/>
                  <a:gd name="connsiteY92" fmla="*/ 2416610 h 4743384"/>
                  <a:gd name="connsiteX93" fmla="*/ 2327182 w 4848391"/>
                  <a:gd name="connsiteY93" fmla="*/ 4368789 h 4743384"/>
                  <a:gd name="connsiteX94" fmla="*/ 2327182 w 4848391"/>
                  <a:gd name="connsiteY94" fmla="*/ 4653484 h 4743384"/>
                  <a:gd name="connsiteX95" fmla="*/ 90298 w 4848391"/>
                  <a:gd name="connsiteY95" fmla="*/ 2416601 h 4743384"/>
                  <a:gd name="connsiteX96" fmla="*/ 2416738 w 4848391"/>
                  <a:gd name="connsiteY96" fmla="*/ 4653494 h 4743384"/>
                  <a:gd name="connsiteX97" fmla="*/ 2416738 w 4848391"/>
                  <a:gd name="connsiteY97" fmla="*/ 4368799 h 4743384"/>
                  <a:gd name="connsiteX98" fmla="*/ 4368917 w 4848391"/>
                  <a:gd name="connsiteY98" fmla="*/ 2416620 h 4743384"/>
                  <a:gd name="connsiteX99" fmla="*/ 4653611 w 4848391"/>
                  <a:gd name="connsiteY99" fmla="*/ 2416620 h 4743384"/>
                  <a:gd name="connsiteX100" fmla="*/ 2416728 w 4848391"/>
                  <a:gd name="connsiteY100" fmla="*/ 4653504 h 4743384"/>
                  <a:gd name="connsiteX101" fmla="*/ 4690067 w 4848391"/>
                  <a:gd name="connsiteY101" fmla="*/ 1660859 h 4743384"/>
                  <a:gd name="connsiteX102" fmla="*/ 4597415 w 4848391"/>
                  <a:gd name="connsiteY102" fmla="*/ 1821326 h 4743384"/>
                  <a:gd name="connsiteX103" fmla="*/ 4573458 w 4848391"/>
                  <a:gd name="connsiteY103" fmla="*/ 1839581 h 4743384"/>
                  <a:gd name="connsiteX104" fmla="*/ 4543455 w 4848391"/>
                  <a:gd name="connsiteY104" fmla="*/ 1835678 h 4743384"/>
                  <a:gd name="connsiteX105" fmla="*/ 4458075 w 4848391"/>
                  <a:gd name="connsiteY105" fmla="*/ 1786463 h 4743384"/>
                  <a:gd name="connsiteX106" fmla="*/ 4455434 w 4848391"/>
                  <a:gd name="connsiteY106" fmla="*/ 1785314 h 4743384"/>
                  <a:gd name="connsiteX107" fmla="*/ 4450842 w 4848391"/>
                  <a:gd name="connsiteY107" fmla="*/ 1783248 h 4743384"/>
                  <a:gd name="connsiteX108" fmla="*/ 4446900 w 4848391"/>
                  <a:gd name="connsiteY108" fmla="*/ 1782100 h 4743384"/>
                  <a:gd name="connsiteX109" fmla="*/ 4442499 w 4848391"/>
                  <a:gd name="connsiteY109" fmla="*/ 1781105 h 4743384"/>
                  <a:gd name="connsiteX110" fmla="*/ 4438174 w 4848391"/>
                  <a:gd name="connsiteY110" fmla="*/ 1780760 h 4743384"/>
                  <a:gd name="connsiteX111" fmla="*/ 4433964 w 4848391"/>
                  <a:gd name="connsiteY111" fmla="*/ 1780646 h 4743384"/>
                  <a:gd name="connsiteX112" fmla="*/ 4429755 w 4848391"/>
                  <a:gd name="connsiteY112" fmla="*/ 1781143 h 4743384"/>
                  <a:gd name="connsiteX113" fmla="*/ 4425469 w 4848391"/>
                  <a:gd name="connsiteY113" fmla="*/ 1781870 h 4743384"/>
                  <a:gd name="connsiteX114" fmla="*/ 4421527 w 4848391"/>
                  <a:gd name="connsiteY114" fmla="*/ 1783095 h 4743384"/>
                  <a:gd name="connsiteX115" fmla="*/ 4417317 w 4848391"/>
                  <a:gd name="connsiteY115" fmla="*/ 1784702 h 4743384"/>
                  <a:gd name="connsiteX116" fmla="*/ 4413643 w 4848391"/>
                  <a:gd name="connsiteY116" fmla="*/ 1786730 h 4743384"/>
                  <a:gd name="connsiteX117" fmla="*/ 4409931 w 4848391"/>
                  <a:gd name="connsiteY117" fmla="*/ 1789027 h 4743384"/>
                  <a:gd name="connsiteX118" fmla="*/ 4406372 w 4848391"/>
                  <a:gd name="connsiteY118" fmla="*/ 1791973 h 4743384"/>
                  <a:gd name="connsiteX119" fmla="*/ 4403884 w 4848391"/>
                  <a:gd name="connsiteY119" fmla="*/ 1794040 h 4743384"/>
                  <a:gd name="connsiteX120" fmla="*/ 4303042 w 4848391"/>
                  <a:gd name="connsiteY120" fmla="*/ 1878655 h 4743384"/>
                  <a:gd name="connsiteX121" fmla="*/ 4300631 w 4848391"/>
                  <a:gd name="connsiteY121" fmla="*/ 1880683 h 4743384"/>
                  <a:gd name="connsiteX122" fmla="*/ 4296995 w 4848391"/>
                  <a:gd name="connsiteY122" fmla="*/ 1883745 h 4743384"/>
                  <a:gd name="connsiteX123" fmla="*/ 4294125 w 4848391"/>
                  <a:gd name="connsiteY123" fmla="*/ 1886998 h 4743384"/>
                  <a:gd name="connsiteX124" fmla="*/ 4291446 w 4848391"/>
                  <a:gd name="connsiteY124" fmla="*/ 1890404 h 4743384"/>
                  <a:gd name="connsiteX125" fmla="*/ 4289188 w 4848391"/>
                  <a:gd name="connsiteY125" fmla="*/ 1894193 h 4743384"/>
                  <a:gd name="connsiteX126" fmla="*/ 4287275 w 4848391"/>
                  <a:gd name="connsiteY126" fmla="*/ 1897905 h 4743384"/>
                  <a:gd name="connsiteX127" fmla="*/ 4285897 w 4848391"/>
                  <a:gd name="connsiteY127" fmla="*/ 1901962 h 4743384"/>
                  <a:gd name="connsiteX128" fmla="*/ 4284672 w 4848391"/>
                  <a:gd name="connsiteY128" fmla="*/ 1906133 h 4743384"/>
                  <a:gd name="connsiteX129" fmla="*/ 4284060 w 4848391"/>
                  <a:gd name="connsiteY129" fmla="*/ 1910189 h 4743384"/>
                  <a:gd name="connsiteX130" fmla="*/ 4283639 w 4848391"/>
                  <a:gd name="connsiteY130" fmla="*/ 1914705 h 4743384"/>
                  <a:gd name="connsiteX131" fmla="*/ 4283869 w 4848391"/>
                  <a:gd name="connsiteY131" fmla="*/ 1918992 h 4743384"/>
                  <a:gd name="connsiteX132" fmla="*/ 4284290 w 4848391"/>
                  <a:gd name="connsiteY132" fmla="*/ 1923316 h 4743384"/>
                  <a:gd name="connsiteX133" fmla="*/ 4285438 w 4848391"/>
                  <a:gd name="connsiteY133" fmla="*/ 1927909 h 4743384"/>
                  <a:gd name="connsiteX134" fmla="*/ 4286203 w 4848391"/>
                  <a:gd name="connsiteY134" fmla="*/ 1930932 h 4743384"/>
                  <a:gd name="connsiteX135" fmla="*/ 4319881 w 4848391"/>
                  <a:gd name="connsiteY135" fmla="*/ 2023469 h 4743384"/>
                  <a:gd name="connsiteX136" fmla="*/ 4318503 w 4848391"/>
                  <a:gd name="connsiteY136" fmla="*/ 2053702 h 4743384"/>
                  <a:gd name="connsiteX137" fmla="*/ 4296383 w 4848391"/>
                  <a:gd name="connsiteY137" fmla="*/ 2074099 h 4743384"/>
                  <a:gd name="connsiteX138" fmla="*/ 4122259 w 4848391"/>
                  <a:gd name="connsiteY138" fmla="*/ 2137514 h 4743384"/>
                  <a:gd name="connsiteX139" fmla="*/ 4071627 w 4848391"/>
                  <a:gd name="connsiteY139" fmla="*/ 2113862 h 4743384"/>
                  <a:gd name="connsiteX140" fmla="*/ 4037873 w 4848391"/>
                  <a:gd name="connsiteY140" fmla="*/ 2021249 h 4743384"/>
                  <a:gd name="connsiteX141" fmla="*/ 4036265 w 4848391"/>
                  <a:gd name="connsiteY141" fmla="*/ 2017843 h 4743384"/>
                  <a:gd name="connsiteX142" fmla="*/ 4034581 w 4848391"/>
                  <a:gd name="connsiteY142" fmla="*/ 2014398 h 4743384"/>
                  <a:gd name="connsiteX143" fmla="*/ 4031635 w 4848391"/>
                  <a:gd name="connsiteY143" fmla="*/ 2009997 h 4743384"/>
                  <a:gd name="connsiteX144" fmla="*/ 4029644 w 4848391"/>
                  <a:gd name="connsiteY144" fmla="*/ 2007357 h 4743384"/>
                  <a:gd name="connsiteX145" fmla="*/ 4025741 w 4848391"/>
                  <a:gd name="connsiteY145" fmla="*/ 2003453 h 4743384"/>
                  <a:gd name="connsiteX146" fmla="*/ 4023445 w 4848391"/>
                  <a:gd name="connsiteY146" fmla="*/ 2001425 h 4743384"/>
                  <a:gd name="connsiteX147" fmla="*/ 4018929 w 4848391"/>
                  <a:gd name="connsiteY147" fmla="*/ 1998363 h 4743384"/>
                  <a:gd name="connsiteX148" fmla="*/ 4016135 w 4848391"/>
                  <a:gd name="connsiteY148" fmla="*/ 1996718 h 4743384"/>
                  <a:gd name="connsiteX149" fmla="*/ 4011313 w 4848391"/>
                  <a:gd name="connsiteY149" fmla="*/ 1994689 h 4743384"/>
                  <a:gd name="connsiteX150" fmla="*/ 4008060 w 4848391"/>
                  <a:gd name="connsiteY150" fmla="*/ 1993541 h 4743384"/>
                  <a:gd name="connsiteX151" fmla="*/ 4002970 w 4848391"/>
                  <a:gd name="connsiteY151" fmla="*/ 1992508 h 4743384"/>
                  <a:gd name="connsiteX152" fmla="*/ 3999449 w 4848391"/>
                  <a:gd name="connsiteY152" fmla="*/ 1991972 h 4743384"/>
                  <a:gd name="connsiteX153" fmla="*/ 3994245 w 4848391"/>
                  <a:gd name="connsiteY153" fmla="*/ 1991972 h 4743384"/>
                  <a:gd name="connsiteX154" fmla="*/ 3991374 w 4848391"/>
                  <a:gd name="connsiteY154" fmla="*/ 1991972 h 4743384"/>
                  <a:gd name="connsiteX155" fmla="*/ 3859652 w 4848391"/>
                  <a:gd name="connsiteY155" fmla="*/ 1991972 h 4743384"/>
                  <a:gd name="connsiteX156" fmla="*/ 3856705 w 4848391"/>
                  <a:gd name="connsiteY156" fmla="*/ 1991972 h 4743384"/>
                  <a:gd name="connsiteX157" fmla="*/ 3851730 w 4848391"/>
                  <a:gd name="connsiteY157" fmla="*/ 1991972 h 4743384"/>
                  <a:gd name="connsiteX158" fmla="*/ 3847788 w 4848391"/>
                  <a:gd name="connsiteY158" fmla="*/ 1992585 h 4743384"/>
                  <a:gd name="connsiteX159" fmla="*/ 3843234 w 4848391"/>
                  <a:gd name="connsiteY159" fmla="*/ 1993503 h 4743384"/>
                  <a:gd name="connsiteX160" fmla="*/ 3839407 w 4848391"/>
                  <a:gd name="connsiteY160" fmla="*/ 1994881 h 4743384"/>
                  <a:gd name="connsiteX161" fmla="*/ 3835235 w 4848391"/>
                  <a:gd name="connsiteY161" fmla="*/ 1996641 h 4743384"/>
                  <a:gd name="connsiteX162" fmla="*/ 3831829 w 4848391"/>
                  <a:gd name="connsiteY162" fmla="*/ 1998631 h 4743384"/>
                  <a:gd name="connsiteX163" fmla="*/ 3827926 w 4848391"/>
                  <a:gd name="connsiteY163" fmla="*/ 2001272 h 4743384"/>
                  <a:gd name="connsiteX164" fmla="*/ 3825017 w 4848391"/>
                  <a:gd name="connsiteY164" fmla="*/ 2003797 h 4743384"/>
                  <a:gd name="connsiteX165" fmla="*/ 3821611 w 4848391"/>
                  <a:gd name="connsiteY165" fmla="*/ 2007204 h 4743384"/>
                  <a:gd name="connsiteX166" fmla="*/ 3819124 w 4848391"/>
                  <a:gd name="connsiteY166" fmla="*/ 2010456 h 4743384"/>
                  <a:gd name="connsiteX167" fmla="*/ 3816560 w 4848391"/>
                  <a:gd name="connsiteY167" fmla="*/ 2014245 h 4743384"/>
                  <a:gd name="connsiteX168" fmla="*/ 3814570 w 4848391"/>
                  <a:gd name="connsiteY168" fmla="*/ 2018379 h 4743384"/>
                  <a:gd name="connsiteX169" fmla="*/ 3813192 w 4848391"/>
                  <a:gd name="connsiteY169" fmla="*/ 2021287 h 4743384"/>
                  <a:gd name="connsiteX170" fmla="*/ 3779514 w 4848391"/>
                  <a:gd name="connsiteY170" fmla="*/ 2113900 h 4743384"/>
                  <a:gd name="connsiteX171" fmla="*/ 3728883 w 4848391"/>
                  <a:gd name="connsiteY171" fmla="*/ 2137552 h 4743384"/>
                  <a:gd name="connsiteX172" fmla="*/ 3554758 w 4848391"/>
                  <a:gd name="connsiteY172" fmla="*/ 2074138 h 4743384"/>
                  <a:gd name="connsiteX173" fmla="*/ 3532638 w 4848391"/>
                  <a:gd name="connsiteY173" fmla="*/ 2053664 h 4743384"/>
                  <a:gd name="connsiteX174" fmla="*/ 3531260 w 4848391"/>
                  <a:gd name="connsiteY174" fmla="*/ 2023507 h 4743384"/>
                  <a:gd name="connsiteX175" fmla="*/ 3564900 w 4848391"/>
                  <a:gd name="connsiteY175" fmla="*/ 1930894 h 4743384"/>
                  <a:gd name="connsiteX176" fmla="*/ 3565665 w 4848391"/>
                  <a:gd name="connsiteY176" fmla="*/ 1927985 h 4743384"/>
                  <a:gd name="connsiteX177" fmla="*/ 3566890 w 4848391"/>
                  <a:gd name="connsiteY177" fmla="*/ 1923278 h 4743384"/>
                  <a:gd name="connsiteX178" fmla="*/ 3567311 w 4848391"/>
                  <a:gd name="connsiteY178" fmla="*/ 1919068 h 4743384"/>
                  <a:gd name="connsiteX179" fmla="*/ 3567540 w 4848391"/>
                  <a:gd name="connsiteY179" fmla="*/ 1914667 h 4743384"/>
                  <a:gd name="connsiteX180" fmla="*/ 3567119 w 4848391"/>
                  <a:gd name="connsiteY180" fmla="*/ 1910228 h 4743384"/>
                  <a:gd name="connsiteX181" fmla="*/ 3566507 w 4848391"/>
                  <a:gd name="connsiteY181" fmla="*/ 1906171 h 4743384"/>
                  <a:gd name="connsiteX182" fmla="*/ 3565282 w 4848391"/>
                  <a:gd name="connsiteY182" fmla="*/ 1901962 h 4743384"/>
                  <a:gd name="connsiteX183" fmla="*/ 3563905 w 4848391"/>
                  <a:gd name="connsiteY183" fmla="*/ 1897943 h 4743384"/>
                  <a:gd name="connsiteX184" fmla="*/ 3561915 w 4848391"/>
                  <a:gd name="connsiteY184" fmla="*/ 1894154 h 4743384"/>
                  <a:gd name="connsiteX185" fmla="*/ 3559733 w 4848391"/>
                  <a:gd name="connsiteY185" fmla="*/ 1890442 h 4743384"/>
                  <a:gd name="connsiteX186" fmla="*/ 3556940 w 4848391"/>
                  <a:gd name="connsiteY186" fmla="*/ 1886921 h 4743384"/>
                  <a:gd name="connsiteX187" fmla="*/ 3554184 w 4848391"/>
                  <a:gd name="connsiteY187" fmla="*/ 1883783 h 4743384"/>
                  <a:gd name="connsiteX188" fmla="*/ 3550357 w 4848391"/>
                  <a:gd name="connsiteY188" fmla="*/ 1880530 h 4743384"/>
                  <a:gd name="connsiteX189" fmla="*/ 3548099 w 4848391"/>
                  <a:gd name="connsiteY189" fmla="*/ 1878655 h 4743384"/>
                  <a:gd name="connsiteX190" fmla="*/ 3447257 w 4848391"/>
                  <a:gd name="connsiteY190" fmla="*/ 1794040 h 4743384"/>
                  <a:gd name="connsiteX191" fmla="*/ 3445114 w 4848391"/>
                  <a:gd name="connsiteY191" fmla="*/ 1792279 h 4743384"/>
                  <a:gd name="connsiteX192" fmla="*/ 3441172 w 4848391"/>
                  <a:gd name="connsiteY192" fmla="*/ 1788950 h 4743384"/>
                  <a:gd name="connsiteX193" fmla="*/ 3437843 w 4848391"/>
                  <a:gd name="connsiteY193" fmla="*/ 1786922 h 4743384"/>
                  <a:gd name="connsiteX194" fmla="*/ 3433671 w 4848391"/>
                  <a:gd name="connsiteY194" fmla="*/ 1784625 h 4743384"/>
                  <a:gd name="connsiteX195" fmla="*/ 3429959 w 4848391"/>
                  <a:gd name="connsiteY195" fmla="*/ 1783248 h 4743384"/>
                  <a:gd name="connsiteX196" fmla="*/ 3425520 w 4848391"/>
                  <a:gd name="connsiteY196" fmla="*/ 1781870 h 4743384"/>
                  <a:gd name="connsiteX197" fmla="*/ 3421808 w 4848391"/>
                  <a:gd name="connsiteY197" fmla="*/ 1781258 h 4743384"/>
                  <a:gd name="connsiteX198" fmla="*/ 3416985 w 4848391"/>
                  <a:gd name="connsiteY198" fmla="*/ 1780760 h 4743384"/>
                  <a:gd name="connsiteX199" fmla="*/ 3413350 w 4848391"/>
                  <a:gd name="connsiteY199" fmla="*/ 1780799 h 4743384"/>
                  <a:gd name="connsiteX200" fmla="*/ 3408413 w 4848391"/>
                  <a:gd name="connsiteY200" fmla="*/ 1781220 h 4743384"/>
                  <a:gd name="connsiteX201" fmla="*/ 3404701 w 4848391"/>
                  <a:gd name="connsiteY201" fmla="*/ 1782100 h 4743384"/>
                  <a:gd name="connsiteX202" fmla="*/ 3400147 w 4848391"/>
                  <a:gd name="connsiteY202" fmla="*/ 1783401 h 4743384"/>
                  <a:gd name="connsiteX203" fmla="*/ 3396128 w 4848391"/>
                  <a:gd name="connsiteY203" fmla="*/ 1785199 h 4743384"/>
                  <a:gd name="connsiteX204" fmla="*/ 3393067 w 4848391"/>
                  <a:gd name="connsiteY204" fmla="*/ 1786577 h 4743384"/>
                  <a:gd name="connsiteX205" fmla="*/ 3307686 w 4848391"/>
                  <a:gd name="connsiteY205" fmla="*/ 1835830 h 4743384"/>
                  <a:gd name="connsiteX206" fmla="*/ 3277721 w 4848391"/>
                  <a:gd name="connsiteY206" fmla="*/ 1839657 h 4743384"/>
                  <a:gd name="connsiteX207" fmla="*/ 3253688 w 4848391"/>
                  <a:gd name="connsiteY207" fmla="*/ 1821326 h 4743384"/>
                  <a:gd name="connsiteX208" fmla="*/ 3161074 w 4848391"/>
                  <a:gd name="connsiteY208" fmla="*/ 1660898 h 4743384"/>
                  <a:gd name="connsiteX209" fmla="*/ 3175541 w 4848391"/>
                  <a:gd name="connsiteY209" fmla="*/ 1606861 h 4743384"/>
                  <a:gd name="connsiteX210" fmla="*/ 3260730 w 4848391"/>
                  <a:gd name="connsiteY210" fmla="*/ 1557684 h 4743384"/>
                  <a:gd name="connsiteX211" fmla="*/ 3263141 w 4848391"/>
                  <a:gd name="connsiteY211" fmla="*/ 1556000 h 4743384"/>
                  <a:gd name="connsiteX212" fmla="*/ 3267159 w 4848391"/>
                  <a:gd name="connsiteY212" fmla="*/ 1553091 h 4743384"/>
                  <a:gd name="connsiteX213" fmla="*/ 3270183 w 4848391"/>
                  <a:gd name="connsiteY213" fmla="*/ 1550183 h 4743384"/>
                  <a:gd name="connsiteX214" fmla="*/ 3273206 w 4848391"/>
                  <a:gd name="connsiteY214" fmla="*/ 1546891 h 4743384"/>
                  <a:gd name="connsiteX215" fmla="*/ 3275731 w 4848391"/>
                  <a:gd name="connsiteY215" fmla="*/ 1543332 h 4743384"/>
                  <a:gd name="connsiteX216" fmla="*/ 3277913 w 4848391"/>
                  <a:gd name="connsiteY216" fmla="*/ 1539773 h 4743384"/>
                  <a:gd name="connsiteX217" fmla="*/ 3279674 w 4848391"/>
                  <a:gd name="connsiteY217" fmla="*/ 1535831 h 4743384"/>
                  <a:gd name="connsiteX218" fmla="*/ 3281166 w 4848391"/>
                  <a:gd name="connsiteY218" fmla="*/ 1531775 h 4743384"/>
                  <a:gd name="connsiteX219" fmla="*/ 3282084 w 4848391"/>
                  <a:gd name="connsiteY219" fmla="*/ 1527642 h 4743384"/>
                  <a:gd name="connsiteX220" fmla="*/ 3282850 w 4848391"/>
                  <a:gd name="connsiteY220" fmla="*/ 1523317 h 4743384"/>
                  <a:gd name="connsiteX221" fmla="*/ 3282965 w 4848391"/>
                  <a:gd name="connsiteY221" fmla="*/ 1518878 h 4743384"/>
                  <a:gd name="connsiteX222" fmla="*/ 3282850 w 4848391"/>
                  <a:gd name="connsiteY222" fmla="*/ 1514668 h 4743384"/>
                  <a:gd name="connsiteX223" fmla="*/ 3281970 w 4848391"/>
                  <a:gd name="connsiteY223" fmla="*/ 1509770 h 4743384"/>
                  <a:gd name="connsiteX224" fmla="*/ 3281472 w 4848391"/>
                  <a:gd name="connsiteY224" fmla="*/ 1506861 h 4743384"/>
                  <a:gd name="connsiteX225" fmla="*/ 3258740 w 4848391"/>
                  <a:gd name="connsiteY225" fmla="*/ 1377127 h 4743384"/>
                  <a:gd name="connsiteX226" fmla="*/ 3258204 w 4848391"/>
                  <a:gd name="connsiteY226" fmla="*/ 1374257 h 4743384"/>
                  <a:gd name="connsiteX227" fmla="*/ 3257324 w 4848391"/>
                  <a:gd name="connsiteY227" fmla="*/ 1369320 h 4743384"/>
                  <a:gd name="connsiteX228" fmla="*/ 3255946 w 4848391"/>
                  <a:gd name="connsiteY228" fmla="*/ 1365187 h 4743384"/>
                  <a:gd name="connsiteX229" fmla="*/ 3254454 w 4848391"/>
                  <a:gd name="connsiteY229" fmla="*/ 1361360 h 4743384"/>
                  <a:gd name="connsiteX230" fmla="*/ 3251966 w 4848391"/>
                  <a:gd name="connsiteY230" fmla="*/ 1357035 h 4743384"/>
                  <a:gd name="connsiteX231" fmla="*/ 3250091 w 4848391"/>
                  <a:gd name="connsiteY231" fmla="*/ 1354127 h 4743384"/>
                  <a:gd name="connsiteX232" fmla="*/ 3246647 w 4848391"/>
                  <a:gd name="connsiteY232" fmla="*/ 1350070 h 4743384"/>
                  <a:gd name="connsiteX233" fmla="*/ 3244465 w 4848391"/>
                  <a:gd name="connsiteY233" fmla="*/ 1347774 h 4743384"/>
                  <a:gd name="connsiteX234" fmla="*/ 3240179 w 4848391"/>
                  <a:gd name="connsiteY234" fmla="*/ 1344368 h 4743384"/>
                  <a:gd name="connsiteX235" fmla="*/ 3237653 w 4848391"/>
                  <a:gd name="connsiteY235" fmla="*/ 1342493 h 4743384"/>
                  <a:gd name="connsiteX236" fmla="*/ 3232601 w 4848391"/>
                  <a:gd name="connsiteY236" fmla="*/ 1339928 h 4743384"/>
                  <a:gd name="connsiteX237" fmla="*/ 3229808 w 4848391"/>
                  <a:gd name="connsiteY237" fmla="*/ 1338704 h 4743384"/>
                  <a:gd name="connsiteX238" fmla="*/ 3224144 w 4848391"/>
                  <a:gd name="connsiteY238" fmla="*/ 1337097 h 4743384"/>
                  <a:gd name="connsiteX239" fmla="*/ 3221847 w 4848391"/>
                  <a:gd name="connsiteY239" fmla="*/ 1336446 h 4743384"/>
                  <a:gd name="connsiteX240" fmla="*/ 3124756 w 4848391"/>
                  <a:gd name="connsiteY240" fmla="*/ 1319263 h 4743384"/>
                  <a:gd name="connsiteX241" fmla="*/ 3099344 w 4848391"/>
                  <a:gd name="connsiteY241" fmla="*/ 1303037 h 4743384"/>
                  <a:gd name="connsiteX242" fmla="*/ 3092762 w 4848391"/>
                  <a:gd name="connsiteY242" fmla="*/ 1273569 h 4743384"/>
                  <a:gd name="connsiteX243" fmla="*/ 3124908 w 4848391"/>
                  <a:gd name="connsiteY243" fmla="*/ 1091019 h 4743384"/>
                  <a:gd name="connsiteX244" fmla="*/ 3170679 w 4848391"/>
                  <a:gd name="connsiteY244" fmla="*/ 1058987 h 4743384"/>
                  <a:gd name="connsiteX245" fmla="*/ 3267579 w 4848391"/>
                  <a:gd name="connsiteY245" fmla="*/ 1076055 h 4743384"/>
                  <a:gd name="connsiteX246" fmla="*/ 3271903 w 4848391"/>
                  <a:gd name="connsiteY246" fmla="*/ 1076400 h 4743384"/>
                  <a:gd name="connsiteX247" fmla="*/ 3275348 w 4848391"/>
                  <a:gd name="connsiteY247" fmla="*/ 1076783 h 4743384"/>
                  <a:gd name="connsiteX248" fmla="*/ 3276113 w 4848391"/>
                  <a:gd name="connsiteY248" fmla="*/ 1076744 h 4743384"/>
                  <a:gd name="connsiteX249" fmla="*/ 3278026 w 4848391"/>
                  <a:gd name="connsiteY249" fmla="*/ 1076591 h 4743384"/>
                  <a:gd name="connsiteX250" fmla="*/ 3283958 w 4848391"/>
                  <a:gd name="connsiteY250" fmla="*/ 1075826 h 4743384"/>
                  <a:gd name="connsiteX251" fmla="*/ 3286446 w 4848391"/>
                  <a:gd name="connsiteY251" fmla="*/ 1075290 h 4743384"/>
                  <a:gd name="connsiteX252" fmla="*/ 3292684 w 4848391"/>
                  <a:gd name="connsiteY252" fmla="*/ 1073223 h 4743384"/>
                  <a:gd name="connsiteX253" fmla="*/ 3293832 w 4848391"/>
                  <a:gd name="connsiteY253" fmla="*/ 1072803 h 4743384"/>
                  <a:gd name="connsiteX254" fmla="*/ 3300261 w 4848391"/>
                  <a:gd name="connsiteY254" fmla="*/ 1069167 h 4743384"/>
                  <a:gd name="connsiteX255" fmla="*/ 3302290 w 4848391"/>
                  <a:gd name="connsiteY255" fmla="*/ 1067674 h 4743384"/>
                  <a:gd name="connsiteX256" fmla="*/ 3306308 w 4848391"/>
                  <a:gd name="connsiteY256" fmla="*/ 1064230 h 4743384"/>
                  <a:gd name="connsiteX257" fmla="*/ 3308184 w 4848391"/>
                  <a:gd name="connsiteY257" fmla="*/ 1062355 h 4743384"/>
                  <a:gd name="connsiteX258" fmla="*/ 3312355 w 4848391"/>
                  <a:gd name="connsiteY258" fmla="*/ 1057150 h 4743384"/>
                  <a:gd name="connsiteX259" fmla="*/ 3313580 w 4848391"/>
                  <a:gd name="connsiteY259" fmla="*/ 1055122 h 4743384"/>
                  <a:gd name="connsiteX260" fmla="*/ 3316105 w 4848391"/>
                  <a:gd name="connsiteY260" fmla="*/ 1050529 h 4743384"/>
                  <a:gd name="connsiteX261" fmla="*/ 3382045 w 4848391"/>
                  <a:gd name="connsiteY261" fmla="*/ 936481 h 4743384"/>
                  <a:gd name="connsiteX262" fmla="*/ 3383537 w 4848391"/>
                  <a:gd name="connsiteY262" fmla="*/ 933840 h 4743384"/>
                  <a:gd name="connsiteX263" fmla="*/ 3386025 w 4848391"/>
                  <a:gd name="connsiteY263" fmla="*/ 929631 h 4743384"/>
                  <a:gd name="connsiteX264" fmla="*/ 3387556 w 4848391"/>
                  <a:gd name="connsiteY264" fmla="*/ 925689 h 4743384"/>
                  <a:gd name="connsiteX265" fmla="*/ 3388934 w 4848391"/>
                  <a:gd name="connsiteY265" fmla="*/ 921556 h 4743384"/>
                  <a:gd name="connsiteX266" fmla="*/ 3389775 w 4848391"/>
                  <a:gd name="connsiteY266" fmla="*/ 917116 h 4743384"/>
                  <a:gd name="connsiteX267" fmla="*/ 3390273 w 4848391"/>
                  <a:gd name="connsiteY267" fmla="*/ 913060 h 4743384"/>
                  <a:gd name="connsiteX268" fmla="*/ 3390273 w 4848391"/>
                  <a:gd name="connsiteY268" fmla="*/ 908658 h 4743384"/>
                  <a:gd name="connsiteX269" fmla="*/ 3390005 w 4848391"/>
                  <a:gd name="connsiteY269" fmla="*/ 904449 h 4743384"/>
                  <a:gd name="connsiteX270" fmla="*/ 3389125 w 4848391"/>
                  <a:gd name="connsiteY270" fmla="*/ 900277 h 4743384"/>
                  <a:gd name="connsiteX271" fmla="*/ 3387977 w 4848391"/>
                  <a:gd name="connsiteY271" fmla="*/ 896106 h 4743384"/>
                  <a:gd name="connsiteX272" fmla="*/ 3386293 w 4848391"/>
                  <a:gd name="connsiteY272" fmla="*/ 891934 h 4743384"/>
                  <a:gd name="connsiteX273" fmla="*/ 3384494 w 4848391"/>
                  <a:gd name="connsiteY273" fmla="*/ 888222 h 4743384"/>
                  <a:gd name="connsiteX274" fmla="*/ 3381624 w 4848391"/>
                  <a:gd name="connsiteY274" fmla="*/ 884051 h 4743384"/>
                  <a:gd name="connsiteX275" fmla="*/ 3380017 w 4848391"/>
                  <a:gd name="connsiteY275" fmla="*/ 881640 h 4743384"/>
                  <a:gd name="connsiteX276" fmla="*/ 3316756 w 4848391"/>
                  <a:gd name="connsiteY276" fmla="*/ 806133 h 4743384"/>
                  <a:gd name="connsiteX277" fmla="*/ 3321655 w 4848391"/>
                  <a:gd name="connsiteY277" fmla="*/ 750488 h 4743384"/>
                  <a:gd name="connsiteX278" fmla="*/ 3463596 w 4848391"/>
                  <a:gd name="connsiteY278" fmla="*/ 631394 h 4743384"/>
                  <a:gd name="connsiteX279" fmla="*/ 3519241 w 4848391"/>
                  <a:gd name="connsiteY279" fmla="*/ 636216 h 4743384"/>
                  <a:gd name="connsiteX280" fmla="*/ 3582463 w 4848391"/>
                  <a:gd name="connsiteY280" fmla="*/ 711647 h 4743384"/>
                  <a:gd name="connsiteX281" fmla="*/ 3583075 w 4848391"/>
                  <a:gd name="connsiteY281" fmla="*/ 712182 h 4743384"/>
                  <a:gd name="connsiteX282" fmla="*/ 3588663 w 4848391"/>
                  <a:gd name="connsiteY282" fmla="*/ 717617 h 4743384"/>
                  <a:gd name="connsiteX283" fmla="*/ 3590270 w 4848391"/>
                  <a:gd name="connsiteY283" fmla="*/ 718765 h 4743384"/>
                  <a:gd name="connsiteX284" fmla="*/ 3595207 w 4848391"/>
                  <a:gd name="connsiteY284" fmla="*/ 721941 h 4743384"/>
                  <a:gd name="connsiteX285" fmla="*/ 3597580 w 4848391"/>
                  <a:gd name="connsiteY285" fmla="*/ 723166 h 4743384"/>
                  <a:gd name="connsiteX286" fmla="*/ 3603626 w 4848391"/>
                  <a:gd name="connsiteY286" fmla="*/ 725577 h 4743384"/>
                  <a:gd name="connsiteX287" fmla="*/ 3604736 w 4848391"/>
                  <a:gd name="connsiteY287" fmla="*/ 725921 h 4743384"/>
                  <a:gd name="connsiteX288" fmla="*/ 3612084 w 4848391"/>
                  <a:gd name="connsiteY288" fmla="*/ 727299 h 4743384"/>
                  <a:gd name="connsiteX289" fmla="*/ 3614342 w 4848391"/>
                  <a:gd name="connsiteY289" fmla="*/ 727452 h 4743384"/>
                  <a:gd name="connsiteX290" fmla="*/ 3616906 w 4848391"/>
                  <a:gd name="connsiteY290" fmla="*/ 727605 h 4743384"/>
                  <a:gd name="connsiteX291" fmla="*/ 3618896 w 4848391"/>
                  <a:gd name="connsiteY291" fmla="*/ 727376 h 4743384"/>
                  <a:gd name="connsiteX292" fmla="*/ 3624598 w 4848391"/>
                  <a:gd name="connsiteY292" fmla="*/ 726763 h 4743384"/>
                  <a:gd name="connsiteX293" fmla="*/ 3628043 w 4848391"/>
                  <a:gd name="connsiteY293" fmla="*/ 726036 h 4743384"/>
                  <a:gd name="connsiteX294" fmla="*/ 3634127 w 4848391"/>
                  <a:gd name="connsiteY294" fmla="*/ 723893 h 4743384"/>
                  <a:gd name="connsiteX295" fmla="*/ 3636309 w 4848391"/>
                  <a:gd name="connsiteY295" fmla="*/ 723128 h 4743384"/>
                  <a:gd name="connsiteX296" fmla="*/ 3759958 w 4848391"/>
                  <a:gd name="connsiteY296" fmla="*/ 678121 h 4743384"/>
                  <a:gd name="connsiteX297" fmla="*/ 3762867 w 4848391"/>
                  <a:gd name="connsiteY297" fmla="*/ 677012 h 4743384"/>
                  <a:gd name="connsiteX298" fmla="*/ 3767460 w 4848391"/>
                  <a:gd name="connsiteY298" fmla="*/ 675366 h 4743384"/>
                  <a:gd name="connsiteX299" fmla="*/ 3771172 w 4848391"/>
                  <a:gd name="connsiteY299" fmla="*/ 673338 h 4743384"/>
                  <a:gd name="connsiteX300" fmla="*/ 3774846 w 4848391"/>
                  <a:gd name="connsiteY300" fmla="*/ 671042 h 4743384"/>
                  <a:gd name="connsiteX301" fmla="*/ 3778290 w 4848391"/>
                  <a:gd name="connsiteY301" fmla="*/ 668171 h 4743384"/>
                  <a:gd name="connsiteX302" fmla="*/ 3781352 w 4848391"/>
                  <a:gd name="connsiteY302" fmla="*/ 665377 h 4743384"/>
                  <a:gd name="connsiteX303" fmla="*/ 3784145 w 4848391"/>
                  <a:gd name="connsiteY303" fmla="*/ 662048 h 4743384"/>
                  <a:gd name="connsiteX304" fmla="*/ 3786671 w 4848391"/>
                  <a:gd name="connsiteY304" fmla="*/ 658604 h 4743384"/>
                  <a:gd name="connsiteX305" fmla="*/ 3788661 w 4848391"/>
                  <a:gd name="connsiteY305" fmla="*/ 654930 h 4743384"/>
                  <a:gd name="connsiteX306" fmla="*/ 3790575 w 4848391"/>
                  <a:gd name="connsiteY306" fmla="*/ 650911 h 4743384"/>
                  <a:gd name="connsiteX307" fmla="*/ 3791838 w 4848391"/>
                  <a:gd name="connsiteY307" fmla="*/ 646740 h 4743384"/>
                  <a:gd name="connsiteX308" fmla="*/ 3792948 w 4848391"/>
                  <a:gd name="connsiteY308" fmla="*/ 642607 h 4743384"/>
                  <a:gd name="connsiteX309" fmla="*/ 3793445 w 4848391"/>
                  <a:gd name="connsiteY309" fmla="*/ 637785 h 4743384"/>
                  <a:gd name="connsiteX310" fmla="*/ 3793713 w 4848391"/>
                  <a:gd name="connsiteY310" fmla="*/ 634723 h 4743384"/>
                  <a:gd name="connsiteX311" fmla="*/ 3793713 w 4848391"/>
                  <a:gd name="connsiteY311" fmla="*/ 536252 h 4743384"/>
                  <a:gd name="connsiteX312" fmla="*/ 3833207 w 4848391"/>
                  <a:gd name="connsiteY312" fmla="*/ 496796 h 4743384"/>
                  <a:gd name="connsiteX313" fmla="*/ 4018549 w 4848391"/>
                  <a:gd name="connsiteY313" fmla="*/ 496796 h 4743384"/>
                  <a:gd name="connsiteX314" fmla="*/ 4058044 w 4848391"/>
                  <a:gd name="connsiteY314" fmla="*/ 536252 h 4743384"/>
                  <a:gd name="connsiteX315" fmla="*/ 4058044 w 4848391"/>
                  <a:gd name="connsiteY315" fmla="*/ 634723 h 4743384"/>
                  <a:gd name="connsiteX316" fmla="*/ 4058388 w 4848391"/>
                  <a:gd name="connsiteY316" fmla="*/ 637976 h 4743384"/>
                  <a:gd name="connsiteX317" fmla="*/ 4058886 w 4848391"/>
                  <a:gd name="connsiteY317" fmla="*/ 642645 h 4743384"/>
                  <a:gd name="connsiteX318" fmla="*/ 4059996 w 4848391"/>
                  <a:gd name="connsiteY318" fmla="*/ 646931 h 4743384"/>
                  <a:gd name="connsiteX319" fmla="*/ 4061220 w 4848391"/>
                  <a:gd name="connsiteY319" fmla="*/ 650950 h 4743384"/>
                  <a:gd name="connsiteX320" fmla="*/ 4063210 w 4848391"/>
                  <a:gd name="connsiteY320" fmla="*/ 655121 h 4743384"/>
                  <a:gd name="connsiteX321" fmla="*/ 4065124 w 4848391"/>
                  <a:gd name="connsiteY321" fmla="*/ 658642 h 4743384"/>
                  <a:gd name="connsiteX322" fmla="*/ 4067764 w 4848391"/>
                  <a:gd name="connsiteY322" fmla="*/ 662278 h 4743384"/>
                  <a:gd name="connsiteX323" fmla="*/ 4070405 w 4848391"/>
                  <a:gd name="connsiteY323" fmla="*/ 665454 h 4743384"/>
                  <a:gd name="connsiteX324" fmla="*/ 4073657 w 4848391"/>
                  <a:gd name="connsiteY324" fmla="*/ 668401 h 4743384"/>
                  <a:gd name="connsiteX325" fmla="*/ 4076949 w 4848391"/>
                  <a:gd name="connsiteY325" fmla="*/ 671080 h 4743384"/>
                  <a:gd name="connsiteX326" fmla="*/ 4080853 w 4848391"/>
                  <a:gd name="connsiteY326" fmla="*/ 673453 h 4743384"/>
                  <a:gd name="connsiteX327" fmla="*/ 4084374 w 4848391"/>
                  <a:gd name="connsiteY327" fmla="*/ 675366 h 4743384"/>
                  <a:gd name="connsiteX328" fmla="*/ 4089196 w 4848391"/>
                  <a:gd name="connsiteY328" fmla="*/ 677126 h 4743384"/>
                  <a:gd name="connsiteX329" fmla="*/ 4091951 w 4848391"/>
                  <a:gd name="connsiteY329" fmla="*/ 678160 h 4743384"/>
                  <a:gd name="connsiteX330" fmla="*/ 4215679 w 4848391"/>
                  <a:gd name="connsiteY330" fmla="*/ 723166 h 4743384"/>
                  <a:gd name="connsiteX331" fmla="*/ 4217860 w 4848391"/>
                  <a:gd name="connsiteY331" fmla="*/ 723931 h 4743384"/>
                  <a:gd name="connsiteX332" fmla="*/ 4223831 w 4848391"/>
                  <a:gd name="connsiteY332" fmla="*/ 725998 h 4743384"/>
                  <a:gd name="connsiteX333" fmla="*/ 4227466 w 4848391"/>
                  <a:gd name="connsiteY333" fmla="*/ 726763 h 4743384"/>
                  <a:gd name="connsiteX334" fmla="*/ 4232939 w 4848391"/>
                  <a:gd name="connsiteY334" fmla="*/ 727376 h 4743384"/>
                  <a:gd name="connsiteX335" fmla="*/ 4235005 w 4848391"/>
                  <a:gd name="connsiteY335" fmla="*/ 727605 h 4743384"/>
                  <a:gd name="connsiteX336" fmla="*/ 4237761 w 4848391"/>
                  <a:gd name="connsiteY336" fmla="*/ 727376 h 4743384"/>
                  <a:gd name="connsiteX337" fmla="*/ 4239789 w 4848391"/>
                  <a:gd name="connsiteY337" fmla="*/ 727261 h 4743384"/>
                  <a:gd name="connsiteX338" fmla="*/ 4247367 w 4848391"/>
                  <a:gd name="connsiteY338" fmla="*/ 725883 h 4743384"/>
                  <a:gd name="connsiteX339" fmla="*/ 4247864 w 4848391"/>
                  <a:gd name="connsiteY339" fmla="*/ 725730 h 4743384"/>
                  <a:gd name="connsiteX340" fmla="*/ 4254485 w 4848391"/>
                  <a:gd name="connsiteY340" fmla="*/ 723089 h 4743384"/>
                  <a:gd name="connsiteX341" fmla="*/ 4256552 w 4848391"/>
                  <a:gd name="connsiteY341" fmla="*/ 721980 h 4743384"/>
                  <a:gd name="connsiteX342" fmla="*/ 4261909 w 4848391"/>
                  <a:gd name="connsiteY342" fmla="*/ 718535 h 4743384"/>
                  <a:gd name="connsiteX343" fmla="*/ 4263057 w 4848391"/>
                  <a:gd name="connsiteY343" fmla="*/ 717655 h 4743384"/>
                  <a:gd name="connsiteX344" fmla="*/ 4268836 w 4848391"/>
                  <a:gd name="connsiteY344" fmla="*/ 711991 h 4743384"/>
                  <a:gd name="connsiteX345" fmla="*/ 4269334 w 4848391"/>
                  <a:gd name="connsiteY345" fmla="*/ 711570 h 4743384"/>
                  <a:gd name="connsiteX346" fmla="*/ 4332479 w 4848391"/>
                  <a:gd name="connsiteY346" fmla="*/ 636140 h 4743384"/>
                  <a:gd name="connsiteX347" fmla="*/ 4359269 w 4848391"/>
                  <a:gd name="connsiteY347" fmla="*/ 622324 h 4743384"/>
                  <a:gd name="connsiteX348" fmla="*/ 4388086 w 4848391"/>
                  <a:gd name="connsiteY348" fmla="*/ 631394 h 4743384"/>
                  <a:gd name="connsiteX349" fmla="*/ 4530066 w 4848391"/>
                  <a:gd name="connsiteY349" fmla="*/ 750488 h 4743384"/>
                  <a:gd name="connsiteX350" fmla="*/ 4534965 w 4848391"/>
                  <a:gd name="connsiteY350" fmla="*/ 806171 h 4743384"/>
                  <a:gd name="connsiteX351" fmla="*/ 4471705 w 4848391"/>
                  <a:gd name="connsiteY351" fmla="*/ 881601 h 4743384"/>
                  <a:gd name="connsiteX352" fmla="*/ 4469906 w 4848391"/>
                  <a:gd name="connsiteY352" fmla="*/ 884242 h 4743384"/>
                  <a:gd name="connsiteX353" fmla="*/ 4467265 w 4848391"/>
                  <a:gd name="connsiteY353" fmla="*/ 888069 h 4743384"/>
                  <a:gd name="connsiteX354" fmla="*/ 4465352 w 4848391"/>
                  <a:gd name="connsiteY354" fmla="*/ 892126 h 4743384"/>
                  <a:gd name="connsiteX355" fmla="*/ 4463745 w 4848391"/>
                  <a:gd name="connsiteY355" fmla="*/ 895914 h 4743384"/>
                  <a:gd name="connsiteX356" fmla="*/ 4462597 w 4848391"/>
                  <a:gd name="connsiteY356" fmla="*/ 900468 h 4743384"/>
                  <a:gd name="connsiteX357" fmla="*/ 4461755 w 4848391"/>
                  <a:gd name="connsiteY357" fmla="*/ 904295 h 4743384"/>
                  <a:gd name="connsiteX358" fmla="*/ 4461487 w 4848391"/>
                  <a:gd name="connsiteY358" fmla="*/ 908850 h 4743384"/>
                  <a:gd name="connsiteX359" fmla="*/ 4461448 w 4848391"/>
                  <a:gd name="connsiteY359" fmla="*/ 912906 h 4743384"/>
                  <a:gd name="connsiteX360" fmla="*/ 4461984 w 4848391"/>
                  <a:gd name="connsiteY360" fmla="*/ 917345 h 4743384"/>
                  <a:gd name="connsiteX361" fmla="*/ 4462750 w 4848391"/>
                  <a:gd name="connsiteY361" fmla="*/ 921402 h 4743384"/>
                  <a:gd name="connsiteX362" fmla="*/ 4464242 w 4848391"/>
                  <a:gd name="connsiteY362" fmla="*/ 925841 h 4743384"/>
                  <a:gd name="connsiteX363" fmla="*/ 4465658 w 4848391"/>
                  <a:gd name="connsiteY363" fmla="*/ 929477 h 4743384"/>
                  <a:gd name="connsiteX364" fmla="*/ 4468299 w 4848391"/>
                  <a:gd name="connsiteY364" fmla="*/ 934031 h 4743384"/>
                  <a:gd name="connsiteX365" fmla="*/ 4469600 w 4848391"/>
                  <a:gd name="connsiteY365" fmla="*/ 936404 h 4743384"/>
                  <a:gd name="connsiteX366" fmla="*/ 4535539 w 4848391"/>
                  <a:gd name="connsiteY366" fmla="*/ 1050413 h 4743384"/>
                  <a:gd name="connsiteX367" fmla="*/ 4538410 w 4848391"/>
                  <a:gd name="connsiteY367" fmla="*/ 1055618 h 4743384"/>
                  <a:gd name="connsiteX368" fmla="*/ 4538945 w 4848391"/>
                  <a:gd name="connsiteY368" fmla="*/ 1056536 h 4743384"/>
                  <a:gd name="connsiteX369" fmla="*/ 4543614 w 4848391"/>
                  <a:gd name="connsiteY369" fmla="*/ 1062353 h 4743384"/>
                  <a:gd name="connsiteX370" fmla="*/ 4545222 w 4848391"/>
                  <a:gd name="connsiteY370" fmla="*/ 1063961 h 4743384"/>
                  <a:gd name="connsiteX371" fmla="*/ 4549623 w 4848391"/>
                  <a:gd name="connsiteY371" fmla="*/ 1067673 h 4743384"/>
                  <a:gd name="connsiteX372" fmla="*/ 4551421 w 4848391"/>
                  <a:gd name="connsiteY372" fmla="*/ 1068974 h 4743384"/>
                  <a:gd name="connsiteX373" fmla="*/ 4558004 w 4848391"/>
                  <a:gd name="connsiteY373" fmla="*/ 1072686 h 4743384"/>
                  <a:gd name="connsiteX374" fmla="*/ 4558846 w 4848391"/>
                  <a:gd name="connsiteY374" fmla="*/ 1072954 h 4743384"/>
                  <a:gd name="connsiteX375" fmla="*/ 4565313 w 4848391"/>
                  <a:gd name="connsiteY375" fmla="*/ 1075136 h 4743384"/>
                  <a:gd name="connsiteX376" fmla="*/ 4567724 w 4848391"/>
                  <a:gd name="connsiteY376" fmla="*/ 1075633 h 4743384"/>
                  <a:gd name="connsiteX377" fmla="*/ 4573771 w 4848391"/>
                  <a:gd name="connsiteY377" fmla="*/ 1076399 h 4743384"/>
                  <a:gd name="connsiteX378" fmla="*/ 4575570 w 4848391"/>
                  <a:gd name="connsiteY378" fmla="*/ 1076513 h 4743384"/>
                  <a:gd name="connsiteX379" fmla="*/ 4576335 w 4848391"/>
                  <a:gd name="connsiteY379" fmla="*/ 1076552 h 4743384"/>
                  <a:gd name="connsiteX380" fmla="*/ 4580009 w 4848391"/>
                  <a:gd name="connsiteY380" fmla="*/ 1076169 h 4743384"/>
                  <a:gd name="connsiteX381" fmla="*/ 4584066 w 4848391"/>
                  <a:gd name="connsiteY381" fmla="*/ 1075901 h 4743384"/>
                  <a:gd name="connsiteX382" fmla="*/ 4680889 w 4848391"/>
                  <a:gd name="connsiteY382" fmla="*/ 1058833 h 4743384"/>
                  <a:gd name="connsiteX383" fmla="*/ 4726737 w 4848391"/>
                  <a:gd name="connsiteY383" fmla="*/ 1090864 h 4743384"/>
                  <a:gd name="connsiteX384" fmla="*/ 4758961 w 4848391"/>
                  <a:gd name="connsiteY384" fmla="*/ 1273336 h 4743384"/>
                  <a:gd name="connsiteX385" fmla="*/ 4726929 w 4848391"/>
                  <a:gd name="connsiteY385" fmla="*/ 1319146 h 4743384"/>
                  <a:gd name="connsiteX386" fmla="*/ 4629837 w 4848391"/>
                  <a:gd name="connsiteY386" fmla="*/ 1336214 h 4743384"/>
                  <a:gd name="connsiteX387" fmla="*/ 4626546 w 4848391"/>
                  <a:gd name="connsiteY387" fmla="*/ 1337133 h 4743384"/>
                  <a:gd name="connsiteX388" fmla="*/ 4622260 w 4848391"/>
                  <a:gd name="connsiteY388" fmla="*/ 1338357 h 4743384"/>
                  <a:gd name="connsiteX389" fmla="*/ 4618127 w 4848391"/>
                  <a:gd name="connsiteY389" fmla="*/ 1340233 h 4743384"/>
                  <a:gd name="connsiteX390" fmla="*/ 4614453 w 4848391"/>
                  <a:gd name="connsiteY390" fmla="*/ 1342146 h 4743384"/>
                  <a:gd name="connsiteX391" fmla="*/ 4610817 w 4848391"/>
                  <a:gd name="connsiteY391" fmla="*/ 1344710 h 4743384"/>
                  <a:gd name="connsiteX392" fmla="*/ 4607488 w 4848391"/>
                  <a:gd name="connsiteY392" fmla="*/ 1347274 h 4743384"/>
                  <a:gd name="connsiteX393" fmla="*/ 4604617 w 4848391"/>
                  <a:gd name="connsiteY393" fmla="*/ 1350298 h 4743384"/>
                  <a:gd name="connsiteX394" fmla="*/ 4601671 w 4848391"/>
                  <a:gd name="connsiteY394" fmla="*/ 1353742 h 4743384"/>
                  <a:gd name="connsiteX395" fmla="*/ 4599527 w 4848391"/>
                  <a:gd name="connsiteY395" fmla="*/ 1357033 h 4743384"/>
                  <a:gd name="connsiteX396" fmla="*/ 4597231 w 4848391"/>
                  <a:gd name="connsiteY396" fmla="*/ 1361166 h 4743384"/>
                  <a:gd name="connsiteX397" fmla="*/ 4595739 w 4848391"/>
                  <a:gd name="connsiteY397" fmla="*/ 1364955 h 4743384"/>
                  <a:gd name="connsiteX398" fmla="*/ 4594323 w 4848391"/>
                  <a:gd name="connsiteY398" fmla="*/ 1369280 h 4743384"/>
                  <a:gd name="connsiteX399" fmla="*/ 4593557 w 4848391"/>
                  <a:gd name="connsiteY399" fmla="*/ 1373795 h 4743384"/>
                  <a:gd name="connsiteX400" fmla="*/ 4592945 w 4848391"/>
                  <a:gd name="connsiteY400" fmla="*/ 1377087 h 4743384"/>
                  <a:gd name="connsiteX401" fmla="*/ 4570213 w 4848391"/>
                  <a:gd name="connsiteY401" fmla="*/ 1506820 h 4743384"/>
                  <a:gd name="connsiteX402" fmla="*/ 4569600 w 4848391"/>
                  <a:gd name="connsiteY402" fmla="*/ 1510112 h 4743384"/>
                  <a:gd name="connsiteX403" fmla="*/ 4568835 w 4848391"/>
                  <a:gd name="connsiteY403" fmla="*/ 1514551 h 4743384"/>
                  <a:gd name="connsiteX404" fmla="*/ 4568720 w 4848391"/>
                  <a:gd name="connsiteY404" fmla="*/ 1519144 h 4743384"/>
                  <a:gd name="connsiteX405" fmla="*/ 4568835 w 4848391"/>
                  <a:gd name="connsiteY405" fmla="*/ 1523162 h 4743384"/>
                  <a:gd name="connsiteX406" fmla="*/ 4569600 w 4848391"/>
                  <a:gd name="connsiteY406" fmla="*/ 1527831 h 4743384"/>
                  <a:gd name="connsiteX407" fmla="*/ 4570519 w 4848391"/>
                  <a:gd name="connsiteY407" fmla="*/ 1531543 h 4743384"/>
                  <a:gd name="connsiteX408" fmla="*/ 4572126 w 4848391"/>
                  <a:gd name="connsiteY408" fmla="*/ 1535868 h 4743384"/>
                  <a:gd name="connsiteX409" fmla="*/ 4573733 w 4848391"/>
                  <a:gd name="connsiteY409" fmla="*/ 1539542 h 4743384"/>
                  <a:gd name="connsiteX410" fmla="*/ 4576106 w 4848391"/>
                  <a:gd name="connsiteY410" fmla="*/ 1543330 h 4743384"/>
                  <a:gd name="connsiteX411" fmla="*/ 4578479 w 4848391"/>
                  <a:gd name="connsiteY411" fmla="*/ 1546736 h 4743384"/>
                  <a:gd name="connsiteX412" fmla="*/ 4581655 w 4848391"/>
                  <a:gd name="connsiteY412" fmla="*/ 1550143 h 4743384"/>
                  <a:gd name="connsiteX413" fmla="*/ 4584564 w 4848391"/>
                  <a:gd name="connsiteY413" fmla="*/ 1552936 h 4743384"/>
                  <a:gd name="connsiteX414" fmla="*/ 4588697 w 4848391"/>
                  <a:gd name="connsiteY414" fmla="*/ 1555883 h 4743384"/>
                  <a:gd name="connsiteX415" fmla="*/ 4590993 w 4848391"/>
                  <a:gd name="connsiteY415" fmla="*/ 1557567 h 4743384"/>
                  <a:gd name="connsiteX416" fmla="*/ 4676182 w 4848391"/>
                  <a:gd name="connsiteY416" fmla="*/ 1606744 h 4743384"/>
                  <a:gd name="connsiteX417" fmla="*/ 4690075 w 4848391"/>
                  <a:gd name="connsiteY417" fmla="*/ 1660857 h 474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4848391" h="4743384">
                    <a:moveTo>
                      <a:pt x="4741806" y="1407456"/>
                    </a:moveTo>
                    <a:cubicBezTo>
                      <a:pt x="4811763" y="1395095"/>
                      <a:pt x="4858725" y="1328083"/>
                      <a:pt x="4846439" y="1258049"/>
                    </a:cubicBezTo>
                    <a:lnTo>
                      <a:pt x="4814216" y="1075499"/>
                    </a:lnTo>
                    <a:cubicBezTo>
                      <a:pt x="4801854" y="1005542"/>
                      <a:pt x="4734843" y="958580"/>
                      <a:pt x="4664770" y="970865"/>
                    </a:cubicBezTo>
                    <a:lnTo>
                      <a:pt x="4601165" y="982040"/>
                    </a:lnTo>
                    <a:cubicBezTo>
                      <a:pt x="4589109" y="958389"/>
                      <a:pt x="4575753" y="935389"/>
                      <a:pt x="4561287" y="913193"/>
                    </a:cubicBezTo>
                    <a:lnTo>
                      <a:pt x="4602810" y="863633"/>
                    </a:lnTo>
                    <a:cubicBezTo>
                      <a:pt x="4648582" y="809098"/>
                      <a:pt x="4641387" y="727619"/>
                      <a:pt x="4586890" y="681847"/>
                    </a:cubicBezTo>
                    <a:lnTo>
                      <a:pt x="4444949" y="562792"/>
                    </a:lnTo>
                    <a:cubicBezTo>
                      <a:pt x="4418658" y="540672"/>
                      <a:pt x="4385057" y="530110"/>
                      <a:pt x="4350805" y="533095"/>
                    </a:cubicBezTo>
                    <a:cubicBezTo>
                      <a:pt x="4316362" y="536118"/>
                      <a:pt x="4285286" y="552230"/>
                      <a:pt x="4263205" y="578560"/>
                    </a:cubicBezTo>
                    <a:lnTo>
                      <a:pt x="4221796" y="628005"/>
                    </a:lnTo>
                    <a:cubicBezTo>
                      <a:pt x="4197341" y="617633"/>
                      <a:pt x="4172351" y="608525"/>
                      <a:pt x="4146902" y="600757"/>
                    </a:cubicBezTo>
                    <a:lnTo>
                      <a:pt x="4146902" y="536234"/>
                    </a:lnTo>
                    <a:cubicBezTo>
                      <a:pt x="4146902" y="465128"/>
                      <a:pt x="4089037" y="407264"/>
                      <a:pt x="4017854" y="407264"/>
                    </a:cubicBezTo>
                    <a:lnTo>
                      <a:pt x="3832511" y="407264"/>
                    </a:lnTo>
                    <a:cubicBezTo>
                      <a:pt x="3761406" y="407264"/>
                      <a:pt x="3703581" y="465090"/>
                      <a:pt x="3703581" y="536234"/>
                    </a:cubicBezTo>
                    <a:lnTo>
                      <a:pt x="3703581" y="600757"/>
                    </a:lnTo>
                    <a:cubicBezTo>
                      <a:pt x="3678131" y="608487"/>
                      <a:pt x="3653065" y="617596"/>
                      <a:pt x="3628648" y="628005"/>
                    </a:cubicBezTo>
                    <a:lnTo>
                      <a:pt x="3587240" y="578560"/>
                    </a:lnTo>
                    <a:cubicBezTo>
                      <a:pt x="3541545" y="524063"/>
                      <a:pt x="3460073" y="516944"/>
                      <a:pt x="3405454" y="562639"/>
                    </a:cubicBezTo>
                    <a:lnTo>
                      <a:pt x="3334960" y="621843"/>
                    </a:lnTo>
                    <a:cubicBezTo>
                      <a:pt x="3054439" y="467117"/>
                      <a:pt x="2738481" y="382195"/>
                      <a:pt x="2416478" y="374965"/>
                    </a:cubicBezTo>
                    <a:lnTo>
                      <a:pt x="2416478" y="90241"/>
                    </a:lnTo>
                    <a:cubicBezTo>
                      <a:pt x="2792444" y="97588"/>
                      <a:pt x="3162090" y="197509"/>
                      <a:pt x="3488188" y="380745"/>
                    </a:cubicBezTo>
                    <a:cubicBezTo>
                      <a:pt x="3509810" y="392877"/>
                      <a:pt x="3537021" y="385185"/>
                      <a:pt x="3549075" y="363639"/>
                    </a:cubicBezTo>
                    <a:cubicBezTo>
                      <a:pt x="3561130" y="342093"/>
                      <a:pt x="3553514" y="314806"/>
                      <a:pt x="3531968" y="302751"/>
                    </a:cubicBezTo>
                    <a:cubicBezTo>
                      <a:pt x="3179535" y="104702"/>
                      <a:pt x="2778352" y="0"/>
                      <a:pt x="2371692" y="0"/>
                    </a:cubicBezTo>
                    <a:cubicBezTo>
                      <a:pt x="1063872" y="0"/>
                      <a:pt x="0" y="1063872"/>
                      <a:pt x="0" y="2371692"/>
                    </a:cubicBezTo>
                    <a:cubicBezTo>
                      <a:pt x="0" y="3679513"/>
                      <a:pt x="1063872" y="4743385"/>
                      <a:pt x="2371692" y="4743385"/>
                    </a:cubicBezTo>
                    <a:cubicBezTo>
                      <a:pt x="3679513" y="4743385"/>
                      <a:pt x="4743385" y="3679513"/>
                      <a:pt x="4743385" y="2371692"/>
                    </a:cubicBezTo>
                    <a:cubicBezTo>
                      <a:pt x="4743385" y="2276897"/>
                      <a:pt x="4737721" y="2181491"/>
                      <a:pt x="4726585" y="2088036"/>
                    </a:cubicBezTo>
                    <a:cubicBezTo>
                      <a:pt x="4723638" y="2063466"/>
                      <a:pt x="4701441" y="2045900"/>
                      <a:pt x="4676872" y="2048924"/>
                    </a:cubicBezTo>
                    <a:cubicBezTo>
                      <a:pt x="4652341" y="2051832"/>
                      <a:pt x="4634775" y="2074105"/>
                      <a:pt x="4637683" y="2098636"/>
                    </a:cubicBezTo>
                    <a:cubicBezTo>
                      <a:pt x="4646677" y="2173913"/>
                      <a:pt x="4651728" y="2250492"/>
                      <a:pt x="4653221" y="2326998"/>
                    </a:cubicBezTo>
                    <a:lnTo>
                      <a:pt x="4368496" y="2326998"/>
                    </a:lnTo>
                    <a:cubicBezTo>
                      <a:pt x="4367119" y="2265268"/>
                      <a:pt x="4362832" y="2203613"/>
                      <a:pt x="4355944" y="2142723"/>
                    </a:cubicBezTo>
                    <a:cubicBezTo>
                      <a:pt x="4374505" y="2129903"/>
                      <a:pt x="4389469" y="2112375"/>
                      <a:pt x="4399304" y="2091327"/>
                    </a:cubicBezTo>
                    <a:cubicBezTo>
                      <a:pt x="4413885" y="2060060"/>
                      <a:pt x="4415416" y="2025043"/>
                      <a:pt x="4403629" y="1992748"/>
                    </a:cubicBezTo>
                    <a:lnTo>
                      <a:pt x="4381509" y="1931975"/>
                    </a:lnTo>
                    <a:cubicBezTo>
                      <a:pt x="4402673" y="1916055"/>
                      <a:pt x="4422994" y="1898948"/>
                      <a:pt x="4442396" y="1880846"/>
                    </a:cubicBezTo>
                    <a:lnTo>
                      <a:pt x="4498424" y="1913146"/>
                    </a:lnTo>
                    <a:cubicBezTo>
                      <a:pt x="4518248" y="1924551"/>
                      <a:pt x="4540291" y="1930444"/>
                      <a:pt x="4562603" y="1930444"/>
                    </a:cubicBezTo>
                    <a:cubicBezTo>
                      <a:pt x="4573854" y="1930444"/>
                      <a:pt x="4585221" y="1928951"/>
                      <a:pt x="4596357" y="1925928"/>
                    </a:cubicBezTo>
                    <a:cubicBezTo>
                      <a:pt x="4629729" y="1916973"/>
                      <a:pt x="4657513" y="1895657"/>
                      <a:pt x="4674658" y="1865920"/>
                    </a:cubicBezTo>
                    <a:lnTo>
                      <a:pt x="4767271" y="1705492"/>
                    </a:lnTo>
                    <a:cubicBezTo>
                      <a:pt x="4802824" y="1643877"/>
                      <a:pt x="4781700" y="1564815"/>
                      <a:pt x="4720084" y="1529261"/>
                    </a:cubicBezTo>
                    <a:lnTo>
                      <a:pt x="4664172" y="1496999"/>
                    </a:lnTo>
                    <a:cubicBezTo>
                      <a:pt x="4670028" y="1471167"/>
                      <a:pt x="4674658" y="1444990"/>
                      <a:pt x="4677872" y="1418584"/>
                    </a:cubicBezTo>
                    <a:close/>
                    <a:moveTo>
                      <a:pt x="3247741" y="863675"/>
                    </a:moveTo>
                    <a:lnTo>
                      <a:pt x="3289341" y="913235"/>
                    </a:lnTo>
                    <a:cubicBezTo>
                      <a:pt x="3274798" y="935508"/>
                      <a:pt x="3261519" y="958547"/>
                      <a:pt x="3249464" y="982160"/>
                    </a:cubicBezTo>
                    <a:lnTo>
                      <a:pt x="3185859" y="970985"/>
                    </a:lnTo>
                    <a:cubicBezTo>
                      <a:pt x="3115786" y="958700"/>
                      <a:pt x="3048738" y="1005658"/>
                      <a:pt x="3036413" y="1075658"/>
                    </a:cubicBezTo>
                    <a:lnTo>
                      <a:pt x="3004266" y="1258130"/>
                    </a:lnTo>
                    <a:cubicBezTo>
                      <a:pt x="2998296" y="1291998"/>
                      <a:pt x="3005912" y="1326174"/>
                      <a:pt x="3025736" y="1354417"/>
                    </a:cubicBezTo>
                    <a:cubicBezTo>
                      <a:pt x="3045560" y="1382660"/>
                      <a:pt x="3075066" y="1401527"/>
                      <a:pt x="3108973" y="1407536"/>
                    </a:cubicBezTo>
                    <a:lnTo>
                      <a:pt x="3172617" y="1418787"/>
                    </a:lnTo>
                    <a:cubicBezTo>
                      <a:pt x="3175870" y="1445231"/>
                      <a:pt x="3180462" y="1471447"/>
                      <a:pt x="3186317" y="1497241"/>
                    </a:cubicBezTo>
                    <a:lnTo>
                      <a:pt x="3130405" y="1529503"/>
                    </a:lnTo>
                    <a:cubicBezTo>
                      <a:pt x="3068867" y="1565055"/>
                      <a:pt x="3047627" y="1644119"/>
                      <a:pt x="3083218" y="1705773"/>
                    </a:cubicBezTo>
                    <a:lnTo>
                      <a:pt x="3175831" y="1866123"/>
                    </a:lnTo>
                    <a:cubicBezTo>
                      <a:pt x="3193014" y="1895897"/>
                      <a:pt x="3220760" y="1917252"/>
                      <a:pt x="3254170" y="1926207"/>
                    </a:cubicBezTo>
                    <a:cubicBezTo>
                      <a:pt x="3265306" y="1929230"/>
                      <a:pt x="3276673" y="1930722"/>
                      <a:pt x="3287924" y="1930722"/>
                    </a:cubicBezTo>
                    <a:cubicBezTo>
                      <a:pt x="3310235" y="1930722"/>
                      <a:pt x="3332241" y="1924905"/>
                      <a:pt x="3352065" y="1913501"/>
                    </a:cubicBezTo>
                    <a:lnTo>
                      <a:pt x="3408131" y="1881124"/>
                    </a:lnTo>
                    <a:cubicBezTo>
                      <a:pt x="3427535" y="1899303"/>
                      <a:pt x="3447894" y="1916333"/>
                      <a:pt x="3468980" y="1932254"/>
                    </a:cubicBezTo>
                    <a:lnTo>
                      <a:pt x="3446860" y="1992988"/>
                    </a:lnTo>
                    <a:cubicBezTo>
                      <a:pt x="3435111" y="2025250"/>
                      <a:pt x="3436642" y="2060305"/>
                      <a:pt x="3451261" y="2091567"/>
                    </a:cubicBezTo>
                    <a:cubicBezTo>
                      <a:pt x="3465842" y="2122910"/>
                      <a:pt x="3491636" y="2146600"/>
                      <a:pt x="3523898" y="2158348"/>
                    </a:cubicBezTo>
                    <a:lnTo>
                      <a:pt x="3698101" y="2221762"/>
                    </a:lnTo>
                    <a:cubicBezTo>
                      <a:pt x="3712644" y="2227043"/>
                      <a:pt x="3727416" y="2229493"/>
                      <a:pt x="3742036" y="2229493"/>
                    </a:cubicBezTo>
                    <a:cubicBezTo>
                      <a:pt x="3794772" y="2229493"/>
                      <a:pt x="3844367" y="2196887"/>
                      <a:pt x="3863393" y="2144609"/>
                    </a:cubicBezTo>
                    <a:lnTo>
                      <a:pt x="3885551" y="2083760"/>
                    </a:lnTo>
                    <a:cubicBezTo>
                      <a:pt x="3898831" y="2084487"/>
                      <a:pt x="3912110" y="2084870"/>
                      <a:pt x="3925314" y="2084870"/>
                    </a:cubicBezTo>
                    <a:cubicBezTo>
                      <a:pt x="3938594" y="2084870"/>
                      <a:pt x="3951797" y="2084487"/>
                      <a:pt x="3965153" y="2083760"/>
                    </a:cubicBezTo>
                    <a:lnTo>
                      <a:pt x="3987273" y="2144533"/>
                    </a:lnTo>
                    <a:cubicBezTo>
                      <a:pt x="4006293" y="2196887"/>
                      <a:pt x="4055891" y="2229455"/>
                      <a:pt x="4108709" y="2229455"/>
                    </a:cubicBezTo>
                    <a:cubicBezTo>
                      <a:pt x="4123366" y="2229455"/>
                      <a:pt x="4138176" y="2226967"/>
                      <a:pt x="4152643" y="2221647"/>
                    </a:cubicBezTo>
                    <a:lnTo>
                      <a:pt x="4270209" y="2178861"/>
                    </a:lnTo>
                    <a:cubicBezTo>
                      <a:pt x="4276638" y="2242772"/>
                      <a:pt x="4279967" y="2307449"/>
                      <a:pt x="4279967" y="2371934"/>
                    </a:cubicBezTo>
                    <a:cubicBezTo>
                      <a:pt x="4279967" y="3424049"/>
                      <a:pt x="3423981" y="4279927"/>
                      <a:pt x="2371974" y="4279927"/>
                    </a:cubicBezTo>
                    <a:cubicBezTo>
                      <a:pt x="1319966" y="4279927"/>
                      <a:pt x="463980" y="3423980"/>
                      <a:pt x="463980" y="2371934"/>
                    </a:cubicBezTo>
                    <a:cubicBezTo>
                      <a:pt x="463980" y="1319818"/>
                      <a:pt x="1319927" y="463940"/>
                      <a:pt x="2371974" y="463940"/>
                    </a:cubicBezTo>
                    <a:cubicBezTo>
                      <a:pt x="2682729" y="463940"/>
                      <a:pt x="2988968" y="539830"/>
                      <a:pt x="3261750" y="683876"/>
                    </a:cubicBezTo>
                    <a:cubicBezTo>
                      <a:pt x="3209129" y="729800"/>
                      <a:pt x="3202700" y="809858"/>
                      <a:pt x="3247743" y="863673"/>
                    </a:cubicBezTo>
                    <a:close/>
                    <a:moveTo>
                      <a:pt x="2327192" y="90279"/>
                    </a:moveTo>
                    <a:lnTo>
                      <a:pt x="2327192" y="374974"/>
                    </a:lnTo>
                    <a:cubicBezTo>
                      <a:pt x="1261263" y="398510"/>
                      <a:pt x="398526" y="1261194"/>
                      <a:pt x="375013" y="2327153"/>
                    </a:cubicBezTo>
                    <a:lnTo>
                      <a:pt x="90318" y="2327153"/>
                    </a:lnTo>
                    <a:cubicBezTo>
                      <a:pt x="113892" y="1104273"/>
                      <a:pt x="1104224" y="113978"/>
                      <a:pt x="2327202" y="90269"/>
                    </a:cubicBezTo>
                    <a:close/>
                    <a:moveTo>
                      <a:pt x="90308" y="2416610"/>
                    </a:moveTo>
                    <a:lnTo>
                      <a:pt x="375003" y="2416610"/>
                    </a:lnTo>
                    <a:cubicBezTo>
                      <a:pt x="398539" y="3482539"/>
                      <a:pt x="1261224" y="4345276"/>
                      <a:pt x="2327182" y="4368789"/>
                    </a:cubicBezTo>
                    <a:lnTo>
                      <a:pt x="2327182" y="4653484"/>
                    </a:lnTo>
                    <a:cubicBezTo>
                      <a:pt x="1104303" y="4629911"/>
                      <a:pt x="114007" y="3639676"/>
                      <a:pt x="90298" y="2416601"/>
                    </a:cubicBezTo>
                    <a:close/>
                    <a:moveTo>
                      <a:pt x="2416738" y="4653494"/>
                    </a:moveTo>
                    <a:lnTo>
                      <a:pt x="2416738" y="4368799"/>
                    </a:lnTo>
                    <a:cubicBezTo>
                      <a:pt x="3482667" y="4345263"/>
                      <a:pt x="4345403" y="3482579"/>
                      <a:pt x="4368917" y="2416620"/>
                    </a:cubicBezTo>
                    <a:lnTo>
                      <a:pt x="4653611" y="2416620"/>
                    </a:lnTo>
                    <a:cubicBezTo>
                      <a:pt x="4629961" y="3639499"/>
                      <a:pt x="3639705" y="4629795"/>
                      <a:pt x="2416728" y="4653504"/>
                    </a:cubicBezTo>
                    <a:close/>
                    <a:moveTo>
                      <a:pt x="4690067" y="1660859"/>
                    </a:moveTo>
                    <a:lnTo>
                      <a:pt x="4597415" y="1821326"/>
                    </a:lnTo>
                    <a:cubicBezTo>
                      <a:pt x="4592134" y="1830396"/>
                      <a:pt x="4583715" y="1836863"/>
                      <a:pt x="4573458" y="1839581"/>
                    </a:cubicBezTo>
                    <a:cubicBezTo>
                      <a:pt x="4563202" y="1842337"/>
                      <a:pt x="4552563" y="1840959"/>
                      <a:pt x="4543455" y="1835678"/>
                    </a:cubicBezTo>
                    <a:lnTo>
                      <a:pt x="4458075" y="1786463"/>
                    </a:lnTo>
                    <a:cubicBezTo>
                      <a:pt x="4457194" y="1785965"/>
                      <a:pt x="4456314" y="1785697"/>
                      <a:pt x="4455434" y="1785314"/>
                    </a:cubicBezTo>
                    <a:cubicBezTo>
                      <a:pt x="4453903" y="1784549"/>
                      <a:pt x="4452372" y="1783822"/>
                      <a:pt x="4450842" y="1783248"/>
                    </a:cubicBezTo>
                    <a:cubicBezTo>
                      <a:pt x="4449579" y="1782750"/>
                      <a:pt x="4448201" y="1782482"/>
                      <a:pt x="4446900" y="1782100"/>
                    </a:cubicBezTo>
                    <a:cubicBezTo>
                      <a:pt x="4445484" y="1781717"/>
                      <a:pt x="4443991" y="1781334"/>
                      <a:pt x="4442499" y="1781105"/>
                    </a:cubicBezTo>
                    <a:cubicBezTo>
                      <a:pt x="4441083" y="1780875"/>
                      <a:pt x="4439628" y="1780837"/>
                      <a:pt x="4438174" y="1780760"/>
                    </a:cubicBezTo>
                    <a:cubicBezTo>
                      <a:pt x="4436796" y="1780722"/>
                      <a:pt x="4435380" y="1780607"/>
                      <a:pt x="4433964" y="1780646"/>
                    </a:cubicBezTo>
                    <a:cubicBezTo>
                      <a:pt x="4432587" y="1780684"/>
                      <a:pt x="4431094" y="1780913"/>
                      <a:pt x="4429755" y="1781143"/>
                    </a:cubicBezTo>
                    <a:cubicBezTo>
                      <a:pt x="4428339" y="1781296"/>
                      <a:pt x="4426846" y="1781526"/>
                      <a:pt x="4425469" y="1781870"/>
                    </a:cubicBezTo>
                    <a:cubicBezTo>
                      <a:pt x="4424167" y="1782215"/>
                      <a:pt x="4422828" y="1782712"/>
                      <a:pt x="4421527" y="1783095"/>
                    </a:cubicBezTo>
                    <a:cubicBezTo>
                      <a:pt x="4420149" y="1783592"/>
                      <a:pt x="4418656" y="1784013"/>
                      <a:pt x="4417317" y="1784702"/>
                    </a:cubicBezTo>
                    <a:cubicBezTo>
                      <a:pt x="4416054" y="1785314"/>
                      <a:pt x="4414829" y="1786003"/>
                      <a:pt x="4413643" y="1786730"/>
                    </a:cubicBezTo>
                    <a:cubicBezTo>
                      <a:pt x="4412380" y="1787458"/>
                      <a:pt x="4411079" y="1788146"/>
                      <a:pt x="4409931" y="1789027"/>
                    </a:cubicBezTo>
                    <a:cubicBezTo>
                      <a:pt x="4408668" y="1789945"/>
                      <a:pt x="4407520" y="1791017"/>
                      <a:pt x="4406372" y="1791973"/>
                    </a:cubicBezTo>
                    <a:cubicBezTo>
                      <a:pt x="4405530" y="1792700"/>
                      <a:pt x="4404726" y="1793236"/>
                      <a:pt x="4403884" y="1794040"/>
                    </a:cubicBezTo>
                    <a:cubicBezTo>
                      <a:pt x="4373000" y="1825575"/>
                      <a:pt x="4339092" y="1854048"/>
                      <a:pt x="4303042" y="1878655"/>
                    </a:cubicBezTo>
                    <a:cubicBezTo>
                      <a:pt x="4302162" y="1879267"/>
                      <a:pt x="4301511" y="1880033"/>
                      <a:pt x="4300631" y="1880683"/>
                    </a:cubicBezTo>
                    <a:cubicBezTo>
                      <a:pt x="4299406" y="1881717"/>
                      <a:pt x="4298105" y="1882673"/>
                      <a:pt x="4296995" y="1883745"/>
                    </a:cubicBezTo>
                    <a:cubicBezTo>
                      <a:pt x="4295962" y="1884778"/>
                      <a:pt x="4295082" y="1885888"/>
                      <a:pt x="4294125" y="1886998"/>
                    </a:cubicBezTo>
                    <a:cubicBezTo>
                      <a:pt x="4293207" y="1888146"/>
                      <a:pt x="4292250" y="1889256"/>
                      <a:pt x="4291446" y="1890404"/>
                    </a:cubicBezTo>
                    <a:cubicBezTo>
                      <a:pt x="4290566" y="1891629"/>
                      <a:pt x="4289915" y="1892930"/>
                      <a:pt x="4289188" y="1894193"/>
                    </a:cubicBezTo>
                    <a:cubicBezTo>
                      <a:pt x="4288461" y="1895417"/>
                      <a:pt x="4287887" y="1896604"/>
                      <a:pt x="4287275" y="1897905"/>
                    </a:cubicBezTo>
                    <a:cubicBezTo>
                      <a:pt x="4286739" y="1899206"/>
                      <a:pt x="4286280" y="1900584"/>
                      <a:pt x="4285897" y="1901962"/>
                    </a:cubicBezTo>
                    <a:cubicBezTo>
                      <a:pt x="4285399" y="1903339"/>
                      <a:pt x="4284978" y="1904717"/>
                      <a:pt x="4284672" y="1906133"/>
                    </a:cubicBezTo>
                    <a:cubicBezTo>
                      <a:pt x="4284404" y="1907511"/>
                      <a:pt x="4284251" y="1908812"/>
                      <a:pt x="4284060" y="1910189"/>
                    </a:cubicBezTo>
                    <a:cubicBezTo>
                      <a:pt x="4283830" y="1911682"/>
                      <a:pt x="4283677" y="1913136"/>
                      <a:pt x="4283639" y="1914705"/>
                    </a:cubicBezTo>
                    <a:cubicBezTo>
                      <a:pt x="4283601" y="1916121"/>
                      <a:pt x="4283754" y="1917499"/>
                      <a:pt x="4283869" y="1918992"/>
                    </a:cubicBezTo>
                    <a:cubicBezTo>
                      <a:pt x="4283983" y="1920484"/>
                      <a:pt x="4284098" y="1921900"/>
                      <a:pt x="4284290" y="1923316"/>
                    </a:cubicBezTo>
                    <a:cubicBezTo>
                      <a:pt x="4284557" y="1924847"/>
                      <a:pt x="4285055" y="1926378"/>
                      <a:pt x="4285438" y="1927909"/>
                    </a:cubicBezTo>
                    <a:cubicBezTo>
                      <a:pt x="4285706" y="1928942"/>
                      <a:pt x="4285820" y="1929937"/>
                      <a:pt x="4286203" y="1930932"/>
                    </a:cubicBezTo>
                    <a:lnTo>
                      <a:pt x="4319881" y="2023469"/>
                    </a:lnTo>
                    <a:cubicBezTo>
                      <a:pt x="4323440" y="2033342"/>
                      <a:pt x="4323019" y="2044059"/>
                      <a:pt x="4318503" y="2053702"/>
                    </a:cubicBezTo>
                    <a:cubicBezTo>
                      <a:pt x="4313987" y="2063308"/>
                      <a:pt x="4306142" y="2070618"/>
                      <a:pt x="4296383" y="2074099"/>
                    </a:cubicBezTo>
                    <a:lnTo>
                      <a:pt x="4122259" y="2137514"/>
                    </a:lnTo>
                    <a:cubicBezTo>
                      <a:pt x="4101745" y="2144976"/>
                      <a:pt x="4079013" y="2134375"/>
                      <a:pt x="4071627" y="2113862"/>
                    </a:cubicBezTo>
                    <a:lnTo>
                      <a:pt x="4037873" y="2021249"/>
                    </a:lnTo>
                    <a:cubicBezTo>
                      <a:pt x="4037452" y="2020024"/>
                      <a:pt x="4036763" y="2018991"/>
                      <a:pt x="4036265" y="2017843"/>
                    </a:cubicBezTo>
                    <a:cubicBezTo>
                      <a:pt x="4035653" y="2016695"/>
                      <a:pt x="4035155" y="2015470"/>
                      <a:pt x="4034581" y="2014398"/>
                    </a:cubicBezTo>
                    <a:cubicBezTo>
                      <a:pt x="4033701" y="2012868"/>
                      <a:pt x="4032706" y="2011452"/>
                      <a:pt x="4031635" y="2009997"/>
                    </a:cubicBezTo>
                    <a:cubicBezTo>
                      <a:pt x="4030984" y="2009117"/>
                      <a:pt x="4030372" y="2008199"/>
                      <a:pt x="4029644" y="2007357"/>
                    </a:cubicBezTo>
                    <a:cubicBezTo>
                      <a:pt x="4028420" y="2005979"/>
                      <a:pt x="4027080" y="2004716"/>
                      <a:pt x="4025741" y="2003453"/>
                    </a:cubicBezTo>
                    <a:cubicBezTo>
                      <a:pt x="4024899" y="2002803"/>
                      <a:pt x="4024248" y="2002075"/>
                      <a:pt x="4023445" y="2001425"/>
                    </a:cubicBezTo>
                    <a:cubicBezTo>
                      <a:pt x="4022029" y="2000277"/>
                      <a:pt x="4020498" y="1999282"/>
                      <a:pt x="4018929" y="1998363"/>
                    </a:cubicBezTo>
                    <a:cubicBezTo>
                      <a:pt x="4018010" y="1997828"/>
                      <a:pt x="4017130" y="1997215"/>
                      <a:pt x="4016135" y="1996718"/>
                    </a:cubicBezTo>
                    <a:cubicBezTo>
                      <a:pt x="4014604" y="1995952"/>
                      <a:pt x="4012959" y="1995302"/>
                      <a:pt x="4011313" y="1994689"/>
                    </a:cubicBezTo>
                    <a:cubicBezTo>
                      <a:pt x="4010203" y="1994307"/>
                      <a:pt x="4009170" y="1993847"/>
                      <a:pt x="4008060" y="1993541"/>
                    </a:cubicBezTo>
                    <a:cubicBezTo>
                      <a:pt x="4006415" y="1993044"/>
                      <a:pt x="4004654" y="1992776"/>
                      <a:pt x="4002970" y="1992508"/>
                    </a:cubicBezTo>
                    <a:cubicBezTo>
                      <a:pt x="4001822" y="1992278"/>
                      <a:pt x="4000597" y="1992087"/>
                      <a:pt x="3999449" y="1991972"/>
                    </a:cubicBezTo>
                    <a:cubicBezTo>
                      <a:pt x="3997765" y="1991819"/>
                      <a:pt x="3996005" y="1991934"/>
                      <a:pt x="3994245" y="1991972"/>
                    </a:cubicBezTo>
                    <a:cubicBezTo>
                      <a:pt x="3993250" y="1991972"/>
                      <a:pt x="3992369" y="1991857"/>
                      <a:pt x="3991374" y="1991972"/>
                    </a:cubicBezTo>
                    <a:cubicBezTo>
                      <a:pt x="3948206" y="1996258"/>
                      <a:pt x="3903698" y="1996297"/>
                      <a:pt x="3859652" y="1991972"/>
                    </a:cubicBezTo>
                    <a:cubicBezTo>
                      <a:pt x="3858618" y="1991934"/>
                      <a:pt x="3857662" y="1992010"/>
                      <a:pt x="3856705" y="1991972"/>
                    </a:cubicBezTo>
                    <a:cubicBezTo>
                      <a:pt x="3855059" y="1991934"/>
                      <a:pt x="3853299" y="1991857"/>
                      <a:pt x="3851730" y="1991972"/>
                    </a:cubicBezTo>
                    <a:cubicBezTo>
                      <a:pt x="3850429" y="1992087"/>
                      <a:pt x="3849089" y="1992317"/>
                      <a:pt x="3847788" y="1992585"/>
                    </a:cubicBezTo>
                    <a:cubicBezTo>
                      <a:pt x="3846295" y="1992814"/>
                      <a:pt x="3844726" y="1993082"/>
                      <a:pt x="3843234" y="1993503"/>
                    </a:cubicBezTo>
                    <a:cubicBezTo>
                      <a:pt x="3841933" y="1993886"/>
                      <a:pt x="3840670" y="1994383"/>
                      <a:pt x="3839407" y="1994881"/>
                    </a:cubicBezTo>
                    <a:cubicBezTo>
                      <a:pt x="3838029" y="1995416"/>
                      <a:pt x="3836537" y="1995990"/>
                      <a:pt x="3835235" y="1996641"/>
                    </a:cubicBezTo>
                    <a:cubicBezTo>
                      <a:pt x="3834087" y="1997253"/>
                      <a:pt x="3832939" y="1997904"/>
                      <a:pt x="3831829" y="1998631"/>
                    </a:cubicBezTo>
                    <a:cubicBezTo>
                      <a:pt x="3830528" y="1999473"/>
                      <a:pt x="3829150" y="2000277"/>
                      <a:pt x="3827926" y="2001272"/>
                    </a:cubicBezTo>
                    <a:cubicBezTo>
                      <a:pt x="3826893" y="2002114"/>
                      <a:pt x="3826012" y="2002917"/>
                      <a:pt x="3825017" y="2003797"/>
                    </a:cubicBezTo>
                    <a:cubicBezTo>
                      <a:pt x="3823869" y="2004907"/>
                      <a:pt x="3822721" y="2005979"/>
                      <a:pt x="3821611" y="2007204"/>
                    </a:cubicBezTo>
                    <a:cubicBezTo>
                      <a:pt x="3820693" y="2008237"/>
                      <a:pt x="3820004" y="2009347"/>
                      <a:pt x="3819124" y="2010456"/>
                    </a:cubicBezTo>
                    <a:cubicBezTo>
                      <a:pt x="3818243" y="2011681"/>
                      <a:pt x="3817363" y="2012868"/>
                      <a:pt x="3816560" y="2014245"/>
                    </a:cubicBezTo>
                    <a:cubicBezTo>
                      <a:pt x="3815832" y="2015546"/>
                      <a:pt x="3815258" y="2017001"/>
                      <a:pt x="3814570" y="2018379"/>
                    </a:cubicBezTo>
                    <a:cubicBezTo>
                      <a:pt x="3814149" y="2019374"/>
                      <a:pt x="3813536" y="2020254"/>
                      <a:pt x="3813192" y="2021287"/>
                    </a:cubicBezTo>
                    <a:lnTo>
                      <a:pt x="3779514" y="2113900"/>
                    </a:lnTo>
                    <a:cubicBezTo>
                      <a:pt x="3772051" y="2134375"/>
                      <a:pt x="3749358" y="2144938"/>
                      <a:pt x="3728883" y="2137552"/>
                    </a:cubicBezTo>
                    <a:lnTo>
                      <a:pt x="3554758" y="2074138"/>
                    </a:lnTo>
                    <a:cubicBezTo>
                      <a:pt x="3544922" y="2070617"/>
                      <a:pt x="3537077" y="2063345"/>
                      <a:pt x="3532638" y="2053664"/>
                    </a:cubicBezTo>
                    <a:cubicBezTo>
                      <a:pt x="3528122" y="2044058"/>
                      <a:pt x="3527663" y="2033304"/>
                      <a:pt x="3531260" y="2023507"/>
                    </a:cubicBezTo>
                    <a:lnTo>
                      <a:pt x="3564900" y="1930894"/>
                    </a:lnTo>
                    <a:cubicBezTo>
                      <a:pt x="3565282" y="1929899"/>
                      <a:pt x="3565397" y="1928904"/>
                      <a:pt x="3565665" y="1927985"/>
                    </a:cubicBezTo>
                    <a:cubicBezTo>
                      <a:pt x="3566163" y="1926378"/>
                      <a:pt x="3566660" y="1924847"/>
                      <a:pt x="3566890" y="1923278"/>
                    </a:cubicBezTo>
                    <a:cubicBezTo>
                      <a:pt x="3567119" y="1921862"/>
                      <a:pt x="3567234" y="1920408"/>
                      <a:pt x="3567311" y="1919068"/>
                    </a:cubicBezTo>
                    <a:cubicBezTo>
                      <a:pt x="3567426" y="1917576"/>
                      <a:pt x="3567540" y="1916160"/>
                      <a:pt x="3567540" y="1914667"/>
                    </a:cubicBezTo>
                    <a:cubicBezTo>
                      <a:pt x="3567502" y="1913175"/>
                      <a:pt x="3567272" y="1911720"/>
                      <a:pt x="3567119" y="1910228"/>
                    </a:cubicBezTo>
                    <a:cubicBezTo>
                      <a:pt x="3566966" y="1908850"/>
                      <a:pt x="3566775" y="1907472"/>
                      <a:pt x="3566507" y="1906171"/>
                    </a:cubicBezTo>
                    <a:cubicBezTo>
                      <a:pt x="3566163" y="1904755"/>
                      <a:pt x="3565742" y="1903301"/>
                      <a:pt x="3565282" y="1901962"/>
                    </a:cubicBezTo>
                    <a:cubicBezTo>
                      <a:pt x="3564861" y="1900660"/>
                      <a:pt x="3564402" y="1899283"/>
                      <a:pt x="3563905" y="1897943"/>
                    </a:cubicBezTo>
                    <a:cubicBezTo>
                      <a:pt x="3563292" y="1896642"/>
                      <a:pt x="3562642" y="1895417"/>
                      <a:pt x="3561915" y="1894154"/>
                    </a:cubicBezTo>
                    <a:cubicBezTo>
                      <a:pt x="3561187" y="1892891"/>
                      <a:pt x="3560613" y="1891629"/>
                      <a:pt x="3559733" y="1890442"/>
                    </a:cubicBezTo>
                    <a:cubicBezTo>
                      <a:pt x="3558891" y="1889217"/>
                      <a:pt x="3557935" y="1888069"/>
                      <a:pt x="3556940" y="1886921"/>
                    </a:cubicBezTo>
                    <a:cubicBezTo>
                      <a:pt x="3556021" y="1885811"/>
                      <a:pt x="3555256" y="1884778"/>
                      <a:pt x="3554184" y="1883783"/>
                    </a:cubicBezTo>
                    <a:cubicBezTo>
                      <a:pt x="3553036" y="1882635"/>
                      <a:pt x="3551658" y="1881602"/>
                      <a:pt x="3550357" y="1880530"/>
                    </a:cubicBezTo>
                    <a:cubicBezTo>
                      <a:pt x="3549592" y="1879918"/>
                      <a:pt x="3548979" y="1879229"/>
                      <a:pt x="3548099" y="1878655"/>
                    </a:cubicBezTo>
                    <a:cubicBezTo>
                      <a:pt x="3512163" y="1854086"/>
                      <a:pt x="3478256" y="1825612"/>
                      <a:pt x="3447257" y="1794040"/>
                    </a:cubicBezTo>
                    <a:cubicBezTo>
                      <a:pt x="3446607" y="1793389"/>
                      <a:pt x="3445841" y="1792892"/>
                      <a:pt x="3445114" y="1792279"/>
                    </a:cubicBezTo>
                    <a:cubicBezTo>
                      <a:pt x="3443851" y="1791131"/>
                      <a:pt x="3442550" y="1789983"/>
                      <a:pt x="3441172" y="1788950"/>
                    </a:cubicBezTo>
                    <a:cubicBezTo>
                      <a:pt x="3440062" y="1788185"/>
                      <a:pt x="3438991" y="1787572"/>
                      <a:pt x="3437843" y="1786922"/>
                    </a:cubicBezTo>
                    <a:cubicBezTo>
                      <a:pt x="3436465" y="1786080"/>
                      <a:pt x="3435087" y="1785314"/>
                      <a:pt x="3433671" y="1784625"/>
                    </a:cubicBezTo>
                    <a:cubicBezTo>
                      <a:pt x="3432447" y="1784090"/>
                      <a:pt x="3431145" y="1783707"/>
                      <a:pt x="3429959" y="1783248"/>
                    </a:cubicBezTo>
                    <a:cubicBezTo>
                      <a:pt x="3428467" y="1782750"/>
                      <a:pt x="3427012" y="1782253"/>
                      <a:pt x="3425520" y="1781870"/>
                    </a:cubicBezTo>
                    <a:cubicBezTo>
                      <a:pt x="3424295" y="1781602"/>
                      <a:pt x="3422994" y="1781449"/>
                      <a:pt x="3421808" y="1781258"/>
                    </a:cubicBezTo>
                    <a:cubicBezTo>
                      <a:pt x="3420200" y="1781028"/>
                      <a:pt x="3418555" y="1780760"/>
                      <a:pt x="3416985" y="1780760"/>
                    </a:cubicBezTo>
                    <a:cubicBezTo>
                      <a:pt x="3415761" y="1780722"/>
                      <a:pt x="3414574" y="1780760"/>
                      <a:pt x="3413350" y="1780799"/>
                    </a:cubicBezTo>
                    <a:cubicBezTo>
                      <a:pt x="3411704" y="1780837"/>
                      <a:pt x="3410059" y="1780952"/>
                      <a:pt x="3408413" y="1781220"/>
                    </a:cubicBezTo>
                    <a:cubicBezTo>
                      <a:pt x="3407188" y="1781373"/>
                      <a:pt x="3405887" y="1781755"/>
                      <a:pt x="3404701" y="1782100"/>
                    </a:cubicBezTo>
                    <a:cubicBezTo>
                      <a:pt x="3403170" y="1782482"/>
                      <a:pt x="3401639" y="1782865"/>
                      <a:pt x="3400147" y="1783401"/>
                    </a:cubicBezTo>
                    <a:cubicBezTo>
                      <a:pt x="3398769" y="1783898"/>
                      <a:pt x="3397468" y="1784549"/>
                      <a:pt x="3396128" y="1785199"/>
                    </a:cubicBezTo>
                    <a:cubicBezTo>
                      <a:pt x="3395095" y="1785697"/>
                      <a:pt x="3394062" y="1786041"/>
                      <a:pt x="3393067" y="1786577"/>
                    </a:cubicBezTo>
                    <a:lnTo>
                      <a:pt x="3307686" y="1835830"/>
                    </a:lnTo>
                    <a:cubicBezTo>
                      <a:pt x="3298617" y="1841035"/>
                      <a:pt x="3287939" y="1842451"/>
                      <a:pt x="3277721" y="1839657"/>
                    </a:cubicBezTo>
                    <a:cubicBezTo>
                      <a:pt x="3267388" y="1836902"/>
                      <a:pt x="3258968" y="1830434"/>
                      <a:pt x="3253688" y="1821326"/>
                    </a:cubicBezTo>
                    <a:lnTo>
                      <a:pt x="3161074" y="1660898"/>
                    </a:lnTo>
                    <a:cubicBezTo>
                      <a:pt x="3150205" y="1641954"/>
                      <a:pt x="3156673" y="1617768"/>
                      <a:pt x="3175541" y="1606861"/>
                    </a:cubicBezTo>
                    <a:lnTo>
                      <a:pt x="3260730" y="1557684"/>
                    </a:lnTo>
                    <a:cubicBezTo>
                      <a:pt x="3261610" y="1557186"/>
                      <a:pt x="3262337" y="1556536"/>
                      <a:pt x="3263141" y="1556000"/>
                    </a:cubicBezTo>
                    <a:cubicBezTo>
                      <a:pt x="3264518" y="1555081"/>
                      <a:pt x="3265935" y="1554125"/>
                      <a:pt x="3267159" y="1553091"/>
                    </a:cubicBezTo>
                    <a:cubicBezTo>
                      <a:pt x="3268269" y="1552173"/>
                      <a:pt x="3269188" y="1551178"/>
                      <a:pt x="3270183" y="1550183"/>
                    </a:cubicBezTo>
                    <a:cubicBezTo>
                      <a:pt x="3271292" y="1549073"/>
                      <a:pt x="3272249" y="1548040"/>
                      <a:pt x="3273206" y="1546891"/>
                    </a:cubicBezTo>
                    <a:cubicBezTo>
                      <a:pt x="3274201" y="1545743"/>
                      <a:pt x="3274890" y="1544519"/>
                      <a:pt x="3275731" y="1543332"/>
                    </a:cubicBezTo>
                    <a:cubicBezTo>
                      <a:pt x="3276573" y="1542184"/>
                      <a:pt x="3277262" y="1541036"/>
                      <a:pt x="3277913" y="1539773"/>
                    </a:cubicBezTo>
                    <a:cubicBezTo>
                      <a:pt x="3278640" y="1538510"/>
                      <a:pt x="3279061" y="1537209"/>
                      <a:pt x="3279674" y="1535831"/>
                    </a:cubicBezTo>
                    <a:cubicBezTo>
                      <a:pt x="3280209" y="1534530"/>
                      <a:pt x="3280783" y="1533153"/>
                      <a:pt x="3281166" y="1531775"/>
                    </a:cubicBezTo>
                    <a:cubicBezTo>
                      <a:pt x="3281549" y="1530397"/>
                      <a:pt x="3281816" y="1529096"/>
                      <a:pt x="3282084" y="1527642"/>
                    </a:cubicBezTo>
                    <a:cubicBezTo>
                      <a:pt x="3282429" y="1526226"/>
                      <a:pt x="3282697" y="1524771"/>
                      <a:pt x="3282850" y="1523317"/>
                    </a:cubicBezTo>
                    <a:cubicBezTo>
                      <a:pt x="3283003" y="1521825"/>
                      <a:pt x="3282965" y="1520370"/>
                      <a:pt x="3282965" y="1518878"/>
                    </a:cubicBezTo>
                    <a:cubicBezTo>
                      <a:pt x="3282965" y="1517500"/>
                      <a:pt x="3283003" y="1516084"/>
                      <a:pt x="3282850" y="1514668"/>
                    </a:cubicBezTo>
                    <a:cubicBezTo>
                      <a:pt x="3282697" y="1513022"/>
                      <a:pt x="3282353" y="1511415"/>
                      <a:pt x="3281970" y="1509770"/>
                    </a:cubicBezTo>
                    <a:cubicBezTo>
                      <a:pt x="3281740" y="1508774"/>
                      <a:pt x="3281740" y="1507856"/>
                      <a:pt x="3281472" y="1506861"/>
                    </a:cubicBezTo>
                    <a:cubicBezTo>
                      <a:pt x="3269723" y="1464878"/>
                      <a:pt x="3262069" y="1421212"/>
                      <a:pt x="3258740" y="1377127"/>
                    </a:cubicBezTo>
                    <a:cubicBezTo>
                      <a:pt x="3258625" y="1376132"/>
                      <a:pt x="3258357" y="1375252"/>
                      <a:pt x="3258204" y="1374257"/>
                    </a:cubicBezTo>
                    <a:cubicBezTo>
                      <a:pt x="3257974" y="1372611"/>
                      <a:pt x="3257783" y="1370927"/>
                      <a:pt x="3257324" y="1369320"/>
                    </a:cubicBezTo>
                    <a:cubicBezTo>
                      <a:pt x="3256941" y="1367904"/>
                      <a:pt x="3256405" y="1366565"/>
                      <a:pt x="3255946" y="1365187"/>
                    </a:cubicBezTo>
                    <a:cubicBezTo>
                      <a:pt x="3255449" y="1363886"/>
                      <a:pt x="3255028" y="1362546"/>
                      <a:pt x="3254454" y="1361360"/>
                    </a:cubicBezTo>
                    <a:cubicBezTo>
                      <a:pt x="3253688" y="1359829"/>
                      <a:pt x="3252846" y="1358451"/>
                      <a:pt x="3251966" y="1357035"/>
                    </a:cubicBezTo>
                    <a:cubicBezTo>
                      <a:pt x="3251315" y="1356040"/>
                      <a:pt x="3250818" y="1355045"/>
                      <a:pt x="3250091" y="1354127"/>
                    </a:cubicBezTo>
                    <a:cubicBezTo>
                      <a:pt x="3248981" y="1352711"/>
                      <a:pt x="3247833" y="1351371"/>
                      <a:pt x="3246647" y="1350070"/>
                    </a:cubicBezTo>
                    <a:cubicBezTo>
                      <a:pt x="3245919" y="1349228"/>
                      <a:pt x="3245269" y="1348463"/>
                      <a:pt x="3244465" y="1347774"/>
                    </a:cubicBezTo>
                    <a:cubicBezTo>
                      <a:pt x="3243164" y="1346549"/>
                      <a:pt x="3241671" y="1345478"/>
                      <a:pt x="3240179" y="1344368"/>
                    </a:cubicBezTo>
                    <a:cubicBezTo>
                      <a:pt x="3239299" y="1343756"/>
                      <a:pt x="3238533" y="1343105"/>
                      <a:pt x="3237653" y="1342493"/>
                    </a:cubicBezTo>
                    <a:cubicBezTo>
                      <a:pt x="3236046" y="1341498"/>
                      <a:pt x="3234324" y="1340732"/>
                      <a:pt x="3232601" y="1339928"/>
                    </a:cubicBezTo>
                    <a:cubicBezTo>
                      <a:pt x="3231683" y="1339546"/>
                      <a:pt x="3230803" y="1339048"/>
                      <a:pt x="3229808" y="1338704"/>
                    </a:cubicBezTo>
                    <a:cubicBezTo>
                      <a:pt x="3228009" y="1337977"/>
                      <a:pt x="3226134" y="1337556"/>
                      <a:pt x="3224144" y="1337097"/>
                    </a:cubicBezTo>
                    <a:cubicBezTo>
                      <a:pt x="3223378" y="1336943"/>
                      <a:pt x="3222651" y="1336599"/>
                      <a:pt x="3221847" y="1336446"/>
                    </a:cubicBezTo>
                    <a:lnTo>
                      <a:pt x="3124756" y="1319263"/>
                    </a:lnTo>
                    <a:cubicBezTo>
                      <a:pt x="3114423" y="1317464"/>
                      <a:pt x="3105429" y="1311685"/>
                      <a:pt x="3099344" y="1303037"/>
                    </a:cubicBezTo>
                    <a:cubicBezTo>
                      <a:pt x="3093297" y="1294349"/>
                      <a:pt x="3090963" y="1283902"/>
                      <a:pt x="3092762" y="1273569"/>
                    </a:cubicBezTo>
                    <a:lnTo>
                      <a:pt x="3124908" y="1091019"/>
                    </a:lnTo>
                    <a:cubicBezTo>
                      <a:pt x="3128620" y="1069626"/>
                      <a:pt x="3149171" y="1055198"/>
                      <a:pt x="3170679" y="1058987"/>
                    </a:cubicBezTo>
                    <a:lnTo>
                      <a:pt x="3267579" y="1076055"/>
                    </a:lnTo>
                    <a:cubicBezTo>
                      <a:pt x="3268995" y="1076285"/>
                      <a:pt x="3270487" y="1076285"/>
                      <a:pt x="3271903" y="1076400"/>
                    </a:cubicBezTo>
                    <a:cubicBezTo>
                      <a:pt x="3273051" y="1076438"/>
                      <a:pt x="3274161" y="1076783"/>
                      <a:pt x="3275348" y="1076783"/>
                    </a:cubicBezTo>
                    <a:cubicBezTo>
                      <a:pt x="3275615" y="1076783"/>
                      <a:pt x="3275883" y="1076744"/>
                      <a:pt x="3276113" y="1076744"/>
                    </a:cubicBezTo>
                    <a:cubicBezTo>
                      <a:pt x="3276840" y="1076744"/>
                      <a:pt x="3277376" y="1076630"/>
                      <a:pt x="3278026" y="1076591"/>
                    </a:cubicBezTo>
                    <a:cubicBezTo>
                      <a:pt x="3280055" y="1076476"/>
                      <a:pt x="3282045" y="1076247"/>
                      <a:pt x="3283958" y="1075826"/>
                    </a:cubicBezTo>
                    <a:cubicBezTo>
                      <a:pt x="3284839" y="1075673"/>
                      <a:pt x="3285604" y="1075481"/>
                      <a:pt x="3286446" y="1075290"/>
                    </a:cubicBezTo>
                    <a:cubicBezTo>
                      <a:pt x="3288589" y="1074754"/>
                      <a:pt x="3290656" y="1074065"/>
                      <a:pt x="3292684" y="1073223"/>
                    </a:cubicBezTo>
                    <a:cubicBezTo>
                      <a:pt x="3293067" y="1073070"/>
                      <a:pt x="3293449" y="1072956"/>
                      <a:pt x="3293832" y="1072803"/>
                    </a:cubicBezTo>
                    <a:cubicBezTo>
                      <a:pt x="3296090" y="1071808"/>
                      <a:pt x="3298233" y="1070545"/>
                      <a:pt x="3300261" y="1069167"/>
                    </a:cubicBezTo>
                    <a:cubicBezTo>
                      <a:pt x="3300989" y="1068746"/>
                      <a:pt x="3301563" y="1068172"/>
                      <a:pt x="3302290" y="1067674"/>
                    </a:cubicBezTo>
                    <a:cubicBezTo>
                      <a:pt x="3303667" y="1066565"/>
                      <a:pt x="3305045" y="1065493"/>
                      <a:pt x="3306308" y="1064230"/>
                    </a:cubicBezTo>
                    <a:cubicBezTo>
                      <a:pt x="3306959" y="1063618"/>
                      <a:pt x="3307571" y="1063006"/>
                      <a:pt x="3308184" y="1062355"/>
                    </a:cubicBezTo>
                    <a:cubicBezTo>
                      <a:pt x="3309676" y="1060748"/>
                      <a:pt x="3311092" y="1059025"/>
                      <a:pt x="3312355" y="1057150"/>
                    </a:cubicBezTo>
                    <a:cubicBezTo>
                      <a:pt x="3312776" y="1056499"/>
                      <a:pt x="3313197" y="1055849"/>
                      <a:pt x="3313580" y="1055122"/>
                    </a:cubicBezTo>
                    <a:cubicBezTo>
                      <a:pt x="3314498" y="1053629"/>
                      <a:pt x="3315340" y="1052175"/>
                      <a:pt x="3316105" y="1050529"/>
                    </a:cubicBezTo>
                    <a:cubicBezTo>
                      <a:pt x="3334208" y="1010652"/>
                      <a:pt x="3356366" y="972305"/>
                      <a:pt x="3382045" y="936481"/>
                    </a:cubicBezTo>
                    <a:cubicBezTo>
                      <a:pt x="3382658" y="935639"/>
                      <a:pt x="3383040" y="934720"/>
                      <a:pt x="3383537" y="933840"/>
                    </a:cubicBezTo>
                    <a:cubicBezTo>
                      <a:pt x="3384418" y="932462"/>
                      <a:pt x="3385298" y="931085"/>
                      <a:pt x="3386025" y="929631"/>
                    </a:cubicBezTo>
                    <a:cubicBezTo>
                      <a:pt x="3386638" y="928329"/>
                      <a:pt x="3387135" y="926990"/>
                      <a:pt x="3387556" y="925689"/>
                    </a:cubicBezTo>
                    <a:cubicBezTo>
                      <a:pt x="3388054" y="924311"/>
                      <a:pt x="3388589" y="922933"/>
                      <a:pt x="3388934" y="921556"/>
                    </a:cubicBezTo>
                    <a:cubicBezTo>
                      <a:pt x="3389316" y="920063"/>
                      <a:pt x="3389546" y="918647"/>
                      <a:pt x="3389775" y="917116"/>
                    </a:cubicBezTo>
                    <a:cubicBezTo>
                      <a:pt x="3390005" y="915738"/>
                      <a:pt x="3390196" y="914437"/>
                      <a:pt x="3390273" y="913060"/>
                    </a:cubicBezTo>
                    <a:cubicBezTo>
                      <a:pt x="3390388" y="911567"/>
                      <a:pt x="3390311" y="910113"/>
                      <a:pt x="3390273" y="908658"/>
                    </a:cubicBezTo>
                    <a:cubicBezTo>
                      <a:pt x="3390235" y="907243"/>
                      <a:pt x="3390158" y="905865"/>
                      <a:pt x="3390005" y="904449"/>
                    </a:cubicBezTo>
                    <a:cubicBezTo>
                      <a:pt x="3389775" y="903033"/>
                      <a:pt x="3389469" y="901655"/>
                      <a:pt x="3389125" y="900277"/>
                    </a:cubicBezTo>
                    <a:cubicBezTo>
                      <a:pt x="3388780" y="898861"/>
                      <a:pt x="3388474" y="897484"/>
                      <a:pt x="3387977" y="896106"/>
                    </a:cubicBezTo>
                    <a:cubicBezTo>
                      <a:pt x="3387479" y="894690"/>
                      <a:pt x="3386829" y="893312"/>
                      <a:pt x="3386293" y="891934"/>
                    </a:cubicBezTo>
                    <a:cubicBezTo>
                      <a:pt x="3385681" y="890672"/>
                      <a:pt x="3385145" y="889447"/>
                      <a:pt x="3384494" y="888222"/>
                    </a:cubicBezTo>
                    <a:cubicBezTo>
                      <a:pt x="3383652" y="886806"/>
                      <a:pt x="3382695" y="885429"/>
                      <a:pt x="3381624" y="884051"/>
                    </a:cubicBezTo>
                    <a:cubicBezTo>
                      <a:pt x="3381088" y="883285"/>
                      <a:pt x="3380629" y="882405"/>
                      <a:pt x="3380017" y="881640"/>
                    </a:cubicBezTo>
                    <a:lnTo>
                      <a:pt x="3316756" y="806133"/>
                    </a:lnTo>
                    <a:cubicBezTo>
                      <a:pt x="3302750" y="789448"/>
                      <a:pt x="3304893" y="764495"/>
                      <a:pt x="3321655" y="750488"/>
                    </a:cubicBezTo>
                    <a:lnTo>
                      <a:pt x="3463596" y="631394"/>
                    </a:lnTo>
                    <a:cubicBezTo>
                      <a:pt x="3480282" y="617387"/>
                      <a:pt x="3505234" y="619607"/>
                      <a:pt x="3519241" y="636216"/>
                    </a:cubicBezTo>
                    <a:lnTo>
                      <a:pt x="3582463" y="711647"/>
                    </a:lnTo>
                    <a:cubicBezTo>
                      <a:pt x="3582693" y="711876"/>
                      <a:pt x="3582884" y="711991"/>
                      <a:pt x="3583075" y="712182"/>
                    </a:cubicBezTo>
                    <a:cubicBezTo>
                      <a:pt x="3584759" y="714172"/>
                      <a:pt x="3586634" y="715971"/>
                      <a:pt x="3588663" y="717617"/>
                    </a:cubicBezTo>
                    <a:cubicBezTo>
                      <a:pt x="3589198" y="717999"/>
                      <a:pt x="3589773" y="718382"/>
                      <a:pt x="3590270" y="718765"/>
                    </a:cubicBezTo>
                    <a:cubicBezTo>
                      <a:pt x="3591877" y="719913"/>
                      <a:pt x="3593523" y="721023"/>
                      <a:pt x="3595207" y="721941"/>
                    </a:cubicBezTo>
                    <a:cubicBezTo>
                      <a:pt x="3595972" y="722362"/>
                      <a:pt x="3596738" y="722783"/>
                      <a:pt x="3597580" y="723166"/>
                    </a:cubicBezTo>
                    <a:cubicBezTo>
                      <a:pt x="3599570" y="724084"/>
                      <a:pt x="3601521" y="724926"/>
                      <a:pt x="3603626" y="725577"/>
                    </a:cubicBezTo>
                    <a:cubicBezTo>
                      <a:pt x="3604009" y="725692"/>
                      <a:pt x="3604353" y="725845"/>
                      <a:pt x="3604736" y="725921"/>
                    </a:cubicBezTo>
                    <a:cubicBezTo>
                      <a:pt x="3607147" y="726648"/>
                      <a:pt x="3609635" y="727031"/>
                      <a:pt x="3612084" y="727299"/>
                    </a:cubicBezTo>
                    <a:cubicBezTo>
                      <a:pt x="3612811" y="727337"/>
                      <a:pt x="3613577" y="727414"/>
                      <a:pt x="3614342" y="727452"/>
                    </a:cubicBezTo>
                    <a:cubicBezTo>
                      <a:pt x="3615222" y="727490"/>
                      <a:pt x="3616026" y="727605"/>
                      <a:pt x="3616906" y="727605"/>
                    </a:cubicBezTo>
                    <a:cubicBezTo>
                      <a:pt x="3617633" y="727605"/>
                      <a:pt x="3618207" y="727376"/>
                      <a:pt x="3618896" y="727376"/>
                    </a:cubicBezTo>
                    <a:cubicBezTo>
                      <a:pt x="3620771" y="727337"/>
                      <a:pt x="3622685" y="727108"/>
                      <a:pt x="3624598" y="726763"/>
                    </a:cubicBezTo>
                    <a:cubicBezTo>
                      <a:pt x="3625746" y="726534"/>
                      <a:pt x="3626971" y="726342"/>
                      <a:pt x="3628043" y="726036"/>
                    </a:cubicBezTo>
                    <a:cubicBezTo>
                      <a:pt x="3630109" y="725500"/>
                      <a:pt x="3632176" y="724773"/>
                      <a:pt x="3634127" y="723893"/>
                    </a:cubicBezTo>
                    <a:cubicBezTo>
                      <a:pt x="3634893" y="723625"/>
                      <a:pt x="3635543" y="723510"/>
                      <a:pt x="3636309" y="723128"/>
                    </a:cubicBezTo>
                    <a:cubicBezTo>
                      <a:pt x="3675765" y="704107"/>
                      <a:pt x="3717403" y="688952"/>
                      <a:pt x="3759958" y="678121"/>
                    </a:cubicBezTo>
                    <a:cubicBezTo>
                      <a:pt x="3760992" y="677854"/>
                      <a:pt x="3761872" y="677356"/>
                      <a:pt x="3762867" y="677012"/>
                    </a:cubicBezTo>
                    <a:cubicBezTo>
                      <a:pt x="3764475" y="676514"/>
                      <a:pt x="3766005" y="676017"/>
                      <a:pt x="3767460" y="675366"/>
                    </a:cubicBezTo>
                    <a:cubicBezTo>
                      <a:pt x="3768723" y="674754"/>
                      <a:pt x="3769985" y="674065"/>
                      <a:pt x="3771172" y="673338"/>
                    </a:cubicBezTo>
                    <a:cubicBezTo>
                      <a:pt x="3772397" y="672611"/>
                      <a:pt x="3773698" y="671922"/>
                      <a:pt x="3774846" y="671042"/>
                    </a:cubicBezTo>
                    <a:cubicBezTo>
                      <a:pt x="3776070" y="670161"/>
                      <a:pt x="3777142" y="669166"/>
                      <a:pt x="3778290" y="668171"/>
                    </a:cubicBezTo>
                    <a:cubicBezTo>
                      <a:pt x="3779400" y="667253"/>
                      <a:pt x="3780357" y="666373"/>
                      <a:pt x="3781352" y="665377"/>
                    </a:cubicBezTo>
                    <a:cubicBezTo>
                      <a:pt x="3782385" y="664268"/>
                      <a:pt x="3783227" y="663196"/>
                      <a:pt x="3784145" y="662048"/>
                    </a:cubicBezTo>
                    <a:cubicBezTo>
                      <a:pt x="3785026" y="660900"/>
                      <a:pt x="3785906" y="659790"/>
                      <a:pt x="3786671" y="658604"/>
                    </a:cubicBezTo>
                    <a:cubicBezTo>
                      <a:pt x="3787437" y="657379"/>
                      <a:pt x="3787972" y="656193"/>
                      <a:pt x="3788661" y="654930"/>
                    </a:cubicBezTo>
                    <a:cubicBezTo>
                      <a:pt x="3789388" y="653629"/>
                      <a:pt x="3790039" y="652366"/>
                      <a:pt x="3790575" y="650911"/>
                    </a:cubicBezTo>
                    <a:cubicBezTo>
                      <a:pt x="3791110" y="649534"/>
                      <a:pt x="3791493" y="648156"/>
                      <a:pt x="3791838" y="646740"/>
                    </a:cubicBezTo>
                    <a:cubicBezTo>
                      <a:pt x="3792220" y="645362"/>
                      <a:pt x="3792680" y="644061"/>
                      <a:pt x="3792948" y="642607"/>
                    </a:cubicBezTo>
                    <a:cubicBezTo>
                      <a:pt x="3793215" y="641000"/>
                      <a:pt x="3793292" y="639354"/>
                      <a:pt x="3793445" y="637785"/>
                    </a:cubicBezTo>
                    <a:cubicBezTo>
                      <a:pt x="3793483" y="636752"/>
                      <a:pt x="3793713" y="635757"/>
                      <a:pt x="3793713" y="634723"/>
                    </a:cubicBezTo>
                    <a:lnTo>
                      <a:pt x="3793713" y="536252"/>
                    </a:lnTo>
                    <a:cubicBezTo>
                      <a:pt x="3793713" y="514514"/>
                      <a:pt x="3811432" y="496796"/>
                      <a:pt x="3833207" y="496796"/>
                    </a:cubicBezTo>
                    <a:lnTo>
                      <a:pt x="4018549" y="496796"/>
                    </a:lnTo>
                    <a:cubicBezTo>
                      <a:pt x="4040287" y="496796"/>
                      <a:pt x="4058044" y="514515"/>
                      <a:pt x="4058044" y="536252"/>
                    </a:cubicBezTo>
                    <a:lnTo>
                      <a:pt x="4058044" y="634723"/>
                    </a:lnTo>
                    <a:cubicBezTo>
                      <a:pt x="4058044" y="635833"/>
                      <a:pt x="4058273" y="636866"/>
                      <a:pt x="4058388" y="637976"/>
                    </a:cubicBezTo>
                    <a:cubicBezTo>
                      <a:pt x="4058503" y="639507"/>
                      <a:pt x="4058618" y="641114"/>
                      <a:pt x="4058886" y="642645"/>
                    </a:cubicBezTo>
                    <a:cubicBezTo>
                      <a:pt x="4059154" y="644138"/>
                      <a:pt x="4059613" y="645515"/>
                      <a:pt x="4059996" y="646931"/>
                    </a:cubicBezTo>
                    <a:cubicBezTo>
                      <a:pt x="4060378" y="648309"/>
                      <a:pt x="4060761" y="649610"/>
                      <a:pt x="4061220" y="650950"/>
                    </a:cubicBezTo>
                    <a:cubicBezTo>
                      <a:pt x="4061833" y="652366"/>
                      <a:pt x="4062483" y="653743"/>
                      <a:pt x="4063210" y="655121"/>
                    </a:cubicBezTo>
                    <a:cubicBezTo>
                      <a:pt x="4063823" y="656269"/>
                      <a:pt x="4064358" y="657494"/>
                      <a:pt x="4065124" y="658642"/>
                    </a:cubicBezTo>
                    <a:cubicBezTo>
                      <a:pt x="4065966" y="659905"/>
                      <a:pt x="4066808" y="661053"/>
                      <a:pt x="4067764" y="662278"/>
                    </a:cubicBezTo>
                    <a:cubicBezTo>
                      <a:pt x="4068644" y="663388"/>
                      <a:pt x="4069410" y="664459"/>
                      <a:pt x="4070405" y="665454"/>
                    </a:cubicBezTo>
                    <a:cubicBezTo>
                      <a:pt x="4071438" y="666564"/>
                      <a:pt x="4072472" y="667482"/>
                      <a:pt x="4073657" y="668401"/>
                    </a:cubicBezTo>
                    <a:cubicBezTo>
                      <a:pt x="4074767" y="669319"/>
                      <a:pt x="4075724" y="670276"/>
                      <a:pt x="4076949" y="671080"/>
                    </a:cubicBezTo>
                    <a:cubicBezTo>
                      <a:pt x="4078173" y="671960"/>
                      <a:pt x="4079513" y="672725"/>
                      <a:pt x="4080853" y="673453"/>
                    </a:cubicBezTo>
                    <a:cubicBezTo>
                      <a:pt x="4082001" y="674103"/>
                      <a:pt x="4083149" y="674830"/>
                      <a:pt x="4084374" y="675366"/>
                    </a:cubicBezTo>
                    <a:cubicBezTo>
                      <a:pt x="4085904" y="676093"/>
                      <a:pt x="4087627" y="676591"/>
                      <a:pt x="4089196" y="677126"/>
                    </a:cubicBezTo>
                    <a:cubicBezTo>
                      <a:pt x="4090114" y="677394"/>
                      <a:pt x="4090956" y="677892"/>
                      <a:pt x="4091951" y="678160"/>
                    </a:cubicBezTo>
                    <a:cubicBezTo>
                      <a:pt x="4134508" y="688952"/>
                      <a:pt x="4176106" y="704107"/>
                      <a:pt x="4215679" y="723166"/>
                    </a:cubicBezTo>
                    <a:cubicBezTo>
                      <a:pt x="4216406" y="723510"/>
                      <a:pt x="4217095" y="723587"/>
                      <a:pt x="4217860" y="723931"/>
                    </a:cubicBezTo>
                    <a:cubicBezTo>
                      <a:pt x="4219851" y="724773"/>
                      <a:pt x="4221802" y="725539"/>
                      <a:pt x="4223831" y="725998"/>
                    </a:cubicBezTo>
                    <a:cubicBezTo>
                      <a:pt x="4225055" y="726342"/>
                      <a:pt x="4226242" y="726534"/>
                      <a:pt x="4227466" y="726763"/>
                    </a:cubicBezTo>
                    <a:cubicBezTo>
                      <a:pt x="4229265" y="727108"/>
                      <a:pt x="4231102" y="727261"/>
                      <a:pt x="4232939" y="727376"/>
                    </a:cubicBezTo>
                    <a:cubicBezTo>
                      <a:pt x="4233666" y="727376"/>
                      <a:pt x="4234317" y="727605"/>
                      <a:pt x="4235005" y="727605"/>
                    </a:cubicBezTo>
                    <a:cubicBezTo>
                      <a:pt x="4235924" y="727605"/>
                      <a:pt x="4236804" y="727490"/>
                      <a:pt x="4237761" y="727376"/>
                    </a:cubicBezTo>
                    <a:cubicBezTo>
                      <a:pt x="4238488" y="727376"/>
                      <a:pt x="4239062" y="727337"/>
                      <a:pt x="4239789" y="727261"/>
                    </a:cubicBezTo>
                    <a:cubicBezTo>
                      <a:pt x="4242315" y="726993"/>
                      <a:pt x="4244879" y="726534"/>
                      <a:pt x="4247367" y="725883"/>
                    </a:cubicBezTo>
                    <a:cubicBezTo>
                      <a:pt x="4247520" y="725845"/>
                      <a:pt x="4247711" y="725768"/>
                      <a:pt x="4247864" y="725730"/>
                    </a:cubicBezTo>
                    <a:cubicBezTo>
                      <a:pt x="4250160" y="725003"/>
                      <a:pt x="4252380" y="724123"/>
                      <a:pt x="4254485" y="723089"/>
                    </a:cubicBezTo>
                    <a:cubicBezTo>
                      <a:pt x="4255212" y="722745"/>
                      <a:pt x="4255863" y="722362"/>
                      <a:pt x="4256552" y="721980"/>
                    </a:cubicBezTo>
                    <a:cubicBezTo>
                      <a:pt x="4258350" y="720985"/>
                      <a:pt x="4260187" y="719798"/>
                      <a:pt x="4261909" y="718535"/>
                    </a:cubicBezTo>
                    <a:cubicBezTo>
                      <a:pt x="4262292" y="718267"/>
                      <a:pt x="4262751" y="718000"/>
                      <a:pt x="4263057" y="717655"/>
                    </a:cubicBezTo>
                    <a:cubicBezTo>
                      <a:pt x="4265124" y="716009"/>
                      <a:pt x="4267076" y="714096"/>
                      <a:pt x="4268836" y="711991"/>
                    </a:cubicBezTo>
                    <a:cubicBezTo>
                      <a:pt x="4268989" y="711838"/>
                      <a:pt x="4269181" y="711723"/>
                      <a:pt x="4269334" y="711570"/>
                    </a:cubicBezTo>
                    <a:lnTo>
                      <a:pt x="4332479" y="636140"/>
                    </a:lnTo>
                    <a:cubicBezTo>
                      <a:pt x="4339215" y="628142"/>
                      <a:pt x="4348705" y="623243"/>
                      <a:pt x="4359269" y="622324"/>
                    </a:cubicBezTo>
                    <a:cubicBezTo>
                      <a:pt x="4369793" y="621406"/>
                      <a:pt x="4380050" y="624620"/>
                      <a:pt x="4388086" y="631394"/>
                    </a:cubicBezTo>
                    <a:lnTo>
                      <a:pt x="4530066" y="750488"/>
                    </a:lnTo>
                    <a:cubicBezTo>
                      <a:pt x="4546752" y="764495"/>
                      <a:pt x="4548934" y="789448"/>
                      <a:pt x="4534965" y="806171"/>
                    </a:cubicBezTo>
                    <a:lnTo>
                      <a:pt x="4471705" y="881601"/>
                    </a:lnTo>
                    <a:cubicBezTo>
                      <a:pt x="4470939" y="882443"/>
                      <a:pt x="4470557" y="883362"/>
                      <a:pt x="4469906" y="884242"/>
                    </a:cubicBezTo>
                    <a:cubicBezTo>
                      <a:pt x="4468988" y="885505"/>
                      <a:pt x="4468107" y="886730"/>
                      <a:pt x="4467265" y="888069"/>
                    </a:cubicBezTo>
                    <a:cubicBezTo>
                      <a:pt x="4466500" y="889370"/>
                      <a:pt x="4465964" y="890748"/>
                      <a:pt x="4465352" y="892126"/>
                    </a:cubicBezTo>
                    <a:cubicBezTo>
                      <a:pt x="4464740" y="893389"/>
                      <a:pt x="4464204" y="894613"/>
                      <a:pt x="4463745" y="895914"/>
                    </a:cubicBezTo>
                    <a:cubicBezTo>
                      <a:pt x="4463247" y="897407"/>
                      <a:pt x="4462864" y="898938"/>
                      <a:pt x="4462597" y="900468"/>
                    </a:cubicBezTo>
                    <a:cubicBezTo>
                      <a:pt x="4462252" y="901731"/>
                      <a:pt x="4461984" y="902994"/>
                      <a:pt x="4461755" y="904295"/>
                    </a:cubicBezTo>
                    <a:cubicBezTo>
                      <a:pt x="4461525" y="905826"/>
                      <a:pt x="4461525" y="907357"/>
                      <a:pt x="4461487" y="908850"/>
                    </a:cubicBezTo>
                    <a:cubicBezTo>
                      <a:pt x="4461448" y="910227"/>
                      <a:pt x="4461334" y="911528"/>
                      <a:pt x="4461448" y="912906"/>
                    </a:cubicBezTo>
                    <a:cubicBezTo>
                      <a:pt x="4461563" y="914399"/>
                      <a:pt x="4461793" y="915853"/>
                      <a:pt x="4461984" y="917345"/>
                    </a:cubicBezTo>
                    <a:cubicBezTo>
                      <a:pt x="4462252" y="918723"/>
                      <a:pt x="4462405" y="920024"/>
                      <a:pt x="4462750" y="921402"/>
                    </a:cubicBezTo>
                    <a:cubicBezTo>
                      <a:pt x="4463171" y="922895"/>
                      <a:pt x="4463745" y="924349"/>
                      <a:pt x="4464242" y="925841"/>
                    </a:cubicBezTo>
                    <a:cubicBezTo>
                      <a:pt x="4464740" y="927066"/>
                      <a:pt x="4465122" y="928252"/>
                      <a:pt x="4465658" y="929477"/>
                    </a:cubicBezTo>
                    <a:cubicBezTo>
                      <a:pt x="4466424" y="931084"/>
                      <a:pt x="4467304" y="932539"/>
                      <a:pt x="4468299" y="934031"/>
                    </a:cubicBezTo>
                    <a:cubicBezTo>
                      <a:pt x="4468796" y="934796"/>
                      <a:pt x="4469141" y="935677"/>
                      <a:pt x="4469600" y="936404"/>
                    </a:cubicBezTo>
                    <a:cubicBezTo>
                      <a:pt x="4495279" y="972109"/>
                      <a:pt x="4517438" y="1010456"/>
                      <a:pt x="4535539" y="1050413"/>
                    </a:cubicBezTo>
                    <a:cubicBezTo>
                      <a:pt x="4536420" y="1052212"/>
                      <a:pt x="4537338" y="1053934"/>
                      <a:pt x="4538410" y="1055618"/>
                    </a:cubicBezTo>
                    <a:cubicBezTo>
                      <a:pt x="4538639" y="1055886"/>
                      <a:pt x="4538792" y="1056230"/>
                      <a:pt x="4538945" y="1056536"/>
                    </a:cubicBezTo>
                    <a:cubicBezTo>
                      <a:pt x="4540323" y="1058603"/>
                      <a:pt x="4541892" y="1060555"/>
                      <a:pt x="4543614" y="1062353"/>
                    </a:cubicBezTo>
                    <a:cubicBezTo>
                      <a:pt x="4544150" y="1062889"/>
                      <a:pt x="4544724" y="1063463"/>
                      <a:pt x="4545222" y="1063961"/>
                    </a:cubicBezTo>
                    <a:cubicBezTo>
                      <a:pt x="4546599" y="1065262"/>
                      <a:pt x="4548092" y="1066525"/>
                      <a:pt x="4549623" y="1067673"/>
                    </a:cubicBezTo>
                    <a:cubicBezTo>
                      <a:pt x="4550235" y="1068094"/>
                      <a:pt x="4550771" y="1068591"/>
                      <a:pt x="4551421" y="1068974"/>
                    </a:cubicBezTo>
                    <a:cubicBezTo>
                      <a:pt x="4553488" y="1070390"/>
                      <a:pt x="4555708" y="1071730"/>
                      <a:pt x="4558004" y="1072686"/>
                    </a:cubicBezTo>
                    <a:cubicBezTo>
                      <a:pt x="4558272" y="1072801"/>
                      <a:pt x="4558540" y="1072839"/>
                      <a:pt x="4558846" y="1072954"/>
                    </a:cubicBezTo>
                    <a:cubicBezTo>
                      <a:pt x="4560912" y="1073873"/>
                      <a:pt x="4563132" y="1074600"/>
                      <a:pt x="4565313" y="1075136"/>
                    </a:cubicBezTo>
                    <a:cubicBezTo>
                      <a:pt x="4566155" y="1075289"/>
                      <a:pt x="4566921" y="1075480"/>
                      <a:pt x="4567724" y="1075633"/>
                    </a:cubicBezTo>
                    <a:cubicBezTo>
                      <a:pt x="4569714" y="1076016"/>
                      <a:pt x="4571743" y="1076284"/>
                      <a:pt x="4573771" y="1076399"/>
                    </a:cubicBezTo>
                    <a:cubicBezTo>
                      <a:pt x="4574383" y="1076399"/>
                      <a:pt x="4574919" y="1076513"/>
                      <a:pt x="4575570" y="1076513"/>
                    </a:cubicBezTo>
                    <a:cubicBezTo>
                      <a:pt x="4575799" y="1076513"/>
                      <a:pt x="4576106" y="1076552"/>
                      <a:pt x="4576335" y="1076552"/>
                    </a:cubicBezTo>
                    <a:cubicBezTo>
                      <a:pt x="4577560" y="1076552"/>
                      <a:pt x="4578823" y="1076284"/>
                      <a:pt x="4580009" y="1076169"/>
                    </a:cubicBezTo>
                    <a:cubicBezTo>
                      <a:pt x="4581310" y="1076054"/>
                      <a:pt x="4582688" y="1076131"/>
                      <a:pt x="4584066" y="1075901"/>
                    </a:cubicBezTo>
                    <a:lnTo>
                      <a:pt x="4680889" y="1058833"/>
                    </a:lnTo>
                    <a:cubicBezTo>
                      <a:pt x="4702359" y="1055044"/>
                      <a:pt x="4722987" y="1069433"/>
                      <a:pt x="4726737" y="1090864"/>
                    </a:cubicBezTo>
                    <a:lnTo>
                      <a:pt x="4758961" y="1273336"/>
                    </a:lnTo>
                    <a:cubicBezTo>
                      <a:pt x="4762673" y="1294806"/>
                      <a:pt x="4748322" y="1315357"/>
                      <a:pt x="4726929" y="1319146"/>
                    </a:cubicBezTo>
                    <a:lnTo>
                      <a:pt x="4629837" y="1336214"/>
                    </a:lnTo>
                    <a:cubicBezTo>
                      <a:pt x="4628689" y="1336367"/>
                      <a:pt x="4627694" y="1336865"/>
                      <a:pt x="4626546" y="1337133"/>
                    </a:cubicBezTo>
                    <a:cubicBezTo>
                      <a:pt x="4625130" y="1337515"/>
                      <a:pt x="4623638" y="1337860"/>
                      <a:pt x="4622260" y="1338357"/>
                    </a:cubicBezTo>
                    <a:cubicBezTo>
                      <a:pt x="4620844" y="1338893"/>
                      <a:pt x="4619466" y="1339582"/>
                      <a:pt x="4618127" y="1340233"/>
                    </a:cubicBezTo>
                    <a:cubicBezTo>
                      <a:pt x="4616902" y="1340883"/>
                      <a:pt x="4615601" y="1341457"/>
                      <a:pt x="4614453" y="1342146"/>
                    </a:cubicBezTo>
                    <a:cubicBezTo>
                      <a:pt x="4613190" y="1342911"/>
                      <a:pt x="4611965" y="1343792"/>
                      <a:pt x="4610817" y="1344710"/>
                    </a:cubicBezTo>
                    <a:cubicBezTo>
                      <a:pt x="4609669" y="1345552"/>
                      <a:pt x="4608559" y="1346356"/>
                      <a:pt x="4607488" y="1347274"/>
                    </a:cubicBezTo>
                    <a:cubicBezTo>
                      <a:pt x="4606454" y="1348269"/>
                      <a:pt x="4605574" y="1349264"/>
                      <a:pt x="4604617" y="1350298"/>
                    </a:cubicBezTo>
                    <a:cubicBezTo>
                      <a:pt x="4603584" y="1351446"/>
                      <a:pt x="4602589" y="1352556"/>
                      <a:pt x="4601671" y="1353742"/>
                    </a:cubicBezTo>
                    <a:cubicBezTo>
                      <a:pt x="4600829" y="1354852"/>
                      <a:pt x="4600255" y="1355923"/>
                      <a:pt x="4599527" y="1357033"/>
                    </a:cubicBezTo>
                    <a:cubicBezTo>
                      <a:pt x="4598686" y="1358334"/>
                      <a:pt x="4597920" y="1359712"/>
                      <a:pt x="4597231" y="1361166"/>
                    </a:cubicBezTo>
                    <a:cubicBezTo>
                      <a:pt x="4596619" y="1362391"/>
                      <a:pt x="4596198" y="1363692"/>
                      <a:pt x="4595739" y="1364955"/>
                    </a:cubicBezTo>
                    <a:cubicBezTo>
                      <a:pt x="4595241" y="1366371"/>
                      <a:pt x="4594629" y="1367749"/>
                      <a:pt x="4594323" y="1369280"/>
                    </a:cubicBezTo>
                    <a:cubicBezTo>
                      <a:pt x="4593940" y="1370696"/>
                      <a:pt x="4593787" y="1372226"/>
                      <a:pt x="4593557" y="1373795"/>
                    </a:cubicBezTo>
                    <a:cubicBezTo>
                      <a:pt x="4593404" y="1374905"/>
                      <a:pt x="4593022" y="1375939"/>
                      <a:pt x="4592945" y="1377087"/>
                    </a:cubicBezTo>
                    <a:cubicBezTo>
                      <a:pt x="4589616" y="1421097"/>
                      <a:pt x="4582037" y="1464687"/>
                      <a:pt x="4570213" y="1506820"/>
                    </a:cubicBezTo>
                    <a:cubicBezTo>
                      <a:pt x="4569868" y="1507930"/>
                      <a:pt x="4569830" y="1509002"/>
                      <a:pt x="4569600" y="1510112"/>
                    </a:cubicBezTo>
                    <a:cubicBezTo>
                      <a:pt x="4569332" y="1511604"/>
                      <a:pt x="4568988" y="1513020"/>
                      <a:pt x="4568835" y="1514551"/>
                    </a:cubicBezTo>
                    <a:cubicBezTo>
                      <a:pt x="4568682" y="1516082"/>
                      <a:pt x="4568720" y="1517613"/>
                      <a:pt x="4568720" y="1519144"/>
                    </a:cubicBezTo>
                    <a:cubicBezTo>
                      <a:pt x="4568720" y="1520445"/>
                      <a:pt x="4568682" y="1521822"/>
                      <a:pt x="4568835" y="1523162"/>
                    </a:cubicBezTo>
                    <a:cubicBezTo>
                      <a:pt x="4568988" y="1524769"/>
                      <a:pt x="4569332" y="1526300"/>
                      <a:pt x="4569600" y="1527831"/>
                    </a:cubicBezTo>
                    <a:cubicBezTo>
                      <a:pt x="4569868" y="1529056"/>
                      <a:pt x="4570136" y="1530318"/>
                      <a:pt x="4570519" y="1531543"/>
                    </a:cubicBezTo>
                    <a:cubicBezTo>
                      <a:pt x="4570940" y="1533036"/>
                      <a:pt x="4571552" y="1534452"/>
                      <a:pt x="4572126" y="1535868"/>
                    </a:cubicBezTo>
                    <a:cubicBezTo>
                      <a:pt x="4572662" y="1537131"/>
                      <a:pt x="4573159" y="1538355"/>
                      <a:pt x="4573733" y="1539542"/>
                    </a:cubicBezTo>
                    <a:cubicBezTo>
                      <a:pt x="4574461" y="1540843"/>
                      <a:pt x="4575226" y="1542067"/>
                      <a:pt x="4576106" y="1543330"/>
                    </a:cubicBezTo>
                    <a:cubicBezTo>
                      <a:pt x="4576872" y="1544479"/>
                      <a:pt x="4577599" y="1545626"/>
                      <a:pt x="4578479" y="1546736"/>
                    </a:cubicBezTo>
                    <a:cubicBezTo>
                      <a:pt x="4579474" y="1547961"/>
                      <a:pt x="4580546" y="1549033"/>
                      <a:pt x="4581655" y="1550143"/>
                    </a:cubicBezTo>
                    <a:cubicBezTo>
                      <a:pt x="4582574" y="1551138"/>
                      <a:pt x="4583454" y="1552056"/>
                      <a:pt x="4584564" y="1552936"/>
                    </a:cubicBezTo>
                    <a:cubicBezTo>
                      <a:pt x="4585827" y="1554046"/>
                      <a:pt x="4587243" y="1554965"/>
                      <a:pt x="4588697" y="1555883"/>
                    </a:cubicBezTo>
                    <a:cubicBezTo>
                      <a:pt x="4589539" y="1556419"/>
                      <a:pt x="4590113" y="1557108"/>
                      <a:pt x="4590993" y="1557567"/>
                    </a:cubicBezTo>
                    <a:lnTo>
                      <a:pt x="4676182" y="1606744"/>
                    </a:lnTo>
                    <a:cubicBezTo>
                      <a:pt x="4694476" y="1617765"/>
                      <a:pt x="4700943" y="1641953"/>
                      <a:pt x="4690075" y="1660857"/>
                    </a:cubicBezTo>
                    <a:close/>
                  </a:path>
                </a:pathLst>
              </a:custGeom>
              <a:solidFill>
                <a:srgbClr val="000000"/>
              </a:solidFill>
              <a:ln w="9797" cap="flat">
                <a:noFill/>
                <a:prstDash val="solid"/>
                <a:miter/>
              </a:ln>
            </p:spPr>
            <p:txBody>
              <a:bodyPr rtlCol="0" anchor="ctr"/>
              <a:lstStyle/>
              <a:p>
                <a:endParaRPr lang="en-US" dirty="0"/>
              </a:p>
            </p:txBody>
          </p:sp>
          <p:sp>
            <p:nvSpPr>
              <p:cNvPr id="190" name="Freeform: Shape 189">
                <a:extLst>
                  <a:ext uri="{FF2B5EF4-FFF2-40B4-BE49-F238E27FC236}">
                    <a16:creationId xmlns:a16="http://schemas.microsoft.com/office/drawing/2014/main" id="{B7EC22A4-8862-58E7-6C27-A59335416AE5}"/>
                  </a:ext>
                </a:extLst>
              </p:cNvPr>
              <p:cNvSpPr/>
              <p:nvPr/>
            </p:nvSpPr>
            <p:spPr>
              <a:xfrm>
                <a:off x="7149604" y="1242277"/>
                <a:ext cx="894871" cy="894910"/>
              </a:xfrm>
              <a:custGeom>
                <a:avLst/>
                <a:gdLst>
                  <a:gd name="connsiteX0" fmla="*/ 447416 w 894871"/>
                  <a:gd name="connsiteY0" fmla="*/ 0 h 894910"/>
                  <a:gd name="connsiteX1" fmla="*/ 0 w 894871"/>
                  <a:gd name="connsiteY1" fmla="*/ 447455 h 894910"/>
                  <a:gd name="connsiteX2" fmla="*/ 447416 w 894871"/>
                  <a:gd name="connsiteY2" fmla="*/ 894910 h 894910"/>
                  <a:gd name="connsiteX3" fmla="*/ 894871 w 894871"/>
                  <a:gd name="connsiteY3" fmla="*/ 447455 h 894910"/>
                  <a:gd name="connsiteX4" fmla="*/ 447416 w 894871"/>
                  <a:gd name="connsiteY4" fmla="*/ 0 h 894910"/>
                  <a:gd name="connsiteX5" fmla="*/ 447416 w 894871"/>
                  <a:gd name="connsiteY5" fmla="*/ 805394 h 894910"/>
                  <a:gd name="connsiteX6" fmla="*/ 89477 w 894871"/>
                  <a:gd name="connsiteY6" fmla="*/ 447455 h 894910"/>
                  <a:gd name="connsiteX7" fmla="*/ 447416 w 894871"/>
                  <a:gd name="connsiteY7" fmla="*/ 89516 h 894910"/>
                  <a:gd name="connsiteX8" fmla="*/ 805355 w 894871"/>
                  <a:gd name="connsiteY8" fmla="*/ 447455 h 894910"/>
                  <a:gd name="connsiteX9" fmla="*/ 447416 w 894871"/>
                  <a:gd name="connsiteY9" fmla="*/ 805394 h 89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4871" h="894910">
                    <a:moveTo>
                      <a:pt x="447416" y="0"/>
                    </a:moveTo>
                    <a:cubicBezTo>
                      <a:pt x="200685" y="0"/>
                      <a:pt x="0" y="200763"/>
                      <a:pt x="0" y="447455"/>
                    </a:cubicBezTo>
                    <a:cubicBezTo>
                      <a:pt x="0" y="694226"/>
                      <a:pt x="200685" y="894910"/>
                      <a:pt x="447416" y="894910"/>
                    </a:cubicBezTo>
                    <a:cubicBezTo>
                      <a:pt x="694147" y="894910"/>
                      <a:pt x="894871" y="694226"/>
                      <a:pt x="894871" y="447455"/>
                    </a:cubicBezTo>
                    <a:cubicBezTo>
                      <a:pt x="894910" y="200724"/>
                      <a:pt x="694147" y="0"/>
                      <a:pt x="447416" y="0"/>
                    </a:cubicBezTo>
                    <a:close/>
                    <a:moveTo>
                      <a:pt x="447416" y="805394"/>
                    </a:moveTo>
                    <a:cubicBezTo>
                      <a:pt x="250023" y="805394"/>
                      <a:pt x="89477" y="644809"/>
                      <a:pt x="89477" y="447455"/>
                    </a:cubicBezTo>
                    <a:cubicBezTo>
                      <a:pt x="89477" y="250101"/>
                      <a:pt x="250062" y="89516"/>
                      <a:pt x="447416" y="89516"/>
                    </a:cubicBezTo>
                    <a:cubicBezTo>
                      <a:pt x="644779" y="89516"/>
                      <a:pt x="805355" y="250101"/>
                      <a:pt x="805355" y="447455"/>
                    </a:cubicBezTo>
                    <a:cubicBezTo>
                      <a:pt x="805355" y="644809"/>
                      <a:pt x="644770" y="805394"/>
                      <a:pt x="447416" y="805394"/>
                    </a:cubicBezTo>
                    <a:close/>
                  </a:path>
                </a:pathLst>
              </a:custGeom>
              <a:solidFill>
                <a:srgbClr val="000000"/>
              </a:solidFill>
              <a:ln w="9797" cap="flat">
                <a:noFill/>
                <a:prstDash val="solid"/>
                <a:miter/>
              </a:ln>
            </p:spPr>
            <p:txBody>
              <a:bodyPr rtlCol="0" anchor="ctr"/>
              <a:lstStyle/>
              <a:p>
                <a:endParaRPr lang="en-US" dirty="0"/>
              </a:p>
            </p:txBody>
          </p:sp>
        </p:grpSp>
      </p:grpSp>
      <p:grpSp>
        <p:nvGrpSpPr>
          <p:cNvPr id="292" name="Group 291">
            <a:extLst>
              <a:ext uri="{FF2B5EF4-FFF2-40B4-BE49-F238E27FC236}">
                <a16:creationId xmlns:a16="http://schemas.microsoft.com/office/drawing/2014/main" id="{2597BA5B-AD91-4470-F735-A133EA4768E2}"/>
              </a:ext>
            </a:extLst>
          </p:cNvPr>
          <p:cNvGrpSpPr/>
          <p:nvPr/>
        </p:nvGrpSpPr>
        <p:grpSpPr>
          <a:xfrm>
            <a:off x="7401618" y="2529361"/>
            <a:ext cx="731520" cy="731520"/>
            <a:chOff x="7741172" y="2108476"/>
            <a:chExt cx="731520" cy="731520"/>
          </a:xfrm>
        </p:grpSpPr>
        <p:sp>
          <p:nvSpPr>
            <p:cNvPr id="29" name="Freeform: Shape 28">
              <a:extLst>
                <a:ext uri="{FF2B5EF4-FFF2-40B4-BE49-F238E27FC236}">
                  <a16:creationId xmlns:a16="http://schemas.microsoft.com/office/drawing/2014/main" id="{9DD9B35A-1C15-53BF-B7A0-270787B05DD5}"/>
                </a:ext>
              </a:extLst>
            </p:cNvPr>
            <p:cNvSpPr>
              <a:spLocks noChangeAspect="1"/>
            </p:cNvSpPr>
            <p:nvPr/>
          </p:nvSpPr>
          <p:spPr>
            <a:xfrm>
              <a:off x="7741172" y="2108476"/>
              <a:ext cx="731520" cy="731520"/>
            </a:xfrm>
            <a:custGeom>
              <a:avLst/>
              <a:gdLst>
                <a:gd name="connsiteX0" fmla="*/ 1123915 w 1123914"/>
                <a:gd name="connsiteY0" fmla="*/ 561957 h 1123914"/>
                <a:gd name="connsiteX1" fmla="*/ 561957 w 1123914"/>
                <a:gd name="connsiteY1" fmla="*/ 1123915 h 1123914"/>
                <a:gd name="connsiteX2" fmla="*/ 0 w 1123914"/>
                <a:gd name="connsiteY2" fmla="*/ 561957 h 1123914"/>
                <a:gd name="connsiteX3" fmla="*/ 561957 w 1123914"/>
                <a:gd name="connsiteY3" fmla="*/ 0 h 1123914"/>
                <a:gd name="connsiteX4" fmla="*/ 1123915 w 1123914"/>
                <a:gd name="connsiteY4" fmla="*/ 561957 h 112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14" h="1123914">
                  <a:moveTo>
                    <a:pt x="1123915" y="561957"/>
                  </a:moveTo>
                  <a:cubicBezTo>
                    <a:pt x="1123915" y="872318"/>
                    <a:pt x="872318" y="1123915"/>
                    <a:pt x="561957" y="1123915"/>
                  </a:cubicBezTo>
                  <a:cubicBezTo>
                    <a:pt x="251597" y="1123915"/>
                    <a:pt x="0" y="872318"/>
                    <a:pt x="0" y="561957"/>
                  </a:cubicBezTo>
                  <a:cubicBezTo>
                    <a:pt x="0" y="251597"/>
                    <a:pt x="251597" y="0"/>
                    <a:pt x="561957" y="0"/>
                  </a:cubicBezTo>
                  <a:cubicBezTo>
                    <a:pt x="872318" y="0"/>
                    <a:pt x="1123915" y="251597"/>
                    <a:pt x="1123915" y="561957"/>
                  </a:cubicBezTo>
                  <a:close/>
                </a:path>
              </a:pathLst>
            </a:custGeom>
            <a:solidFill>
              <a:srgbClr val="F2F2F2"/>
            </a:solidFill>
            <a:ln w="11941" cap="flat">
              <a:noFill/>
              <a:prstDash val="solid"/>
              <a:miter/>
            </a:ln>
          </p:spPr>
          <p:txBody>
            <a:bodyPr rtlCol="0" anchor="ctr"/>
            <a:lstStyle/>
            <a:p>
              <a:endParaRPr lang="en-US" dirty="0"/>
            </a:p>
          </p:txBody>
        </p:sp>
        <p:pic>
          <p:nvPicPr>
            <p:cNvPr id="275" name="Graphic 274" descr="Signpost outline">
              <a:extLst>
                <a:ext uri="{FF2B5EF4-FFF2-40B4-BE49-F238E27FC236}">
                  <a16:creationId xmlns:a16="http://schemas.microsoft.com/office/drawing/2014/main" id="{6C3EE0D4-A50F-AE34-6250-C7D65006AE2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36976" y="2204280"/>
              <a:ext cx="539912" cy="539912"/>
            </a:xfrm>
            <a:prstGeom prst="rect">
              <a:avLst/>
            </a:prstGeom>
          </p:spPr>
        </p:pic>
      </p:grpSp>
      <p:sp>
        <p:nvSpPr>
          <p:cNvPr id="276" name="Rectangle 275">
            <a:extLst>
              <a:ext uri="{FF2B5EF4-FFF2-40B4-BE49-F238E27FC236}">
                <a16:creationId xmlns:a16="http://schemas.microsoft.com/office/drawing/2014/main" id="{BF1418D4-796B-3F50-D07B-E2A6AD2AD369}"/>
              </a:ext>
            </a:extLst>
          </p:cNvPr>
          <p:cNvSpPr/>
          <p:nvPr/>
        </p:nvSpPr>
        <p:spPr>
          <a:xfrm>
            <a:off x="563146" y="1909763"/>
            <a:ext cx="3299795" cy="933655"/>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tx2"/>
                </a:solidFill>
              </a:rPr>
              <a:t>Improving the customer experience</a:t>
            </a:r>
          </a:p>
          <a:p>
            <a:r>
              <a:rPr lang="en-US" sz="1400" dirty="0">
                <a:solidFill>
                  <a:schemeClr val="bg2">
                    <a:lumMod val="10000"/>
                  </a:schemeClr>
                </a:solidFill>
              </a:rPr>
              <a:t>Tailoring customer experience, building stronger connection, and enhancing overall experience</a:t>
            </a:r>
          </a:p>
        </p:txBody>
      </p:sp>
      <p:sp>
        <p:nvSpPr>
          <p:cNvPr id="277" name="Rectangle 276">
            <a:extLst>
              <a:ext uri="{FF2B5EF4-FFF2-40B4-BE49-F238E27FC236}">
                <a16:creationId xmlns:a16="http://schemas.microsoft.com/office/drawing/2014/main" id="{49EF3992-274D-97F5-B8F4-A53C89A50726}"/>
              </a:ext>
            </a:extLst>
          </p:cNvPr>
          <p:cNvSpPr/>
          <p:nvPr/>
        </p:nvSpPr>
        <p:spPr>
          <a:xfrm>
            <a:off x="550862" y="3483876"/>
            <a:ext cx="2871981" cy="1266172"/>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tx2"/>
                </a:solidFill>
              </a:rPr>
              <a:t>Enhancing security</a:t>
            </a:r>
          </a:p>
          <a:p>
            <a:r>
              <a:rPr lang="en-US" sz="1400" dirty="0">
                <a:solidFill>
                  <a:schemeClr val="bg2">
                    <a:lumMod val="10000"/>
                  </a:schemeClr>
                </a:solidFill>
              </a:rPr>
              <a:t>Diagnosing the causes of past data breaches by processing and visualizing relevant data</a:t>
            </a:r>
          </a:p>
        </p:txBody>
      </p:sp>
      <p:sp>
        <p:nvSpPr>
          <p:cNvPr id="278" name="Rectangle 277">
            <a:extLst>
              <a:ext uri="{FF2B5EF4-FFF2-40B4-BE49-F238E27FC236}">
                <a16:creationId xmlns:a16="http://schemas.microsoft.com/office/drawing/2014/main" id="{52BFD08C-F78E-074C-5B92-903EC38568DB}"/>
              </a:ext>
            </a:extLst>
          </p:cNvPr>
          <p:cNvSpPr/>
          <p:nvPr/>
        </p:nvSpPr>
        <p:spPr>
          <a:xfrm>
            <a:off x="563146" y="5174712"/>
            <a:ext cx="3008376" cy="100280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tx2"/>
                </a:solidFill>
              </a:rPr>
              <a:t>Streamlining operations</a:t>
            </a:r>
            <a:endParaRPr lang="en-US" sz="1600" dirty="0">
              <a:solidFill>
                <a:schemeClr val="tx2"/>
              </a:solidFill>
            </a:endParaRPr>
          </a:p>
          <a:p>
            <a:r>
              <a:rPr lang="en-US" sz="1400" dirty="0">
                <a:solidFill>
                  <a:schemeClr val="bg2">
                    <a:lumMod val="10000"/>
                  </a:schemeClr>
                </a:solidFill>
              </a:rPr>
              <a:t>Improving operational efficiency and predicting future problems within a company</a:t>
            </a:r>
            <a:endParaRPr lang="en-US" sz="1600" dirty="0">
              <a:solidFill>
                <a:schemeClr val="bg2">
                  <a:lumMod val="10000"/>
                </a:schemeClr>
              </a:solidFill>
            </a:endParaRPr>
          </a:p>
        </p:txBody>
      </p:sp>
      <p:sp>
        <p:nvSpPr>
          <p:cNvPr id="282" name="Rectangle 281">
            <a:extLst>
              <a:ext uri="{FF2B5EF4-FFF2-40B4-BE49-F238E27FC236}">
                <a16:creationId xmlns:a16="http://schemas.microsoft.com/office/drawing/2014/main" id="{DFE7B605-33CA-14BA-E2DB-A55C42318B5C}"/>
              </a:ext>
            </a:extLst>
          </p:cNvPr>
          <p:cNvSpPr/>
          <p:nvPr/>
        </p:nvSpPr>
        <p:spPr>
          <a:xfrm>
            <a:off x="8334307" y="1909763"/>
            <a:ext cx="3300984" cy="864531"/>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tx2"/>
                </a:solidFill>
              </a:rPr>
              <a:t>Minimizing financial loss</a:t>
            </a:r>
          </a:p>
          <a:p>
            <a:r>
              <a:rPr lang="en-US" sz="1400" dirty="0">
                <a:solidFill>
                  <a:schemeClr val="bg2">
                    <a:lumMod val="10000"/>
                  </a:schemeClr>
                </a:solidFill>
              </a:rPr>
              <a:t>Guiding business decisions and minimizing financial losses</a:t>
            </a:r>
          </a:p>
        </p:txBody>
      </p:sp>
      <p:sp>
        <p:nvSpPr>
          <p:cNvPr id="283" name="Rectangle 282">
            <a:extLst>
              <a:ext uri="{FF2B5EF4-FFF2-40B4-BE49-F238E27FC236}">
                <a16:creationId xmlns:a16="http://schemas.microsoft.com/office/drawing/2014/main" id="{D5399B04-1F7E-2A88-8885-9A5D871105DB}"/>
              </a:ext>
            </a:extLst>
          </p:cNvPr>
          <p:cNvSpPr/>
          <p:nvPr/>
        </p:nvSpPr>
        <p:spPr>
          <a:xfrm>
            <a:off x="8764075" y="3483876"/>
            <a:ext cx="2871216" cy="1056975"/>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tx2"/>
                </a:solidFill>
              </a:rPr>
              <a:t>Saving time</a:t>
            </a:r>
          </a:p>
          <a:p>
            <a:r>
              <a:rPr lang="en-US" sz="1400" dirty="0">
                <a:solidFill>
                  <a:schemeClr val="bg2">
                    <a:lumMod val="10000"/>
                  </a:schemeClr>
                </a:solidFill>
              </a:rPr>
              <a:t>Spending less time on manual tasks and focusing more on value-added work</a:t>
            </a:r>
          </a:p>
        </p:txBody>
      </p:sp>
      <p:sp>
        <p:nvSpPr>
          <p:cNvPr id="284" name="Rectangle 283">
            <a:extLst>
              <a:ext uri="{FF2B5EF4-FFF2-40B4-BE49-F238E27FC236}">
                <a16:creationId xmlns:a16="http://schemas.microsoft.com/office/drawing/2014/main" id="{305E036B-4653-638A-C9F3-3330370D3C3A}"/>
              </a:ext>
            </a:extLst>
          </p:cNvPr>
          <p:cNvSpPr/>
          <p:nvPr/>
        </p:nvSpPr>
        <p:spPr>
          <a:xfrm>
            <a:off x="8626915" y="5174712"/>
            <a:ext cx="3008376" cy="100280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tx2"/>
                </a:solidFill>
              </a:rPr>
              <a:t>Improving market predictions</a:t>
            </a:r>
          </a:p>
          <a:p>
            <a:r>
              <a:rPr lang="en-US" sz="1400" dirty="0">
                <a:solidFill>
                  <a:schemeClr val="bg2">
                    <a:lumMod val="10000"/>
                  </a:schemeClr>
                </a:solidFill>
              </a:rPr>
              <a:t>Identifying emerging market trends by collecting and analyzing data on a larger scale</a:t>
            </a:r>
          </a:p>
        </p:txBody>
      </p:sp>
      <p:grpSp>
        <p:nvGrpSpPr>
          <p:cNvPr id="346" name="Group 345">
            <a:extLst>
              <a:ext uri="{FF2B5EF4-FFF2-40B4-BE49-F238E27FC236}">
                <a16:creationId xmlns:a16="http://schemas.microsoft.com/office/drawing/2014/main" id="{F2F31B37-ADFE-3305-B760-CA5EFBEA67EF}"/>
              </a:ext>
            </a:extLst>
          </p:cNvPr>
          <p:cNvGrpSpPr/>
          <p:nvPr/>
        </p:nvGrpSpPr>
        <p:grpSpPr>
          <a:xfrm>
            <a:off x="5252754" y="3814436"/>
            <a:ext cx="1697464" cy="1422844"/>
            <a:chOff x="10189944" y="2138023"/>
            <a:chExt cx="4401576" cy="3689476"/>
          </a:xfr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p:grpSpPr>
        <p:sp>
          <p:nvSpPr>
            <p:cNvPr id="347" name="Freeform: Shape 346">
              <a:extLst>
                <a:ext uri="{FF2B5EF4-FFF2-40B4-BE49-F238E27FC236}">
                  <a16:creationId xmlns:a16="http://schemas.microsoft.com/office/drawing/2014/main" id="{0BB5C018-A2C8-3712-FFB8-DADF9B722654}"/>
                </a:ext>
              </a:extLst>
            </p:cNvPr>
            <p:cNvSpPr/>
            <p:nvPr/>
          </p:nvSpPr>
          <p:spPr>
            <a:xfrm>
              <a:off x="10189944" y="2138023"/>
              <a:ext cx="4401576" cy="3689476"/>
            </a:xfrm>
            <a:custGeom>
              <a:avLst/>
              <a:gdLst>
                <a:gd name="connsiteX0" fmla="*/ 4303409 w 4401576"/>
                <a:gd name="connsiteY0" fmla="*/ 204400 h 3689476"/>
                <a:gd name="connsiteX1" fmla="*/ 4099366 w 4401576"/>
                <a:gd name="connsiteY1" fmla="*/ 0 h 3689476"/>
                <a:gd name="connsiteX2" fmla="*/ 362475 w 4401576"/>
                <a:gd name="connsiteY2" fmla="*/ 0 h 3689476"/>
                <a:gd name="connsiteX3" fmla="*/ 158464 w 4401576"/>
                <a:gd name="connsiteY3" fmla="*/ 204400 h 3689476"/>
                <a:gd name="connsiteX4" fmla="*/ 158464 w 4401576"/>
                <a:gd name="connsiteY4" fmla="*/ 2799307 h 3689476"/>
                <a:gd name="connsiteX5" fmla="*/ 113147 w 4401576"/>
                <a:gd name="connsiteY5" fmla="*/ 2799307 h 3689476"/>
                <a:gd name="connsiteX6" fmla="*/ 0 w 4401576"/>
                <a:gd name="connsiteY6" fmla="*/ 2912453 h 3689476"/>
                <a:gd name="connsiteX7" fmla="*/ 0 w 4401576"/>
                <a:gd name="connsiteY7" fmla="*/ 3576329 h 3689476"/>
                <a:gd name="connsiteX8" fmla="*/ 32217 w 4401576"/>
                <a:gd name="connsiteY8" fmla="*/ 3655125 h 3689476"/>
                <a:gd name="connsiteX9" fmla="*/ 4884 w 4401576"/>
                <a:gd name="connsiteY9" fmla="*/ 3655125 h 3689476"/>
                <a:gd name="connsiteX10" fmla="*/ 4884 w 4401576"/>
                <a:gd name="connsiteY10" fmla="*/ 3689476 h 3689476"/>
                <a:gd name="connsiteX11" fmla="*/ 4401577 w 4401576"/>
                <a:gd name="connsiteY11" fmla="*/ 3689476 h 3689476"/>
                <a:gd name="connsiteX12" fmla="*/ 4401577 w 4401576"/>
                <a:gd name="connsiteY12" fmla="*/ 3655125 h 3689476"/>
                <a:gd name="connsiteX13" fmla="*/ 4361274 w 4401576"/>
                <a:gd name="connsiteY13" fmla="*/ 3655125 h 3689476"/>
                <a:gd name="connsiteX14" fmla="*/ 4389932 w 4401576"/>
                <a:gd name="connsiteY14" fmla="*/ 3582961 h 3689476"/>
                <a:gd name="connsiteX15" fmla="*/ 4389932 w 4401576"/>
                <a:gd name="connsiteY15" fmla="*/ 2965050 h 3689476"/>
                <a:gd name="connsiteX16" fmla="*/ 4302274 w 4401576"/>
                <a:gd name="connsiteY16" fmla="*/ 2860540 h 3689476"/>
                <a:gd name="connsiteX17" fmla="*/ 4303373 w 4401576"/>
                <a:gd name="connsiteY17" fmla="*/ 2847925 h 3689476"/>
                <a:gd name="connsiteX18" fmla="*/ 192812 w 4401576"/>
                <a:gd name="connsiteY18" fmla="*/ 204400 h 3689476"/>
                <a:gd name="connsiteX19" fmla="*/ 362466 w 4401576"/>
                <a:gd name="connsiteY19" fmla="*/ 34356 h 3689476"/>
                <a:gd name="connsiteX20" fmla="*/ 4099358 w 4401576"/>
                <a:gd name="connsiteY20" fmla="*/ 34356 h 3689476"/>
                <a:gd name="connsiteX21" fmla="*/ 4269045 w 4401576"/>
                <a:gd name="connsiteY21" fmla="*/ 204400 h 3689476"/>
                <a:gd name="connsiteX22" fmla="*/ 4269045 w 4401576"/>
                <a:gd name="connsiteY22" fmla="*/ 2632534 h 3689476"/>
                <a:gd name="connsiteX23" fmla="*/ 4038934 w 4401576"/>
                <a:gd name="connsiteY23" fmla="*/ 2632534 h 3689476"/>
                <a:gd name="connsiteX24" fmla="*/ 3968095 w 4401576"/>
                <a:gd name="connsiteY24" fmla="*/ 2476593 h 3689476"/>
                <a:gd name="connsiteX25" fmla="*/ 4116501 w 4401576"/>
                <a:gd name="connsiteY25" fmla="*/ 2476593 h 3689476"/>
                <a:gd name="connsiteX26" fmla="*/ 4116566 w 4401576"/>
                <a:gd name="connsiteY26" fmla="*/ 187242 h 3689476"/>
                <a:gd name="connsiteX27" fmla="*/ 345310 w 4401576"/>
                <a:gd name="connsiteY27" fmla="*/ 187242 h 3689476"/>
                <a:gd name="connsiteX28" fmla="*/ 345310 w 4401576"/>
                <a:gd name="connsiteY28" fmla="*/ 2476593 h 3689476"/>
                <a:gd name="connsiteX29" fmla="*/ 3523837 w 4401576"/>
                <a:gd name="connsiteY29" fmla="*/ 2476593 h 3689476"/>
                <a:gd name="connsiteX30" fmla="*/ 3594675 w 4401576"/>
                <a:gd name="connsiteY30" fmla="*/ 2632534 h 3689476"/>
                <a:gd name="connsiteX31" fmla="*/ 192819 w 4401576"/>
                <a:gd name="connsiteY31" fmla="*/ 2632534 h 3689476"/>
                <a:gd name="connsiteX32" fmla="*/ 4063767 w 4401576"/>
                <a:gd name="connsiteY32" fmla="*/ 2687269 h 3689476"/>
                <a:gd name="connsiteX33" fmla="*/ 4054516 w 4401576"/>
                <a:gd name="connsiteY33" fmla="*/ 2666924 h 3689476"/>
                <a:gd name="connsiteX34" fmla="*/ 4269002 w 4401576"/>
                <a:gd name="connsiteY34" fmla="*/ 2666924 h 3689476"/>
                <a:gd name="connsiteX35" fmla="*/ 4269002 w 4401576"/>
                <a:gd name="connsiteY35" fmla="*/ 2847964 h 3689476"/>
                <a:gd name="connsiteX36" fmla="*/ 4268096 w 4401576"/>
                <a:gd name="connsiteY36" fmla="*/ 2858606 h 3689476"/>
                <a:gd name="connsiteX37" fmla="*/ 4061792 w 4401576"/>
                <a:gd name="connsiteY37" fmla="*/ 2858606 h 3689476"/>
                <a:gd name="connsiteX38" fmla="*/ 4063765 w 4401576"/>
                <a:gd name="connsiteY38" fmla="*/ 2687271 h 3689476"/>
                <a:gd name="connsiteX39" fmla="*/ 3949039 w 4401576"/>
                <a:gd name="connsiteY39" fmla="*/ 2923657 h 3689476"/>
                <a:gd name="connsiteX40" fmla="*/ 3726853 w 4401576"/>
                <a:gd name="connsiteY40" fmla="*/ 2840494 h 3689476"/>
                <a:gd name="connsiteX41" fmla="*/ 3466559 w 4401576"/>
                <a:gd name="connsiteY41" fmla="*/ 2267316 h 3689476"/>
                <a:gd name="connsiteX42" fmla="*/ 3546325 w 4401576"/>
                <a:gd name="connsiteY42" fmla="*/ 2046231 h 3689476"/>
                <a:gd name="connsiteX43" fmla="*/ 3550109 w 4401576"/>
                <a:gd name="connsiteY43" fmla="*/ 2044646 h 3689476"/>
                <a:gd name="connsiteX44" fmla="*/ 3772163 w 4401576"/>
                <a:gd name="connsiteY44" fmla="*/ 2128198 h 3689476"/>
                <a:gd name="connsiteX45" fmla="*/ 4032515 w 4401576"/>
                <a:gd name="connsiteY45" fmla="*/ 2701467 h 3689476"/>
                <a:gd name="connsiteX46" fmla="*/ 3949029 w 4401576"/>
                <a:gd name="connsiteY46" fmla="*/ 2923654 h 3689476"/>
                <a:gd name="connsiteX47" fmla="*/ 3766964 w 4401576"/>
                <a:gd name="connsiteY47" fmla="*/ 2059985 h 3689476"/>
                <a:gd name="connsiteX48" fmla="*/ 3622732 w 4401576"/>
                <a:gd name="connsiteY48" fmla="*/ 1995939 h 3689476"/>
                <a:gd name="connsiteX49" fmla="*/ 3586504 w 4401576"/>
                <a:gd name="connsiteY49" fmla="*/ 1916400 h 3689476"/>
                <a:gd name="connsiteX50" fmla="*/ 3935161 w 4401576"/>
                <a:gd name="connsiteY50" fmla="*/ 1916400 h 3689476"/>
                <a:gd name="connsiteX51" fmla="*/ 3935161 w 4401576"/>
                <a:gd name="connsiteY51" fmla="*/ 1882048 h 3689476"/>
                <a:gd name="connsiteX52" fmla="*/ 3575731 w 4401576"/>
                <a:gd name="connsiteY52" fmla="*/ 1882048 h 3689476"/>
                <a:gd name="connsiteX53" fmla="*/ 3886934 w 4401576"/>
                <a:gd name="connsiteY53" fmla="*/ 882905 h 3689476"/>
                <a:gd name="connsiteX54" fmla="*/ 2844649 w 4401576"/>
                <a:gd name="connsiteY54" fmla="*/ 491711 h 3689476"/>
                <a:gd name="connsiteX55" fmla="*/ 2561037 w 4401576"/>
                <a:gd name="connsiteY55" fmla="*/ 709823 h 3689476"/>
                <a:gd name="connsiteX56" fmla="*/ 2105311 w 4401576"/>
                <a:gd name="connsiteY56" fmla="*/ 423851 h 3689476"/>
                <a:gd name="connsiteX57" fmla="*/ 1543809 w 4401576"/>
                <a:gd name="connsiteY57" fmla="*/ 779339 h 3689476"/>
                <a:gd name="connsiteX58" fmla="*/ 1562182 w 4401576"/>
                <a:gd name="connsiteY58" fmla="*/ 808386 h 3689476"/>
                <a:gd name="connsiteX59" fmla="*/ 2105376 w 4401576"/>
                <a:gd name="connsiteY59" fmla="*/ 464449 h 3689476"/>
                <a:gd name="connsiteX60" fmla="*/ 2539853 w 4401576"/>
                <a:gd name="connsiteY60" fmla="*/ 737131 h 3689476"/>
                <a:gd name="connsiteX61" fmla="*/ 2453097 w 4401576"/>
                <a:gd name="connsiteY61" fmla="*/ 1533953 h 3689476"/>
                <a:gd name="connsiteX62" fmla="*/ 2517272 w 4401576"/>
                <a:gd name="connsiteY62" fmla="*/ 1647100 h 3689476"/>
                <a:gd name="connsiteX63" fmla="*/ 2245534 w 4401576"/>
                <a:gd name="connsiteY63" fmla="*/ 1647100 h 3689476"/>
                <a:gd name="connsiteX64" fmla="*/ 2247895 w 4401576"/>
                <a:gd name="connsiteY64" fmla="*/ 1635455 h 3689476"/>
                <a:gd name="connsiteX65" fmla="*/ 2247928 w 4401576"/>
                <a:gd name="connsiteY65" fmla="*/ 762261 h 3689476"/>
                <a:gd name="connsiteX66" fmla="*/ 2201996 w 4401576"/>
                <a:gd name="connsiteY66" fmla="*/ 716329 h 3689476"/>
                <a:gd name="connsiteX67" fmla="*/ 2017586 w 4401576"/>
                <a:gd name="connsiteY67" fmla="*/ 716329 h 3689476"/>
                <a:gd name="connsiteX68" fmla="*/ 1971654 w 4401576"/>
                <a:gd name="connsiteY68" fmla="*/ 762261 h 3689476"/>
                <a:gd name="connsiteX69" fmla="*/ 1971686 w 4401576"/>
                <a:gd name="connsiteY69" fmla="*/ 1635455 h 3689476"/>
                <a:gd name="connsiteX70" fmla="*/ 1974047 w 4401576"/>
                <a:gd name="connsiteY70" fmla="*/ 1647100 h 3689476"/>
                <a:gd name="connsiteX71" fmla="*/ 1692894 w 4401576"/>
                <a:gd name="connsiteY71" fmla="*/ 1647100 h 3689476"/>
                <a:gd name="connsiteX72" fmla="*/ 1695256 w 4401576"/>
                <a:gd name="connsiteY72" fmla="*/ 1635455 h 3689476"/>
                <a:gd name="connsiteX73" fmla="*/ 1695223 w 4401576"/>
                <a:gd name="connsiteY73" fmla="*/ 1049889 h 3689476"/>
                <a:gd name="connsiteX74" fmla="*/ 1649292 w 4401576"/>
                <a:gd name="connsiteY74" fmla="*/ 1003925 h 3689476"/>
                <a:gd name="connsiteX75" fmla="*/ 1464881 w 4401576"/>
                <a:gd name="connsiteY75" fmla="*/ 1003925 h 3689476"/>
                <a:gd name="connsiteX76" fmla="*/ 1418917 w 4401576"/>
                <a:gd name="connsiteY76" fmla="*/ 1049889 h 3689476"/>
                <a:gd name="connsiteX77" fmla="*/ 1418950 w 4401576"/>
                <a:gd name="connsiteY77" fmla="*/ 1635455 h 3689476"/>
                <a:gd name="connsiteX78" fmla="*/ 1421311 w 4401576"/>
                <a:gd name="connsiteY78" fmla="*/ 1647100 h 3689476"/>
                <a:gd name="connsiteX79" fmla="*/ 1322523 w 4401576"/>
                <a:gd name="connsiteY79" fmla="*/ 1647100 h 3689476"/>
                <a:gd name="connsiteX80" fmla="*/ 1322523 w 4401576"/>
                <a:gd name="connsiteY80" fmla="*/ 1681451 h 3689476"/>
                <a:gd name="connsiteX81" fmla="*/ 2540772 w 4401576"/>
                <a:gd name="connsiteY81" fmla="*/ 1681451 h 3689476"/>
                <a:gd name="connsiteX82" fmla="*/ 2763182 w 4401576"/>
                <a:gd name="connsiteY82" fmla="*/ 1882033 h 3689476"/>
                <a:gd name="connsiteX83" fmla="*/ 1198553 w 4401576"/>
                <a:gd name="connsiteY83" fmla="*/ 1882033 h 3689476"/>
                <a:gd name="connsiteX84" fmla="*/ 1198553 w 4401576"/>
                <a:gd name="connsiteY84" fmla="*/ 1916385 h 3689476"/>
                <a:gd name="connsiteX85" fmla="*/ 2826032 w 4401576"/>
                <a:gd name="connsiteY85" fmla="*/ 1916385 h 3689476"/>
                <a:gd name="connsiteX86" fmla="*/ 3414314 w 4401576"/>
                <a:gd name="connsiteY86" fmla="*/ 1956074 h 3689476"/>
                <a:gd name="connsiteX87" fmla="*/ 3461766 w 4401576"/>
                <a:gd name="connsiteY87" fmla="*/ 2059971 h 3689476"/>
                <a:gd name="connsiteX88" fmla="*/ 1198499 w 4401576"/>
                <a:gd name="connsiteY88" fmla="*/ 2059971 h 3689476"/>
                <a:gd name="connsiteX89" fmla="*/ 1198499 w 4401576"/>
                <a:gd name="connsiteY89" fmla="*/ 2094323 h 3689476"/>
                <a:gd name="connsiteX90" fmla="*/ 3445619 w 4401576"/>
                <a:gd name="connsiteY90" fmla="*/ 2094323 h 3689476"/>
                <a:gd name="connsiteX91" fmla="*/ 3421488 w 4401576"/>
                <a:gd name="connsiteY91" fmla="*/ 2238265 h 3689476"/>
                <a:gd name="connsiteX92" fmla="*/ 1198548 w 4401576"/>
                <a:gd name="connsiteY92" fmla="*/ 2238233 h 3689476"/>
                <a:gd name="connsiteX93" fmla="*/ 1198548 w 4401576"/>
                <a:gd name="connsiteY93" fmla="*/ 2272584 h 3689476"/>
                <a:gd name="connsiteX94" fmla="*/ 3431839 w 4401576"/>
                <a:gd name="connsiteY94" fmla="*/ 2272584 h 3689476"/>
                <a:gd name="connsiteX95" fmla="*/ 3435203 w 4401576"/>
                <a:gd name="connsiteY95" fmla="*/ 2281415 h 3689476"/>
                <a:gd name="connsiteX96" fmla="*/ 3508241 w 4401576"/>
                <a:gd name="connsiteY96" fmla="*/ 2442275 h 3689476"/>
                <a:gd name="connsiteX97" fmla="*/ 379646 w 4401576"/>
                <a:gd name="connsiteY97" fmla="*/ 2442275 h 3689476"/>
                <a:gd name="connsiteX98" fmla="*/ 379646 w 4401576"/>
                <a:gd name="connsiteY98" fmla="*/ 221570 h 3689476"/>
                <a:gd name="connsiteX99" fmla="*/ 4082173 w 4401576"/>
                <a:gd name="connsiteY99" fmla="*/ 221570 h 3689476"/>
                <a:gd name="connsiteX100" fmla="*/ 4082173 w 4401576"/>
                <a:gd name="connsiteY100" fmla="*/ 2442275 h 3689476"/>
                <a:gd name="connsiteX101" fmla="*/ 3952531 w 4401576"/>
                <a:gd name="connsiteY101" fmla="*/ 2442275 h 3689476"/>
                <a:gd name="connsiteX102" fmla="*/ 3803446 w 4401576"/>
                <a:gd name="connsiteY102" fmla="*/ 2113988 h 3689476"/>
                <a:gd name="connsiteX103" fmla="*/ 3792771 w 4401576"/>
                <a:gd name="connsiteY103" fmla="*/ 2094322 h 3689476"/>
                <a:gd name="connsiteX104" fmla="*/ 3935157 w 4401576"/>
                <a:gd name="connsiteY104" fmla="*/ 2094322 h 3689476"/>
                <a:gd name="connsiteX105" fmla="*/ 3935157 w 4401576"/>
                <a:gd name="connsiteY105" fmla="*/ 2059970 h 3689476"/>
                <a:gd name="connsiteX106" fmla="*/ 3495350 w 4401576"/>
                <a:gd name="connsiteY106" fmla="*/ 1925201 h 3689476"/>
                <a:gd name="connsiteX107" fmla="*/ 3542091 w 4401576"/>
                <a:gd name="connsiteY107" fmla="*/ 1901783 h 3689476"/>
                <a:gd name="connsiteX108" fmla="*/ 3586340 w 4401576"/>
                <a:gd name="connsiteY108" fmla="*/ 1998857 h 3689476"/>
                <a:gd name="connsiteX109" fmla="*/ 3535557 w 4401576"/>
                <a:gd name="connsiteY109" fmla="*/ 2013380 h 3689476"/>
                <a:gd name="connsiteX110" fmla="*/ 3534231 w 4401576"/>
                <a:gd name="connsiteY110" fmla="*/ 2013995 h 3689476"/>
                <a:gd name="connsiteX111" fmla="*/ 3491275 w 4401576"/>
                <a:gd name="connsiteY111" fmla="*/ 2041813 h 3689476"/>
                <a:gd name="connsiteX112" fmla="*/ 3446864 w 4401576"/>
                <a:gd name="connsiteY112" fmla="*/ 1944548 h 3689476"/>
                <a:gd name="connsiteX113" fmla="*/ 3495351 w 4401576"/>
                <a:gd name="connsiteY113" fmla="*/ 1925205 h 3689476"/>
                <a:gd name="connsiteX114" fmla="*/ 3417978 w 4401576"/>
                <a:gd name="connsiteY114" fmla="*/ 1919088 h 3689476"/>
                <a:gd name="connsiteX115" fmla="*/ 2484417 w 4401576"/>
                <a:gd name="connsiteY115" fmla="*/ 1519770 h 3689476"/>
                <a:gd name="connsiteX116" fmla="*/ 2858860 w 4401576"/>
                <a:gd name="connsiteY116" fmla="*/ 522945 h 3689476"/>
                <a:gd name="connsiteX117" fmla="*/ 3855684 w 4401576"/>
                <a:gd name="connsiteY117" fmla="*/ 897098 h 3689476"/>
                <a:gd name="connsiteX118" fmla="*/ 3541666 w 4401576"/>
                <a:gd name="connsiteY118" fmla="*/ 1862870 h 3689476"/>
                <a:gd name="connsiteX119" fmla="*/ 3541633 w 4401576"/>
                <a:gd name="connsiteY119" fmla="*/ 1862903 h 3689476"/>
                <a:gd name="connsiteX120" fmla="*/ 3481211 w 4401576"/>
                <a:gd name="connsiteY120" fmla="*/ 1893761 h 3689476"/>
                <a:gd name="connsiteX121" fmla="*/ 3418038 w 4401576"/>
                <a:gd name="connsiteY121" fmla="*/ 1919024 h 3689476"/>
                <a:gd name="connsiteX122" fmla="*/ 2213557 w 4401576"/>
                <a:gd name="connsiteY122" fmla="*/ 762281 h 3689476"/>
                <a:gd name="connsiteX123" fmla="*/ 2213557 w 4401576"/>
                <a:gd name="connsiteY123" fmla="*/ 1635476 h 3689476"/>
                <a:gd name="connsiteX124" fmla="*/ 2201978 w 4401576"/>
                <a:gd name="connsiteY124" fmla="*/ 1647087 h 3689476"/>
                <a:gd name="connsiteX125" fmla="*/ 2017568 w 4401576"/>
                <a:gd name="connsiteY125" fmla="*/ 1647087 h 3689476"/>
                <a:gd name="connsiteX126" fmla="*/ 2005988 w 4401576"/>
                <a:gd name="connsiteY126" fmla="*/ 1635476 h 3689476"/>
                <a:gd name="connsiteX127" fmla="*/ 2005988 w 4401576"/>
                <a:gd name="connsiteY127" fmla="*/ 762281 h 3689476"/>
                <a:gd name="connsiteX128" fmla="*/ 2017568 w 4401576"/>
                <a:gd name="connsiteY128" fmla="*/ 750701 h 3689476"/>
                <a:gd name="connsiteX129" fmla="*/ 2201978 w 4401576"/>
                <a:gd name="connsiteY129" fmla="*/ 750701 h 3689476"/>
                <a:gd name="connsiteX130" fmla="*/ 2213557 w 4401576"/>
                <a:gd name="connsiteY130" fmla="*/ 762281 h 3689476"/>
                <a:gd name="connsiteX131" fmla="*/ 1660857 w 4401576"/>
                <a:gd name="connsiteY131" fmla="*/ 1049901 h 3689476"/>
                <a:gd name="connsiteX132" fmla="*/ 1660857 w 4401576"/>
                <a:gd name="connsiteY132" fmla="*/ 1635467 h 3689476"/>
                <a:gd name="connsiteX133" fmla="*/ 1649277 w 4401576"/>
                <a:gd name="connsiteY133" fmla="*/ 1647079 h 3689476"/>
                <a:gd name="connsiteX134" fmla="*/ 1464867 w 4401576"/>
                <a:gd name="connsiteY134" fmla="*/ 1647079 h 3689476"/>
                <a:gd name="connsiteX135" fmla="*/ 1453256 w 4401576"/>
                <a:gd name="connsiteY135" fmla="*/ 1635467 h 3689476"/>
                <a:gd name="connsiteX136" fmla="*/ 1453288 w 4401576"/>
                <a:gd name="connsiteY136" fmla="*/ 1049901 h 3689476"/>
                <a:gd name="connsiteX137" fmla="*/ 1464900 w 4401576"/>
                <a:gd name="connsiteY137" fmla="*/ 1038289 h 3689476"/>
                <a:gd name="connsiteX138" fmla="*/ 1649310 w 4401576"/>
                <a:gd name="connsiteY138" fmla="*/ 1038289 h 3689476"/>
                <a:gd name="connsiteX139" fmla="*/ 1660857 w 4401576"/>
                <a:gd name="connsiteY139" fmla="*/ 1049901 h 3689476"/>
                <a:gd name="connsiteX140" fmla="*/ 1004682 w 4401576"/>
                <a:gd name="connsiteY140" fmla="*/ 3576410 h 3689476"/>
                <a:gd name="connsiteX141" fmla="*/ 925887 w 4401576"/>
                <a:gd name="connsiteY141" fmla="*/ 3655205 h 3689476"/>
                <a:gd name="connsiteX142" fmla="*/ 113124 w 4401576"/>
                <a:gd name="connsiteY142" fmla="*/ 3655205 h 3689476"/>
                <a:gd name="connsiteX143" fmla="*/ 34329 w 4401576"/>
                <a:gd name="connsiteY143" fmla="*/ 3576410 h 3689476"/>
                <a:gd name="connsiteX144" fmla="*/ 34329 w 4401576"/>
                <a:gd name="connsiteY144" fmla="*/ 2912534 h 3689476"/>
                <a:gd name="connsiteX145" fmla="*/ 113124 w 4401576"/>
                <a:gd name="connsiteY145" fmla="*/ 2833738 h 3689476"/>
                <a:gd name="connsiteX146" fmla="*/ 925854 w 4401576"/>
                <a:gd name="connsiteY146" fmla="*/ 2833738 h 3689476"/>
                <a:gd name="connsiteX147" fmla="*/ 1004649 w 4401576"/>
                <a:gd name="connsiteY147" fmla="*/ 2912534 h 3689476"/>
                <a:gd name="connsiteX148" fmla="*/ 1006817 w 4401576"/>
                <a:gd name="connsiteY148" fmla="*/ 3655205 h 3689476"/>
                <a:gd name="connsiteX149" fmla="*/ 1039034 w 4401576"/>
                <a:gd name="connsiteY149" fmla="*/ 3576410 h 3689476"/>
                <a:gd name="connsiteX150" fmla="*/ 1039034 w 4401576"/>
                <a:gd name="connsiteY150" fmla="*/ 3052013 h 3689476"/>
                <a:gd name="connsiteX151" fmla="*/ 1816702 w 4401576"/>
                <a:gd name="connsiteY151" fmla="*/ 3052013 h 3689476"/>
                <a:gd name="connsiteX152" fmla="*/ 1599501 w 4401576"/>
                <a:gd name="connsiteY152" fmla="*/ 3561372 h 3689476"/>
                <a:gd name="connsiteX153" fmla="*/ 1505665 w 4401576"/>
                <a:gd name="connsiteY153" fmla="*/ 3655209 h 3689476"/>
                <a:gd name="connsiteX154" fmla="*/ 1558581 w 4401576"/>
                <a:gd name="connsiteY154" fmla="*/ 3650839 h 3689476"/>
                <a:gd name="connsiteX155" fmla="*/ 1623759 w 4401576"/>
                <a:gd name="connsiteY155" fmla="*/ 3585661 h 3689476"/>
                <a:gd name="connsiteX156" fmla="*/ 1851700 w 4401576"/>
                <a:gd name="connsiteY156" fmla="*/ 3052105 h 3689476"/>
                <a:gd name="connsiteX157" fmla="*/ 2610059 w 4401576"/>
                <a:gd name="connsiteY157" fmla="*/ 3052105 h 3689476"/>
                <a:gd name="connsiteX158" fmla="*/ 2838033 w 4401576"/>
                <a:gd name="connsiteY158" fmla="*/ 3585661 h 3689476"/>
                <a:gd name="connsiteX159" fmla="*/ 2903179 w 4401576"/>
                <a:gd name="connsiteY159" fmla="*/ 3650839 h 3689476"/>
                <a:gd name="connsiteX160" fmla="*/ 2956107 w 4401576"/>
                <a:gd name="connsiteY160" fmla="*/ 3655205 h 3689476"/>
                <a:gd name="connsiteX161" fmla="*/ 2862303 w 4401576"/>
                <a:gd name="connsiteY161" fmla="*/ 3561369 h 3689476"/>
                <a:gd name="connsiteX162" fmla="*/ 2645069 w 4401576"/>
                <a:gd name="connsiteY162" fmla="*/ 3052010 h 3689476"/>
                <a:gd name="connsiteX163" fmla="*/ 3420535 w 4401576"/>
                <a:gd name="connsiteY163" fmla="*/ 3052010 h 3689476"/>
                <a:gd name="connsiteX164" fmla="*/ 3420535 w 4401576"/>
                <a:gd name="connsiteY164" fmla="*/ 3583040 h 3689476"/>
                <a:gd name="connsiteX165" fmla="*/ 3449194 w 4401576"/>
                <a:gd name="connsiteY165" fmla="*/ 3655204 h 3689476"/>
                <a:gd name="connsiteX166" fmla="*/ 3420535 w 4401576"/>
                <a:gd name="connsiteY166" fmla="*/ 2965129 h 3689476"/>
                <a:gd name="connsiteX167" fmla="*/ 3420535 w 4401576"/>
                <a:gd name="connsiteY167" fmla="*/ 3017660 h 3689476"/>
                <a:gd name="connsiteX168" fmla="*/ 1039020 w 4401576"/>
                <a:gd name="connsiteY168" fmla="*/ 3017660 h 3689476"/>
                <a:gd name="connsiteX169" fmla="*/ 1039020 w 4401576"/>
                <a:gd name="connsiteY169" fmla="*/ 2912537 h 3689476"/>
                <a:gd name="connsiteX170" fmla="*/ 925873 w 4401576"/>
                <a:gd name="connsiteY170" fmla="*/ 2799390 h 3689476"/>
                <a:gd name="connsiteX171" fmla="*/ 192746 w 4401576"/>
                <a:gd name="connsiteY171" fmla="*/ 2799390 h 3689476"/>
                <a:gd name="connsiteX172" fmla="*/ 192746 w 4401576"/>
                <a:gd name="connsiteY172" fmla="*/ 2666966 h 3689476"/>
                <a:gd name="connsiteX173" fmla="*/ 3610087 w 4401576"/>
                <a:gd name="connsiteY173" fmla="*/ 2666966 h 3689476"/>
                <a:gd name="connsiteX174" fmla="*/ 3695477 w 4401576"/>
                <a:gd name="connsiteY174" fmla="*/ 2854705 h 3689476"/>
                <a:gd name="connsiteX175" fmla="*/ 3697742 w 4401576"/>
                <a:gd name="connsiteY175" fmla="*/ 2858619 h 3689476"/>
                <a:gd name="connsiteX176" fmla="*/ 3527019 w 4401576"/>
                <a:gd name="connsiteY176" fmla="*/ 2858619 h 3689476"/>
                <a:gd name="connsiteX177" fmla="*/ 3420538 w 4401576"/>
                <a:gd name="connsiteY177" fmla="*/ 2965133 h 3689476"/>
                <a:gd name="connsiteX178" fmla="*/ 4355503 w 4401576"/>
                <a:gd name="connsiteY178" fmla="*/ 2965129 h 3689476"/>
                <a:gd name="connsiteX179" fmla="*/ 4355503 w 4401576"/>
                <a:gd name="connsiteY179" fmla="*/ 3583040 h 3689476"/>
                <a:gd name="connsiteX180" fmla="*/ 4283371 w 4401576"/>
                <a:gd name="connsiteY180" fmla="*/ 3655204 h 3689476"/>
                <a:gd name="connsiteX181" fmla="*/ 3526984 w 4401576"/>
                <a:gd name="connsiteY181" fmla="*/ 3655204 h 3689476"/>
                <a:gd name="connsiteX182" fmla="*/ 3454852 w 4401576"/>
                <a:gd name="connsiteY182" fmla="*/ 3583040 h 3689476"/>
                <a:gd name="connsiteX183" fmla="*/ 3454852 w 4401576"/>
                <a:gd name="connsiteY183" fmla="*/ 2965129 h 3689476"/>
                <a:gd name="connsiteX184" fmla="*/ 3526984 w 4401576"/>
                <a:gd name="connsiteY184" fmla="*/ 2892965 h 3689476"/>
                <a:gd name="connsiteX185" fmla="*/ 3718374 w 4401576"/>
                <a:gd name="connsiteY185" fmla="*/ 2892965 h 3689476"/>
                <a:gd name="connsiteX186" fmla="*/ 3963108 w 4401576"/>
                <a:gd name="connsiteY186" fmla="*/ 2955328 h 3689476"/>
                <a:gd name="connsiteX187" fmla="*/ 4040740 w 4401576"/>
                <a:gd name="connsiteY187" fmla="*/ 2892965 h 3689476"/>
                <a:gd name="connsiteX188" fmla="*/ 4283595 w 4401576"/>
                <a:gd name="connsiteY188" fmla="*/ 2892965 h 3689476"/>
                <a:gd name="connsiteX189" fmla="*/ 4355500 w 4401576"/>
                <a:gd name="connsiteY189" fmla="*/ 2965129 h 368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4401576" h="3689476">
                  <a:moveTo>
                    <a:pt x="4303409" y="204400"/>
                  </a:moveTo>
                  <a:cubicBezTo>
                    <a:pt x="4303409" y="91708"/>
                    <a:pt x="4211867" y="0"/>
                    <a:pt x="4099366" y="0"/>
                  </a:cubicBezTo>
                  <a:lnTo>
                    <a:pt x="362475" y="0"/>
                  </a:lnTo>
                  <a:cubicBezTo>
                    <a:pt x="249974" y="0"/>
                    <a:pt x="158464" y="91667"/>
                    <a:pt x="158464" y="204400"/>
                  </a:cubicBezTo>
                  <a:lnTo>
                    <a:pt x="158464" y="2799307"/>
                  </a:lnTo>
                  <a:lnTo>
                    <a:pt x="113147" y="2799307"/>
                  </a:lnTo>
                  <a:cubicBezTo>
                    <a:pt x="53759" y="2799307"/>
                    <a:pt x="0" y="2847405"/>
                    <a:pt x="0" y="2912453"/>
                  </a:cubicBezTo>
                  <a:lnTo>
                    <a:pt x="0" y="3576329"/>
                  </a:lnTo>
                  <a:cubicBezTo>
                    <a:pt x="0" y="3606993"/>
                    <a:pt x="12356" y="3634715"/>
                    <a:pt x="32217" y="3655125"/>
                  </a:cubicBezTo>
                  <a:lnTo>
                    <a:pt x="4884" y="3655125"/>
                  </a:lnTo>
                  <a:lnTo>
                    <a:pt x="4884" y="3689476"/>
                  </a:lnTo>
                  <a:lnTo>
                    <a:pt x="4401577" y="3689476"/>
                  </a:lnTo>
                  <a:lnTo>
                    <a:pt x="4401577" y="3655125"/>
                  </a:lnTo>
                  <a:lnTo>
                    <a:pt x="4361274" y="3655125"/>
                  </a:lnTo>
                  <a:cubicBezTo>
                    <a:pt x="4378902" y="3636105"/>
                    <a:pt x="4389932" y="3610875"/>
                    <a:pt x="4389932" y="3582961"/>
                  </a:cubicBezTo>
                  <a:lnTo>
                    <a:pt x="4389932" y="2965050"/>
                  </a:lnTo>
                  <a:cubicBezTo>
                    <a:pt x="4389932" y="2913005"/>
                    <a:pt x="4352023" y="2869632"/>
                    <a:pt x="4302274" y="2860540"/>
                  </a:cubicBezTo>
                  <a:cubicBezTo>
                    <a:pt x="4302565" y="2856303"/>
                    <a:pt x="4303373" y="2852389"/>
                    <a:pt x="4303373" y="2847925"/>
                  </a:cubicBezTo>
                  <a:close/>
                  <a:moveTo>
                    <a:pt x="192812" y="204400"/>
                  </a:moveTo>
                  <a:cubicBezTo>
                    <a:pt x="192812" y="110629"/>
                    <a:pt x="268923" y="34356"/>
                    <a:pt x="362466" y="34356"/>
                  </a:cubicBezTo>
                  <a:lnTo>
                    <a:pt x="4099358" y="34356"/>
                  </a:lnTo>
                  <a:cubicBezTo>
                    <a:pt x="4192937" y="34356"/>
                    <a:pt x="4269045" y="110629"/>
                    <a:pt x="4269045" y="204400"/>
                  </a:cubicBezTo>
                  <a:lnTo>
                    <a:pt x="4269045" y="2632534"/>
                  </a:lnTo>
                  <a:lnTo>
                    <a:pt x="4038934" y="2632534"/>
                  </a:lnTo>
                  <a:lnTo>
                    <a:pt x="3968095" y="2476593"/>
                  </a:lnTo>
                  <a:lnTo>
                    <a:pt x="4116501" y="2476593"/>
                  </a:lnTo>
                  <a:lnTo>
                    <a:pt x="4116566" y="187242"/>
                  </a:lnTo>
                  <a:lnTo>
                    <a:pt x="345310" y="187242"/>
                  </a:lnTo>
                  <a:lnTo>
                    <a:pt x="345310" y="2476593"/>
                  </a:lnTo>
                  <a:lnTo>
                    <a:pt x="3523837" y="2476593"/>
                  </a:lnTo>
                  <a:lnTo>
                    <a:pt x="3594675" y="2632534"/>
                  </a:lnTo>
                  <a:lnTo>
                    <a:pt x="192819" y="2632534"/>
                  </a:lnTo>
                  <a:close/>
                  <a:moveTo>
                    <a:pt x="4063767" y="2687269"/>
                  </a:moveTo>
                  <a:lnTo>
                    <a:pt x="4054516" y="2666924"/>
                  </a:lnTo>
                  <a:lnTo>
                    <a:pt x="4269002" y="2666924"/>
                  </a:lnTo>
                  <a:lnTo>
                    <a:pt x="4269002" y="2847964"/>
                  </a:lnTo>
                  <a:cubicBezTo>
                    <a:pt x="4269002" y="2851781"/>
                    <a:pt x="4268355" y="2855047"/>
                    <a:pt x="4268096" y="2858606"/>
                  </a:cubicBezTo>
                  <a:lnTo>
                    <a:pt x="4061792" y="2858606"/>
                  </a:lnTo>
                  <a:cubicBezTo>
                    <a:pt x="4086472" y="2807466"/>
                    <a:pt x="4088704" y="2742031"/>
                    <a:pt x="4063765" y="2687271"/>
                  </a:cubicBezTo>
                  <a:close/>
                  <a:moveTo>
                    <a:pt x="3949039" y="2923657"/>
                  </a:moveTo>
                  <a:cubicBezTo>
                    <a:pt x="3945610" y="2923625"/>
                    <a:pt x="3792709" y="2987606"/>
                    <a:pt x="3726853" y="2840494"/>
                  </a:cubicBezTo>
                  <a:cubicBezTo>
                    <a:pt x="3717343" y="2819567"/>
                    <a:pt x="3476040" y="2288250"/>
                    <a:pt x="3466559" y="2267316"/>
                  </a:cubicBezTo>
                  <a:cubicBezTo>
                    <a:pt x="3429457" y="2183607"/>
                    <a:pt x="3465524" y="2084463"/>
                    <a:pt x="3546325" y="2046231"/>
                  </a:cubicBezTo>
                  <a:lnTo>
                    <a:pt x="3550109" y="2044646"/>
                  </a:lnTo>
                  <a:cubicBezTo>
                    <a:pt x="3629486" y="2007901"/>
                    <a:pt x="3732027" y="2040441"/>
                    <a:pt x="3772163" y="2128198"/>
                  </a:cubicBezTo>
                  <a:cubicBezTo>
                    <a:pt x="4052571" y="2745595"/>
                    <a:pt x="3998299" y="2626105"/>
                    <a:pt x="4032515" y="2701467"/>
                  </a:cubicBezTo>
                  <a:cubicBezTo>
                    <a:pt x="4070295" y="2784406"/>
                    <a:pt x="4034197" y="2885198"/>
                    <a:pt x="3949029" y="2923654"/>
                  </a:cubicBezTo>
                  <a:close/>
                  <a:moveTo>
                    <a:pt x="3766964" y="2059985"/>
                  </a:moveTo>
                  <a:cubicBezTo>
                    <a:pt x="3729766" y="2019843"/>
                    <a:pt x="3677169" y="1996942"/>
                    <a:pt x="3622732" y="1995939"/>
                  </a:cubicBezTo>
                  <a:lnTo>
                    <a:pt x="3586504" y="1916400"/>
                  </a:lnTo>
                  <a:lnTo>
                    <a:pt x="3935161" y="1916400"/>
                  </a:lnTo>
                  <a:lnTo>
                    <a:pt x="3935161" y="1882048"/>
                  </a:lnTo>
                  <a:lnTo>
                    <a:pt x="3575731" y="1882048"/>
                  </a:lnTo>
                  <a:cubicBezTo>
                    <a:pt x="3914169" y="1678816"/>
                    <a:pt x="4051288" y="1244538"/>
                    <a:pt x="3886934" y="882905"/>
                  </a:cubicBezTo>
                  <a:cubicBezTo>
                    <a:pt x="3707054" y="486660"/>
                    <a:pt x="3241010" y="311731"/>
                    <a:pt x="2844649" y="491711"/>
                  </a:cubicBezTo>
                  <a:cubicBezTo>
                    <a:pt x="2732827" y="542494"/>
                    <a:pt x="2637633" y="616020"/>
                    <a:pt x="2561037" y="709823"/>
                  </a:cubicBezTo>
                  <a:lnTo>
                    <a:pt x="2105311" y="423851"/>
                  </a:lnTo>
                  <a:lnTo>
                    <a:pt x="1543809" y="779339"/>
                  </a:lnTo>
                  <a:lnTo>
                    <a:pt x="1562182" y="808386"/>
                  </a:lnTo>
                  <a:lnTo>
                    <a:pt x="2105376" y="464449"/>
                  </a:lnTo>
                  <a:lnTo>
                    <a:pt x="2539853" y="737131"/>
                  </a:lnTo>
                  <a:cubicBezTo>
                    <a:pt x="2367483" y="967432"/>
                    <a:pt x="2333706" y="1270777"/>
                    <a:pt x="2453097" y="1533953"/>
                  </a:cubicBezTo>
                  <a:cubicBezTo>
                    <a:pt x="2471017" y="1573642"/>
                    <a:pt x="2493109" y="1611163"/>
                    <a:pt x="2517272" y="1647100"/>
                  </a:cubicBezTo>
                  <a:lnTo>
                    <a:pt x="2245534" y="1647100"/>
                  </a:lnTo>
                  <a:cubicBezTo>
                    <a:pt x="2246569" y="1643283"/>
                    <a:pt x="2247895" y="1639595"/>
                    <a:pt x="2247895" y="1635455"/>
                  </a:cubicBezTo>
                  <a:lnTo>
                    <a:pt x="2247928" y="762261"/>
                  </a:lnTo>
                  <a:cubicBezTo>
                    <a:pt x="2247928" y="736934"/>
                    <a:pt x="2227323" y="716329"/>
                    <a:pt x="2201996" y="716329"/>
                  </a:cubicBezTo>
                  <a:lnTo>
                    <a:pt x="2017586" y="716329"/>
                  </a:lnTo>
                  <a:cubicBezTo>
                    <a:pt x="1992258" y="716329"/>
                    <a:pt x="1971654" y="736934"/>
                    <a:pt x="1971654" y="762261"/>
                  </a:cubicBezTo>
                  <a:lnTo>
                    <a:pt x="1971686" y="1635455"/>
                  </a:lnTo>
                  <a:cubicBezTo>
                    <a:pt x="1971686" y="1639596"/>
                    <a:pt x="1973012" y="1643283"/>
                    <a:pt x="1974047" y="1647100"/>
                  </a:cubicBezTo>
                  <a:lnTo>
                    <a:pt x="1692894" y="1647100"/>
                  </a:lnTo>
                  <a:cubicBezTo>
                    <a:pt x="1693929" y="1643283"/>
                    <a:pt x="1695256" y="1639595"/>
                    <a:pt x="1695256" y="1635455"/>
                  </a:cubicBezTo>
                  <a:lnTo>
                    <a:pt x="1695223" y="1049889"/>
                  </a:lnTo>
                  <a:cubicBezTo>
                    <a:pt x="1695223" y="1024562"/>
                    <a:pt x="1674619" y="1003925"/>
                    <a:pt x="1649292" y="1003925"/>
                  </a:cubicBezTo>
                  <a:lnTo>
                    <a:pt x="1464881" y="1003925"/>
                  </a:lnTo>
                  <a:cubicBezTo>
                    <a:pt x="1439554" y="1003925"/>
                    <a:pt x="1418917" y="1024562"/>
                    <a:pt x="1418917" y="1049889"/>
                  </a:cubicBezTo>
                  <a:lnTo>
                    <a:pt x="1418950" y="1635455"/>
                  </a:lnTo>
                  <a:cubicBezTo>
                    <a:pt x="1418950" y="1639596"/>
                    <a:pt x="1420276" y="1643283"/>
                    <a:pt x="1421311" y="1647100"/>
                  </a:cubicBezTo>
                  <a:lnTo>
                    <a:pt x="1322523" y="1647100"/>
                  </a:lnTo>
                  <a:lnTo>
                    <a:pt x="1322523" y="1681451"/>
                  </a:lnTo>
                  <a:lnTo>
                    <a:pt x="2540772" y="1681451"/>
                  </a:lnTo>
                  <a:cubicBezTo>
                    <a:pt x="2601130" y="1761831"/>
                    <a:pt x="2677080" y="1830081"/>
                    <a:pt x="2763182" y="1882033"/>
                  </a:cubicBezTo>
                  <a:lnTo>
                    <a:pt x="1198553" y="1882033"/>
                  </a:lnTo>
                  <a:lnTo>
                    <a:pt x="1198553" y="1916385"/>
                  </a:lnTo>
                  <a:lnTo>
                    <a:pt x="2826032" y="1916385"/>
                  </a:lnTo>
                  <a:cubicBezTo>
                    <a:pt x="3004877" y="2003141"/>
                    <a:pt x="3210536" y="2023288"/>
                    <a:pt x="3414314" y="1956074"/>
                  </a:cubicBezTo>
                  <a:lnTo>
                    <a:pt x="3461766" y="2059971"/>
                  </a:lnTo>
                  <a:lnTo>
                    <a:pt x="1198499" y="2059971"/>
                  </a:lnTo>
                  <a:lnTo>
                    <a:pt x="1198499" y="2094323"/>
                  </a:lnTo>
                  <a:lnTo>
                    <a:pt x="3445619" y="2094323"/>
                  </a:lnTo>
                  <a:cubicBezTo>
                    <a:pt x="3421133" y="2135984"/>
                    <a:pt x="3411332" y="2188383"/>
                    <a:pt x="3421488" y="2238265"/>
                  </a:cubicBezTo>
                  <a:lnTo>
                    <a:pt x="1198548" y="2238233"/>
                  </a:lnTo>
                  <a:lnTo>
                    <a:pt x="1198548" y="2272584"/>
                  </a:lnTo>
                  <a:lnTo>
                    <a:pt x="3431839" y="2272584"/>
                  </a:lnTo>
                  <a:cubicBezTo>
                    <a:pt x="3432971" y="2275496"/>
                    <a:pt x="3433909" y="2278504"/>
                    <a:pt x="3435203" y="2281415"/>
                  </a:cubicBezTo>
                  <a:lnTo>
                    <a:pt x="3508241" y="2442275"/>
                  </a:lnTo>
                  <a:lnTo>
                    <a:pt x="379646" y="2442275"/>
                  </a:lnTo>
                  <a:lnTo>
                    <a:pt x="379646" y="221570"/>
                  </a:lnTo>
                  <a:lnTo>
                    <a:pt x="4082173" y="221570"/>
                  </a:lnTo>
                  <a:lnTo>
                    <a:pt x="4082173" y="2442275"/>
                  </a:lnTo>
                  <a:lnTo>
                    <a:pt x="3952531" y="2442275"/>
                  </a:lnTo>
                  <a:lnTo>
                    <a:pt x="3803446" y="2113988"/>
                  </a:lnTo>
                  <a:cubicBezTo>
                    <a:pt x="3800244" y="2107002"/>
                    <a:pt x="3796524" y="2100661"/>
                    <a:pt x="3792771" y="2094322"/>
                  </a:cubicBezTo>
                  <a:lnTo>
                    <a:pt x="3935157" y="2094322"/>
                  </a:lnTo>
                  <a:lnTo>
                    <a:pt x="3935157" y="2059970"/>
                  </a:lnTo>
                  <a:close/>
                  <a:moveTo>
                    <a:pt x="3495350" y="1925201"/>
                  </a:moveTo>
                  <a:cubicBezTo>
                    <a:pt x="3510715" y="1918247"/>
                    <a:pt x="3526403" y="1910257"/>
                    <a:pt x="3542091" y="1901783"/>
                  </a:cubicBezTo>
                  <a:lnTo>
                    <a:pt x="3586340" y="1998857"/>
                  </a:lnTo>
                  <a:cubicBezTo>
                    <a:pt x="3554156" y="2004000"/>
                    <a:pt x="3540636" y="2011634"/>
                    <a:pt x="3535557" y="2013380"/>
                  </a:cubicBezTo>
                  <a:cubicBezTo>
                    <a:pt x="3535137" y="2013574"/>
                    <a:pt x="3534684" y="2013768"/>
                    <a:pt x="3534231" y="2013995"/>
                  </a:cubicBezTo>
                  <a:cubicBezTo>
                    <a:pt x="3513950" y="2023246"/>
                    <a:pt x="3505313" y="2030200"/>
                    <a:pt x="3491275" y="2041813"/>
                  </a:cubicBezTo>
                  <a:lnTo>
                    <a:pt x="3446864" y="1944548"/>
                  </a:lnTo>
                  <a:cubicBezTo>
                    <a:pt x="3463199" y="1938403"/>
                    <a:pt x="3479662" y="1932256"/>
                    <a:pt x="3495351" y="1925205"/>
                  </a:cubicBezTo>
                  <a:close/>
                  <a:moveTo>
                    <a:pt x="3417978" y="1919088"/>
                  </a:moveTo>
                  <a:cubicBezTo>
                    <a:pt x="3041954" y="2051288"/>
                    <a:pt x="2639953" y="1864746"/>
                    <a:pt x="2484417" y="1519770"/>
                  </a:cubicBezTo>
                  <a:cubicBezTo>
                    <a:pt x="2312693" y="1141187"/>
                    <a:pt x="2478627" y="695812"/>
                    <a:pt x="2858860" y="522945"/>
                  </a:cubicBezTo>
                  <a:cubicBezTo>
                    <a:pt x="3237667" y="350865"/>
                    <a:pt x="3683563" y="518029"/>
                    <a:pt x="3855684" y="897098"/>
                  </a:cubicBezTo>
                  <a:cubicBezTo>
                    <a:pt x="4015576" y="1248835"/>
                    <a:pt x="3877615" y="1673086"/>
                    <a:pt x="3541666" y="1862870"/>
                  </a:cubicBezTo>
                  <a:lnTo>
                    <a:pt x="3541633" y="1862903"/>
                  </a:lnTo>
                  <a:cubicBezTo>
                    <a:pt x="3521353" y="1874450"/>
                    <a:pt x="3501039" y="1884833"/>
                    <a:pt x="3481211" y="1893761"/>
                  </a:cubicBezTo>
                  <a:cubicBezTo>
                    <a:pt x="3460897" y="1903013"/>
                    <a:pt x="3439646" y="1911519"/>
                    <a:pt x="3418038" y="1919024"/>
                  </a:cubicBezTo>
                  <a:close/>
                  <a:moveTo>
                    <a:pt x="2213557" y="762281"/>
                  </a:moveTo>
                  <a:lnTo>
                    <a:pt x="2213557" y="1635476"/>
                  </a:lnTo>
                  <a:cubicBezTo>
                    <a:pt x="2213557" y="1641880"/>
                    <a:pt x="2208350" y="1647087"/>
                    <a:pt x="2201978" y="1647087"/>
                  </a:cubicBezTo>
                  <a:lnTo>
                    <a:pt x="2017568" y="1647087"/>
                  </a:lnTo>
                  <a:cubicBezTo>
                    <a:pt x="2011195" y="1647087"/>
                    <a:pt x="2005988" y="1641880"/>
                    <a:pt x="2005988" y="1635476"/>
                  </a:cubicBezTo>
                  <a:lnTo>
                    <a:pt x="2005988" y="762281"/>
                  </a:lnTo>
                  <a:cubicBezTo>
                    <a:pt x="2005988" y="755909"/>
                    <a:pt x="2011196" y="750701"/>
                    <a:pt x="2017568" y="750701"/>
                  </a:cubicBezTo>
                  <a:lnTo>
                    <a:pt x="2201978" y="750701"/>
                  </a:lnTo>
                  <a:cubicBezTo>
                    <a:pt x="2208350" y="750701"/>
                    <a:pt x="2213557" y="755909"/>
                    <a:pt x="2213557" y="762281"/>
                  </a:cubicBezTo>
                  <a:close/>
                  <a:moveTo>
                    <a:pt x="1660857" y="1049901"/>
                  </a:moveTo>
                  <a:lnTo>
                    <a:pt x="1660857" y="1635467"/>
                  </a:lnTo>
                  <a:cubicBezTo>
                    <a:pt x="1660857" y="1641872"/>
                    <a:pt x="1655649" y="1647079"/>
                    <a:pt x="1649277" y="1647079"/>
                  </a:cubicBezTo>
                  <a:lnTo>
                    <a:pt x="1464867" y="1647079"/>
                  </a:lnTo>
                  <a:cubicBezTo>
                    <a:pt x="1458463" y="1647079"/>
                    <a:pt x="1453256" y="1641871"/>
                    <a:pt x="1453256" y="1635467"/>
                  </a:cubicBezTo>
                  <a:lnTo>
                    <a:pt x="1453288" y="1049901"/>
                  </a:lnTo>
                  <a:cubicBezTo>
                    <a:pt x="1453288" y="1043497"/>
                    <a:pt x="1458496" y="1038289"/>
                    <a:pt x="1464900" y="1038289"/>
                  </a:cubicBezTo>
                  <a:lnTo>
                    <a:pt x="1649310" y="1038289"/>
                  </a:lnTo>
                  <a:cubicBezTo>
                    <a:pt x="1655682" y="1038322"/>
                    <a:pt x="1660857" y="1043497"/>
                    <a:pt x="1660857" y="1049901"/>
                  </a:cubicBezTo>
                  <a:close/>
                  <a:moveTo>
                    <a:pt x="1004682" y="3576410"/>
                  </a:moveTo>
                  <a:cubicBezTo>
                    <a:pt x="1004682" y="3619851"/>
                    <a:pt x="969328" y="3655205"/>
                    <a:pt x="925887" y="3655205"/>
                  </a:cubicBezTo>
                  <a:lnTo>
                    <a:pt x="113124" y="3655205"/>
                  </a:lnTo>
                  <a:cubicBezTo>
                    <a:pt x="69683" y="3655205"/>
                    <a:pt x="34329" y="3619851"/>
                    <a:pt x="34329" y="3576410"/>
                  </a:cubicBezTo>
                  <a:lnTo>
                    <a:pt x="34329" y="2912534"/>
                  </a:lnTo>
                  <a:cubicBezTo>
                    <a:pt x="34329" y="2867055"/>
                    <a:pt x="72110" y="2833738"/>
                    <a:pt x="113124" y="2833738"/>
                  </a:cubicBezTo>
                  <a:lnTo>
                    <a:pt x="925854" y="2833738"/>
                  </a:lnTo>
                  <a:cubicBezTo>
                    <a:pt x="969295" y="2833738"/>
                    <a:pt x="1004649" y="2869093"/>
                    <a:pt x="1004649" y="2912534"/>
                  </a:cubicBezTo>
                  <a:close/>
                  <a:moveTo>
                    <a:pt x="1006817" y="3655205"/>
                  </a:moveTo>
                  <a:cubicBezTo>
                    <a:pt x="1026677" y="3634795"/>
                    <a:pt x="1039034" y="3607074"/>
                    <a:pt x="1039034" y="3576410"/>
                  </a:cubicBezTo>
                  <a:lnTo>
                    <a:pt x="1039034" y="3052013"/>
                  </a:lnTo>
                  <a:lnTo>
                    <a:pt x="1816702" y="3052013"/>
                  </a:lnTo>
                  <a:cubicBezTo>
                    <a:pt x="1812368" y="3244472"/>
                    <a:pt x="1736063" y="3424833"/>
                    <a:pt x="1599501" y="3561372"/>
                  </a:cubicBezTo>
                  <a:lnTo>
                    <a:pt x="1505665" y="3655209"/>
                  </a:lnTo>
                  <a:close/>
                  <a:moveTo>
                    <a:pt x="1558581" y="3650839"/>
                  </a:moveTo>
                  <a:lnTo>
                    <a:pt x="1623759" y="3585661"/>
                  </a:lnTo>
                  <a:cubicBezTo>
                    <a:pt x="1766791" y="3442629"/>
                    <a:pt x="1847337" y="3253689"/>
                    <a:pt x="1851700" y="3052105"/>
                  </a:cubicBezTo>
                  <a:lnTo>
                    <a:pt x="2610059" y="3052105"/>
                  </a:lnTo>
                  <a:cubicBezTo>
                    <a:pt x="2614426" y="3253756"/>
                    <a:pt x="2694969" y="3442621"/>
                    <a:pt x="2838033" y="3585661"/>
                  </a:cubicBezTo>
                  <a:lnTo>
                    <a:pt x="2903179" y="3650839"/>
                  </a:lnTo>
                  <a:close/>
                  <a:moveTo>
                    <a:pt x="2956107" y="3655205"/>
                  </a:moveTo>
                  <a:lnTo>
                    <a:pt x="2862303" y="3561369"/>
                  </a:lnTo>
                  <a:cubicBezTo>
                    <a:pt x="2725739" y="3424838"/>
                    <a:pt x="2649400" y="3244444"/>
                    <a:pt x="2645069" y="3052010"/>
                  </a:cubicBezTo>
                  <a:lnTo>
                    <a:pt x="3420535" y="3052010"/>
                  </a:lnTo>
                  <a:lnTo>
                    <a:pt x="3420535" y="3583040"/>
                  </a:lnTo>
                  <a:cubicBezTo>
                    <a:pt x="3420535" y="3610954"/>
                    <a:pt x="3431565" y="3636185"/>
                    <a:pt x="3449194" y="3655204"/>
                  </a:cubicBezTo>
                  <a:close/>
                  <a:moveTo>
                    <a:pt x="3420535" y="2965129"/>
                  </a:moveTo>
                  <a:lnTo>
                    <a:pt x="3420535" y="3017660"/>
                  </a:lnTo>
                  <a:lnTo>
                    <a:pt x="1039020" y="3017660"/>
                  </a:lnTo>
                  <a:lnTo>
                    <a:pt x="1039020" y="2912537"/>
                  </a:lnTo>
                  <a:cubicBezTo>
                    <a:pt x="1039020" y="2850141"/>
                    <a:pt x="988269" y="2799390"/>
                    <a:pt x="925873" y="2799390"/>
                  </a:cubicBezTo>
                  <a:lnTo>
                    <a:pt x="192746" y="2799390"/>
                  </a:lnTo>
                  <a:lnTo>
                    <a:pt x="192746" y="2666966"/>
                  </a:lnTo>
                  <a:lnTo>
                    <a:pt x="3610087" y="2666966"/>
                  </a:lnTo>
                  <a:lnTo>
                    <a:pt x="3695477" y="2854705"/>
                  </a:lnTo>
                  <a:cubicBezTo>
                    <a:pt x="3696124" y="2856096"/>
                    <a:pt x="3697062" y="2857260"/>
                    <a:pt x="3697742" y="2858619"/>
                  </a:cubicBezTo>
                  <a:lnTo>
                    <a:pt x="3527019" y="2858619"/>
                  </a:lnTo>
                  <a:cubicBezTo>
                    <a:pt x="3470414" y="2858619"/>
                    <a:pt x="3420538" y="2905101"/>
                    <a:pt x="3420538" y="2965133"/>
                  </a:cubicBezTo>
                  <a:close/>
                  <a:moveTo>
                    <a:pt x="4355503" y="2965129"/>
                  </a:moveTo>
                  <a:lnTo>
                    <a:pt x="4355503" y="3583040"/>
                  </a:lnTo>
                  <a:cubicBezTo>
                    <a:pt x="4355503" y="3622825"/>
                    <a:pt x="4323157" y="3655204"/>
                    <a:pt x="4283371" y="3655204"/>
                  </a:cubicBezTo>
                  <a:lnTo>
                    <a:pt x="3526984" y="3655204"/>
                  </a:lnTo>
                  <a:cubicBezTo>
                    <a:pt x="3487197" y="3655204"/>
                    <a:pt x="3454852" y="3622825"/>
                    <a:pt x="3454852" y="3583040"/>
                  </a:cubicBezTo>
                  <a:lnTo>
                    <a:pt x="3454852" y="2965129"/>
                  </a:lnTo>
                  <a:cubicBezTo>
                    <a:pt x="3454852" y="2924664"/>
                    <a:pt x="3488751" y="2892965"/>
                    <a:pt x="3526984" y="2892965"/>
                  </a:cubicBezTo>
                  <a:lnTo>
                    <a:pt x="3718374" y="2892965"/>
                  </a:lnTo>
                  <a:cubicBezTo>
                    <a:pt x="3774818" y="2968429"/>
                    <a:pt x="3876195" y="2994825"/>
                    <a:pt x="3963108" y="2955328"/>
                  </a:cubicBezTo>
                  <a:cubicBezTo>
                    <a:pt x="3966537" y="2953096"/>
                    <a:pt x="4007811" y="2936858"/>
                    <a:pt x="4040740" y="2892965"/>
                  </a:cubicBezTo>
                  <a:lnTo>
                    <a:pt x="4283595" y="2892965"/>
                  </a:lnTo>
                  <a:cubicBezTo>
                    <a:pt x="4323219" y="2893256"/>
                    <a:pt x="4355500" y="2925602"/>
                    <a:pt x="4355500" y="29651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348" name="Freeform: Shape 347">
              <a:extLst>
                <a:ext uri="{FF2B5EF4-FFF2-40B4-BE49-F238E27FC236}">
                  <a16:creationId xmlns:a16="http://schemas.microsoft.com/office/drawing/2014/main" id="{29331FC7-879B-4289-6078-4758C57FF8BE}"/>
                </a:ext>
              </a:extLst>
            </p:cNvPr>
            <p:cNvSpPr/>
            <p:nvPr/>
          </p:nvSpPr>
          <p:spPr>
            <a:xfrm>
              <a:off x="12329462" y="4888424"/>
              <a:ext cx="183979" cy="183979"/>
            </a:xfrm>
            <a:custGeom>
              <a:avLst/>
              <a:gdLst>
                <a:gd name="connsiteX0" fmla="*/ 91990 w 183979"/>
                <a:gd name="connsiteY0" fmla="*/ 0 h 183979"/>
                <a:gd name="connsiteX1" fmla="*/ 0 w 183979"/>
                <a:gd name="connsiteY1" fmla="*/ 91990 h 183979"/>
                <a:gd name="connsiteX2" fmla="*/ 91990 w 183979"/>
                <a:gd name="connsiteY2" fmla="*/ 183980 h 183979"/>
                <a:gd name="connsiteX3" fmla="*/ 183979 w 183979"/>
                <a:gd name="connsiteY3" fmla="*/ 91990 h 183979"/>
                <a:gd name="connsiteX4" fmla="*/ 91990 w 183979"/>
                <a:gd name="connsiteY4" fmla="*/ 0 h 183979"/>
                <a:gd name="connsiteX5" fmla="*/ 91990 w 183979"/>
                <a:gd name="connsiteY5" fmla="*/ 149598 h 183979"/>
                <a:gd name="connsiteX6" fmla="*/ 34349 w 183979"/>
                <a:gd name="connsiteY6" fmla="*/ 91957 h 183979"/>
                <a:gd name="connsiteX7" fmla="*/ 91990 w 183979"/>
                <a:gd name="connsiteY7" fmla="*/ 34317 h 183979"/>
                <a:gd name="connsiteX8" fmla="*/ 149630 w 183979"/>
                <a:gd name="connsiteY8" fmla="*/ 91957 h 183979"/>
                <a:gd name="connsiteX9" fmla="*/ 91990 w 183979"/>
                <a:gd name="connsiteY9" fmla="*/ 149598 h 18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979" h="183979">
                  <a:moveTo>
                    <a:pt x="91990" y="0"/>
                  </a:moveTo>
                  <a:cubicBezTo>
                    <a:pt x="41271" y="0"/>
                    <a:pt x="0" y="41274"/>
                    <a:pt x="0" y="91990"/>
                  </a:cubicBezTo>
                  <a:cubicBezTo>
                    <a:pt x="0" y="142705"/>
                    <a:pt x="41274" y="183980"/>
                    <a:pt x="91990" y="183980"/>
                  </a:cubicBezTo>
                  <a:cubicBezTo>
                    <a:pt x="142705" y="183980"/>
                    <a:pt x="183979" y="142705"/>
                    <a:pt x="183979" y="91990"/>
                  </a:cubicBezTo>
                  <a:cubicBezTo>
                    <a:pt x="183979" y="41238"/>
                    <a:pt x="142705" y="0"/>
                    <a:pt x="91990" y="0"/>
                  </a:cubicBezTo>
                  <a:close/>
                  <a:moveTo>
                    <a:pt x="91990" y="149598"/>
                  </a:moveTo>
                  <a:cubicBezTo>
                    <a:pt x="60226" y="149598"/>
                    <a:pt x="34349" y="123721"/>
                    <a:pt x="34349" y="91957"/>
                  </a:cubicBezTo>
                  <a:cubicBezTo>
                    <a:pt x="34349" y="60194"/>
                    <a:pt x="60226" y="34317"/>
                    <a:pt x="91990" y="34317"/>
                  </a:cubicBezTo>
                  <a:cubicBezTo>
                    <a:pt x="123753" y="34317"/>
                    <a:pt x="149630" y="60194"/>
                    <a:pt x="149630" y="91957"/>
                  </a:cubicBezTo>
                  <a:cubicBezTo>
                    <a:pt x="149630" y="123754"/>
                    <a:pt x="123753" y="149598"/>
                    <a:pt x="91990" y="14959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349" name="Freeform: Shape 348">
              <a:extLst>
                <a:ext uri="{FF2B5EF4-FFF2-40B4-BE49-F238E27FC236}">
                  <a16:creationId xmlns:a16="http://schemas.microsoft.com/office/drawing/2014/main" id="{07A431F7-B719-64D3-68B1-B86B2F4EC758}"/>
                </a:ext>
              </a:extLst>
            </p:cNvPr>
            <p:cNvSpPr/>
            <p:nvPr/>
          </p:nvSpPr>
          <p:spPr>
            <a:xfrm>
              <a:off x="10647845" y="2446529"/>
              <a:ext cx="769896" cy="765709"/>
            </a:xfrm>
            <a:custGeom>
              <a:avLst/>
              <a:gdLst>
                <a:gd name="connsiteX0" fmla="*/ 768999 w 769896"/>
                <a:gd name="connsiteY0" fmla="*/ 357076 h 765709"/>
                <a:gd name="connsiteX1" fmla="*/ 0 w 769896"/>
                <a:gd name="connsiteY1" fmla="*/ 380526 h 765709"/>
                <a:gd name="connsiteX2" fmla="*/ 384760 w 769896"/>
                <a:gd name="connsiteY2" fmla="*/ 765709 h 765709"/>
                <a:gd name="connsiteX3" fmla="*/ 384825 w 769896"/>
                <a:gd name="connsiteY3" fmla="*/ 765709 h 765709"/>
                <a:gd name="connsiteX4" fmla="*/ 384890 w 769896"/>
                <a:gd name="connsiteY4" fmla="*/ 765709 h 765709"/>
                <a:gd name="connsiteX5" fmla="*/ 769650 w 769896"/>
                <a:gd name="connsiteY5" fmla="*/ 391432 h 765709"/>
                <a:gd name="connsiteX6" fmla="*/ 769003 w 769896"/>
                <a:gd name="connsiteY6" fmla="*/ 357081 h 765709"/>
                <a:gd name="connsiteX7" fmla="*/ 402034 w 769896"/>
                <a:gd name="connsiteY7" fmla="*/ 30570 h 765709"/>
                <a:gd name="connsiteX8" fmla="*/ 734618 w 769896"/>
                <a:gd name="connsiteY8" fmla="*/ 357076 h 765709"/>
                <a:gd name="connsiteX9" fmla="*/ 402034 w 769896"/>
                <a:gd name="connsiteY9" fmla="*/ 357076 h 765709"/>
                <a:gd name="connsiteX10" fmla="*/ 34356 w 769896"/>
                <a:gd name="connsiteY10" fmla="*/ 380526 h 765709"/>
                <a:gd name="connsiteX11" fmla="*/ 367686 w 769896"/>
                <a:gd name="connsiteY11" fmla="*/ 30536 h 765709"/>
                <a:gd name="connsiteX12" fmla="*/ 367686 w 769896"/>
                <a:gd name="connsiteY12" fmla="*/ 367128 h 765709"/>
                <a:gd name="connsiteX13" fmla="*/ 122438 w 769896"/>
                <a:gd name="connsiteY13" fmla="*/ 612376 h 765709"/>
                <a:gd name="connsiteX14" fmla="*/ 34356 w 769896"/>
                <a:gd name="connsiteY14" fmla="*/ 380518 h 765709"/>
                <a:gd name="connsiteX15" fmla="*/ 384793 w 769896"/>
                <a:gd name="connsiteY15" fmla="*/ 731353 h 765709"/>
                <a:gd name="connsiteX16" fmla="*/ 383208 w 769896"/>
                <a:gd name="connsiteY16" fmla="*/ 731288 h 765709"/>
                <a:gd name="connsiteX17" fmla="*/ 146432 w 769896"/>
                <a:gd name="connsiteY17" fmla="*/ 636930 h 765709"/>
                <a:gd name="connsiteX18" fmla="*/ 391969 w 769896"/>
                <a:gd name="connsiteY18" fmla="*/ 391425 h 765709"/>
                <a:gd name="connsiteX19" fmla="*/ 735293 w 769896"/>
                <a:gd name="connsiteY19" fmla="*/ 391425 h 765709"/>
                <a:gd name="connsiteX20" fmla="*/ 384790 w 769896"/>
                <a:gd name="connsiteY20" fmla="*/ 731354 h 76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69896" h="765709">
                  <a:moveTo>
                    <a:pt x="768999" y="357076"/>
                  </a:moveTo>
                  <a:cubicBezTo>
                    <a:pt x="738108" y="-134489"/>
                    <a:pt x="0" y="-110814"/>
                    <a:pt x="0" y="380526"/>
                  </a:cubicBezTo>
                  <a:cubicBezTo>
                    <a:pt x="0" y="591650"/>
                    <a:pt x="171277" y="765709"/>
                    <a:pt x="384760" y="765709"/>
                  </a:cubicBezTo>
                  <a:lnTo>
                    <a:pt x="384825" y="765709"/>
                  </a:lnTo>
                  <a:lnTo>
                    <a:pt x="384890" y="765709"/>
                  </a:lnTo>
                  <a:cubicBezTo>
                    <a:pt x="590382" y="765709"/>
                    <a:pt x="763729" y="601520"/>
                    <a:pt x="769650" y="391432"/>
                  </a:cubicBezTo>
                  <a:cubicBezTo>
                    <a:pt x="770491" y="373480"/>
                    <a:pt x="768906" y="355301"/>
                    <a:pt x="769003" y="357081"/>
                  </a:cubicBezTo>
                  <a:close/>
                  <a:moveTo>
                    <a:pt x="402034" y="30570"/>
                  </a:moveTo>
                  <a:cubicBezTo>
                    <a:pt x="581881" y="39562"/>
                    <a:pt x="722520" y="182238"/>
                    <a:pt x="734618" y="357076"/>
                  </a:cubicBezTo>
                  <a:lnTo>
                    <a:pt x="402034" y="357076"/>
                  </a:lnTo>
                  <a:close/>
                  <a:moveTo>
                    <a:pt x="34356" y="380526"/>
                  </a:moveTo>
                  <a:cubicBezTo>
                    <a:pt x="34356" y="194924"/>
                    <a:pt x="182183" y="39695"/>
                    <a:pt x="367686" y="30536"/>
                  </a:cubicBezTo>
                  <a:lnTo>
                    <a:pt x="367686" y="367128"/>
                  </a:lnTo>
                  <a:lnTo>
                    <a:pt x="122438" y="612376"/>
                  </a:lnTo>
                  <a:cubicBezTo>
                    <a:pt x="65702" y="548363"/>
                    <a:pt x="34356" y="466819"/>
                    <a:pt x="34356" y="380518"/>
                  </a:cubicBezTo>
                  <a:close/>
                  <a:moveTo>
                    <a:pt x="384793" y="731353"/>
                  </a:moveTo>
                  <a:cubicBezTo>
                    <a:pt x="384244" y="731353"/>
                    <a:pt x="383726" y="731288"/>
                    <a:pt x="383208" y="731288"/>
                  </a:cubicBezTo>
                  <a:cubicBezTo>
                    <a:pt x="298141" y="730900"/>
                    <a:pt x="213389" y="699297"/>
                    <a:pt x="146432" y="636930"/>
                  </a:cubicBezTo>
                  <a:lnTo>
                    <a:pt x="391969" y="391425"/>
                  </a:lnTo>
                  <a:lnTo>
                    <a:pt x="735293" y="391425"/>
                  </a:lnTo>
                  <a:cubicBezTo>
                    <a:pt x="729374" y="582725"/>
                    <a:pt x="570881" y="731321"/>
                    <a:pt x="384790" y="73135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350" name="Freeform: Shape 349">
              <a:extLst>
                <a:ext uri="{FF2B5EF4-FFF2-40B4-BE49-F238E27FC236}">
                  <a16:creationId xmlns:a16="http://schemas.microsoft.com/office/drawing/2014/main" id="{D714A8EA-E6D8-4DA9-F62D-0B0244DCE370}"/>
                </a:ext>
              </a:extLst>
            </p:cNvPr>
            <p:cNvSpPr/>
            <p:nvPr/>
          </p:nvSpPr>
          <p:spPr>
            <a:xfrm>
              <a:off x="10699656" y="3963972"/>
              <a:ext cx="502562" cy="502595"/>
            </a:xfrm>
            <a:custGeom>
              <a:avLst/>
              <a:gdLst>
                <a:gd name="connsiteX0" fmla="*/ 424964 w 502562"/>
                <a:gd name="connsiteY0" fmla="*/ 0 h 502595"/>
                <a:gd name="connsiteX1" fmla="*/ 77599 w 502562"/>
                <a:gd name="connsiteY1" fmla="*/ 0 h 502595"/>
                <a:gd name="connsiteX2" fmla="*/ 0 w 502562"/>
                <a:gd name="connsiteY2" fmla="*/ 77599 h 502595"/>
                <a:gd name="connsiteX3" fmla="*/ 0 w 502562"/>
                <a:gd name="connsiteY3" fmla="*/ 424997 h 502595"/>
                <a:gd name="connsiteX4" fmla="*/ 77599 w 502562"/>
                <a:gd name="connsiteY4" fmla="*/ 502596 h 502595"/>
                <a:gd name="connsiteX5" fmla="*/ 424964 w 502562"/>
                <a:gd name="connsiteY5" fmla="*/ 502563 h 502595"/>
                <a:gd name="connsiteX6" fmla="*/ 502563 w 502562"/>
                <a:gd name="connsiteY6" fmla="*/ 424964 h 502595"/>
                <a:gd name="connsiteX7" fmla="*/ 502563 w 502562"/>
                <a:gd name="connsiteY7" fmla="*/ 77599 h 502595"/>
                <a:gd name="connsiteX8" fmla="*/ 424964 w 502562"/>
                <a:gd name="connsiteY8" fmla="*/ 1 h 502595"/>
                <a:gd name="connsiteX9" fmla="*/ 468211 w 502562"/>
                <a:gd name="connsiteY9" fmla="*/ 424996 h 502595"/>
                <a:gd name="connsiteX10" fmla="*/ 424964 w 502562"/>
                <a:gd name="connsiteY10" fmla="*/ 468243 h 502595"/>
                <a:gd name="connsiteX11" fmla="*/ 77599 w 502562"/>
                <a:gd name="connsiteY11" fmla="*/ 468211 h 502595"/>
                <a:gd name="connsiteX12" fmla="*/ 34352 w 502562"/>
                <a:gd name="connsiteY12" fmla="*/ 424963 h 502595"/>
                <a:gd name="connsiteX13" fmla="*/ 34352 w 502562"/>
                <a:gd name="connsiteY13" fmla="*/ 77599 h 502595"/>
                <a:gd name="connsiteX14" fmla="*/ 77599 w 502562"/>
                <a:gd name="connsiteY14" fmla="*/ 34351 h 502595"/>
                <a:gd name="connsiteX15" fmla="*/ 424964 w 502562"/>
                <a:gd name="connsiteY15" fmla="*/ 34351 h 502595"/>
                <a:gd name="connsiteX16" fmla="*/ 468211 w 502562"/>
                <a:gd name="connsiteY16" fmla="*/ 77599 h 50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562" h="502595">
                  <a:moveTo>
                    <a:pt x="424964" y="0"/>
                  </a:moveTo>
                  <a:lnTo>
                    <a:pt x="77599" y="0"/>
                  </a:lnTo>
                  <a:cubicBezTo>
                    <a:pt x="34837" y="0"/>
                    <a:pt x="0" y="34804"/>
                    <a:pt x="0" y="77599"/>
                  </a:cubicBezTo>
                  <a:lnTo>
                    <a:pt x="0" y="424997"/>
                  </a:lnTo>
                  <a:cubicBezTo>
                    <a:pt x="0" y="467759"/>
                    <a:pt x="34804" y="502596"/>
                    <a:pt x="77599" y="502596"/>
                  </a:cubicBezTo>
                  <a:lnTo>
                    <a:pt x="424964" y="502563"/>
                  </a:lnTo>
                  <a:cubicBezTo>
                    <a:pt x="467726" y="502563"/>
                    <a:pt x="502563" y="467759"/>
                    <a:pt x="502563" y="424964"/>
                  </a:cubicBezTo>
                  <a:lnTo>
                    <a:pt x="502563" y="77599"/>
                  </a:lnTo>
                  <a:cubicBezTo>
                    <a:pt x="502563" y="34837"/>
                    <a:pt x="467758" y="1"/>
                    <a:pt x="424964" y="1"/>
                  </a:cubicBezTo>
                  <a:close/>
                  <a:moveTo>
                    <a:pt x="468211" y="424996"/>
                  </a:moveTo>
                  <a:cubicBezTo>
                    <a:pt x="468211" y="448835"/>
                    <a:pt x="448836" y="468243"/>
                    <a:pt x="424964" y="468243"/>
                  </a:cubicBezTo>
                  <a:lnTo>
                    <a:pt x="77599" y="468211"/>
                  </a:lnTo>
                  <a:cubicBezTo>
                    <a:pt x="53760" y="468211"/>
                    <a:pt x="34352" y="448836"/>
                    <a:pt x="34352" y="424963"/>
                  </a:cubicBezTo>
                  <a:lnTo>
                    <a:pt x="34352" y="77599"/>
                  </a:lnTo>
                  <a:cubicBezTo>
                    <a:pt x="34352" y="53760"/>
                    <a:pt x="53727" y="34351"/>
                    <a:pt x="77599" y="34351"/>
                  </a:cubicBezTo>
                  <a:lnTo>
                    <a:pt x="424964" y="34351"/>
                  </a:lnTo>
                  <a:cubicBezTo>
                    <a:pt x="448803" y="34351"/>
                    <a:pt x="468211" y="53726"/>
                    <a:pt x="468211" y="7759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351" name="Freeform: Shape 350">
              <a:extLst>
                <a:ext uri="{FF2B5EF4-FFF2-40B4-BE49-F238E27FC236}">
                  <a16:creationId xmlns:a16="http://schemas.microsoft.com/office/drawing/2014/main" id="{D1549E0D-1208-7E21-0361-3FF523BA6B51}"/>
                </a:ext>
              </a:extLst>
            </p:cNvPr>
            <p:cNvSpPr/>
            <p:nvPr/>
          </p:nvSpPr>
          <p:spPr>
            <a:xfrm>
              <a:off x="10809329" y="4102259"/>
              <a:ext cx="283198" cy="216270"/>
            </a:xfrm>
            <a:custGeom>
              <a:avLst/>
              <a:gdLst>
                <a:gd name="connsiteX0" fmla="*/ 91216 w 283198"/>
                <a:gd name="connsiteY0" fmla="*/ 167683 h 216270"/>
                <a:gd name="connsiteX1" fmla="*/ 24292 w 283198"/>
                <a:gd name="connsiteY1" fmla="*/ 100759 h 216270"/>
                <a:gd name="connsiteX2" fmla="*/ 0 w 283198"/>
                <a:gd name="connsiteY2" fmla="*/ 125051 h 216270"/>
                <a:gd name="connsiteX3" fmla="*/ 91220 w 283198"/>
                <a:gd name="connsiteY3" fmla="*/ 216271 h 216270"/>
                <a:gd name="connsiteX4" fmla="*/ 283198 w 283198"/>
                <a:gd name="connsiteY4" fmla="*/ 24292 h 216270"/>
                <a:gd name="connsiteX5" fmla="*/ 258906 w 283198"/>
                <a:gd name="connsiteY5" fmla="*/ 0 h 21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198" h="216270">
                  <a:moveTo>
                    <a:pt x="91216" y="167683"/>
                  </a:moveTo>
                  <a:lnTo>
                    <a:pt x="24292" y="100759"/>
                  </a:lnTo>
                  <a:lnTo>
                    <a:pt x="0" y="125051"/>
                  </a:lnTo>
                  <a:lnTo>
                    <a:pt x="91220" y="216271"/>
                  </a:lnTo>
                  <a:lnTo>
                    <a:pt x="283198" y="24292"/>
                  </a:lnTo>
                  <a:lnTo>
                    <a:pt x="258906"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352" name="Freeform: Shape 351">
              <a:extLst>
                <a:ext uri="{FF2B5EF4-FFF2-40B4-BE49-F238E27FC236}">
                  <a16:creationId xmlns:a16="http://schemas.microsoft.com/office/drawing/2014/main" id="{85EC7190-774A-C040-DFD9-13070A9FA1A2}"/>
                </a:ext>
              </a:extLst>
            </p:cNvPr>
            <p:cNvSpPr/>
            <p:nvPr/>
          </p:nvSpPr>
          <p:spPr>
            <a:xfrm>
              <a:off x="10380122" y="5387829"/>
              <a:ext cx="176060" cy="322423"/>
            </a:xfrm>
            <a:custGeom>
              <a:avLst/>
              <a:gdLst>
                <a:gd name="connsiteX0" fmla="*/ 128997 w 176060"/>
                <a:gd name="connsiteY0" fmla="*/ 0 h 322423"/>
                <a:gd name="connsiteX1" fmla="*/ 47064 w 176060"/>
                <a:gd name="connsiteY1" fmla="*/ 0 h 322423"/>
                <a:gd name="connsiteX2" fmla="*/ 0 w 176060"/>
                <a:gd name="connsiteY2" fmla="*/ 47096 h 322423"/>
                <a:gd name="connsiteX3" fmla="*/ 0 w 176060"/>
                <a:gd name="connsiteY3" fmla="*/ 275328 h 322423"/>
                <a:gd name="connsiteX4" fmla="*/ 47064 w 176060"/>
                <a:gd name="connsiteY4" fmla="*/ 322424 h 322423"/>
                <a:gd name="connsiteX5" fmla="*/ 128997 w 176060"/>
                <a:gd name="connsiteY5" fmla="*/ 322424 h 322423"/>
                <a:gd name="connsiteX6" fmla="*/ 176061 w 176060"/>
                <a:gd name="connsiteY6" fmla="*/ 275328 h 322423"/>
                <a:gd name="connsiteX7" fmla="*/ 176061 w 176060"/>
                <a:gd name="connsiteY7" fmla="*/ 47096 h 322423"/>
                <a:gd name="connsiteX8" fmla="*/ 128997 w 176060"/>
                <a:gd name="connsiteY8" fmla="*/ 0 h 322423"/>
                <a:gd name="connsiteX9" fmla="*/ 141709 w 176060"/>
                <a:gd name="connsiteY9" fmla="*/ 275332 h 322423"/>
                <a:gd name="connsiteX10" fmla="*/ 128997 w 176060"/>
                <a:gd name="connsiteY10" fmla="*/ 288076 h 322423"/>
                <a:gd name="connsiteX11" fmla="*/ 47064 w 176060"/>
                <a:gd name="connsiteY11" fmla="*/ 288076 h 322423"/>
                <a:gd name="connsiteX12" fmla="*/ 34351 w 176060"/>
                <a:gd name="connsiteY12" fmla="*/ 275332 h 322423"/>
                <a:gd name="connsiteX13" fmla="*/ 34351 w 176060"/>
                <a:gd name="connsiteY13" fmla="*/ 47100 h 322423"/>
                <a:gd name="connsiteX14" fmla="*/ 47064 w 176060"/>
                <a:gd name="connsiteY14" fmla="*/ 34356 h 322423"/>
                <a:gd name="connsiteX15" fmla="*/ 128997 w 176060"/>
                <a:gd name="connsiteY15" fmla="*/ 34356 h 322423"/>
                <a:gd name="connsiteX16" fmla="*/ 141709 w 176060"/>
                <a:gd name="connsiteY16" fmla="*/ 47100 h 32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6060" h="322423">
                  <a:moveTo>
                    <a:pt x="128997" y="0"/>
                  </a:moveTo>
                  <a:lnTo>
                    <a:pt x="47064" y="0"/>
                  </a:lnTo>
                  <a:cubicBezTo>
                    <a:pt x="21090" y="0"/>
                    <a:pt x="0" y="21122"/>
                    <a:pt x="0" y="47096"/>
                  </a:cubicBezTo>
                  <a:lnTo>
                    <a:pt x="0" y="275328"/>
                  </a:lnTo>
                  <a:cubicBezTo>
                    <a:pt x="0" y="301301"/>
                    <a:pt x="21090" y="322424"/>
                    <a:pt x="47064" y="322424"/>
                  </a:cubicBezTo>
                  <a:lnTo>
                    <a:pt x="128997" y="322424"/>
                  </a:lnTo>
                  <a:cubicBezTo>
                    <a:pt x="154971" y="322424"/>
                    <a:pt x="176061" y="301301"/>
                    <a:pt x="176061" y="275328"/>
                  </a:cubicBezTo>
                  <a:lnTo>
                    <a:pt x="176061" y="47096"/>
                  </a:lnTo>
                  <a:cubicBezTo>
                    <a:pt x="176061" y="21155"/>
                    <a:pt x="154971" y="0"/>
                    <a:pt x="128997" y="0"/>
                  </a:cubicBezTo>
                  <a:close/>
                  <a:moveTo>
                    <a:pt x="141709" y="275332"/>
                  </a:moveTo>
                  <a:cubicBezTo>
                    <a:pt x="141709" y="282383"/>
                    <a:pt x="136016" y="288076"/>
                    <a:pt x="128997" y="288076"/>
                  </a:cubicBezTo>
                  <a:lnTo>
                    <a:pt x="47064" y="288076"/>
                  </a:lnTo>
                  <a:cubicBezTo>
                    <a:pt x="40045" y="288076"/>
                    <a:pt x="34351" y="282383"/>
                    <a:pt x="34351" y="275332"/>
                  </a:cubicBezTo>
                  <a:lnTo>
                    <a:pt x="34351" y="47100"/>
                  </a:lnTo>
                  <a:cubicBezTo>
                    <a:pt x="34351" y="40049"/>
                    <a:pt x="40044" y="34356"/>
                    <a:pt x="47064" y="34356"/>
                  </a:cubicBezTo>
                  <a:lnTo>
                    <a:pt x="128997" y="34356"/>
                  </a:lnTo>
                  <a:cubicBezTo>
                    <a:pt x="136016" y="34356"/>
                    <a:pt x="141709" y="40048"/>
                    <a:pt x="141709" y="471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353" name="Freeform: Shape 352">
              <a:extLst>
                <a:ext uri="{FF2B5EF4-FFF2-40B4-BE49-F238E27FC236}">
                  <a16:creationId xmlns:a16="http://schemas.microsoft.com/office/drawing/2014/main" id="{3BBF0C2B-46A9-00CD-C0B5-994B9C098F96}"/>
                </a:ext>
              </a:extLst>
            </p:cNvPr>
            <p:cNvSpPr/>
            <p:nvPr/>
          </p:nvSpPr>
          <p:spPr>
            <a:xfrm>
              <a:off x="10621503" y="5477592"/>
              <a:ext cx="176060" cy="232727"/>
            </a:xfrm>
            <a:custGeom>
              <a:avLst/>
              <a:gdLst>
                <a:gd name="connsiteX0" fmla="*/ 128997 w 176060"/>
                <a:gd name="connsiteY0" fmla="*/ 0 h 232727"/>
                <a:gd name="connsiteX1" fmla="*/ 47064 w 176060"/>
                <a:gd name="connsiteY1" fmla="*/ 0 h 232727"/>
                <a:gd name="connsiteX2" fmla="*/ 0 w 176060"/>
                <a:gd name="connsiteY2" fmla="*/ 47096 h 232727"/>
                <a:gd name="connsiteX3" fmla="*/ 0 w 176060"/>
                <a:gd name="connsiteY3" fmla="*/ 185632 h 232727"/>
                <a:gd name="connsiteX4" fmla="*/ 47064 w 176060"/>
                <a:gd name="connsiteY4" fmla="*/ 232728 h 232727"/>
                <a:gd name="connsiteX5" fmla="*/ 128997 w 176060"/>
                <a:gd name="connsiteY5" fmla="*/ 232728 h 232727"/>
                <a:gd name="connsiteX6" fmla="*/ 176061 w 176060"/>
                <a:gd name="connsiteY6" fmla="*/ 185632 h 232727"/>
                <a:gd name="connsiteX7" fmla="*/ 176061 w 176060"/>
                <a:gd name="connsiteY7" fmla="*/ 47096 h 232727"/>
                <a:gd name="connsiteX8" fmla="*/ 128997 w 176060"/>
                <a:gd name="connsiteY8" fmla="*/ 0 h 232727"/>
                <a:gd name="connsiteX9" fmla="*/ 141709 w 176060"/>
                <a:gd name="connsiteY9" fmla="*/ 185636 h 232727"/>
                <a:gd name="connsiteX10" fmla="*/ 128997 w 176060"/>
                <a:gd name="connsiteY10" fmla="*/ 198381 h 232727"/>
                <a:gd name="connsiteX11" fmla="*/ 47064 w 176060"/>
                <a:gd name="connsiteY11" fmla="*/ 198381 h 232727"/>
                <a:gd name="connsiteX12" fmla="*/ 34352 w 176060"/>
                <a:gd name="connsiteY12" fmla="*/ 185636 h 232727"/>
                <a:gd name="connsiteX13" fmla="*/ 34352 w 176060"/>
                <a:gd name="connsiteY13" fmla="*/ 47100 h 232727"/>
                <a:gd name="connsiteX14" fmla="*/ 47064 w 176060"/>
                <a:gd name="connsiteY14" fmla="*/ 34356 h 232727"/>
                <a:gd name="connsiteX15" fmla="*/ 128997 w 176060"/>
                <a:gd name="connsiteY15" fmla="*/ 34356 h 232727"/>
                <a:gd name="connsiteX16" fmla="*/ 141709 w 176060"/>
                <a:gd name="connsiteY16" fmla="*/ 47100 h 23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6060" h="232727">
                  <a:moveTo>
                    <a:pt x="128997" y="0"/>
                  </a:moveTo>
                  <a:lnTo>
                    <a:pt x="47064" y="0"/>
                  </a:lnTo>
                  <a:cubicBezTo>
                    <a:pt x="21090" y="0"/>
                    <a:pt x="0" y="21122"/>
                    <a:pt x="0" y="47096"/>
                  </a:cubicBezTo>
                  <a:lnTo>
                    <a:pt x="0" y="185632"/>
                  </a:lnTo>
                  <a:cubicBezTo>
                    <a:pt x="0" y="211605"/>
                    <a:pt x="21090" y="232728"/>
                    <a:pt x="47064" y="232728"/>
                  </a:cubicBezTo>
                  <a:lnTo>
                    <a:pt x="128997" y="232728"/>
                  </a:lnTo>
                  <a:cubicBezTo>
                    <a:pt x="154971" y="232728"/>
                    <a:pt x="176061" y="211605"/>
                    <a:pt x="176061" y="185632"/>
                  </a:cubicBezTo>
                  <a:lnTo>
                    <a:pt x="176061" y="47096"/>
                  </a:lnTo>
                  <a:cubicBezTo>
                    <a:pt x="176061" y="21155"/>
                    <a:pt x="154971" y="0"/>
                    <a:pt x="128997" y="0"/>
                  </a:cubicBezTo>
                  <a:close/>
                  <a:moveTo>
                    <a:pt x="141709" y="185636"/>
                  </a:moveTo>
                  <a:cubicBezTo>
                    <a:pt x="141709" y="192687"/>
                    <a:pt x="136016" y="198381"/>
                    <a:pt x="128997" y="198381"/>
                  </a:cubicBezTo>
                  <a:lnTo>
                    <a:pt x="47064" y="198381"/>
                  </a:lnTo>
                  <a:cubicBezTo>
                    <a:pt x="40045" y="198381"/>
                    <a:pt x="34352" y="192688"/>
                    <a:pt x="34352" y="185636"/>
                  </a:cubicBezTo>
                  <a:lnTo>
                    <a:pt x="34352" y="47100"/>
                  </a:lnTo>
                  <a:cubicBezTo>
                    <a:pt x="34352" y="40049"/>
                    <a:pt x="40044" y="34356"/>
                    <a:pt x="47064" y="34356"/>
                  </a:cubicBezTo>
                  <a:lnTo>
                    <a:pt x="128997" y="34356"/>
                  </a:lnTo>
                  <a:cubicBezTo>
                    <a:pt x="136016" y="34356"/>
                    <a:pt x="141709" y="40049"/>
                    <a:pt x="141709" y="471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354" name="Freeform: Shape 353">
              <a:extLst>
                <a:ext uri="{FF2B5EF4-FFF2-40B4-BE49-F238E27FC236}">
                  <a16:creationId xmlns:a16="http://schemas.microsoft.com/office/drawing/2014/main" id="{F47D98B0-0D65-A73D-A257-F6DDC5AFA3EE}"/>
                </a:ext>
              </a:extLst>
            </p:cNvPr>
            <p:cNvSpPr/>
            <p:nvPr/>
          </p:nvSpPr>
          <p:spPr>
            <a:xfrm>
              <a:off x="10862967" y="5223376"/>
              <a:ext cx="176060" cy="486910"/>
            </a:xfrm>
            <a:custGeom>
              <a:avLst/>
              <a:gdLst>
                <a:gd name="connsiteX0" fmla="*/ 128997 w 176060"/>
                <a:gd name="connsiteY0" fmla="*/ 0 h 486910"/>
                <a:gd name="connsiteX1" fmla="*/ 47096 w 176060"/>
                <a:gd name="connsiteY1" fmla="*/ 0 h 486910"/>
                <a:gd name="connsiteX2" fmla="*/ 0 w 176060"/>
                <a:gd name="connsiteY2" fmla="*/ 47096 h 486910"/>
                <a:gd name="connsiteX3" fmla="*/ 0 w 176060"/>
                <a:gd name="connsiteY3" fmla="*/ 439814 h 486910"/>
                <a:gd name="connsiteX4" fmla="*/ 47096 w 176060"/>
                <a:gd name="connsiteY4" fmla="*/ 486910 h 486910"/>
                <a:gd name="connsiteX5" fmla="*/ 128997 w 176060"/>
                <a:gd name="connsiteY5" fmla="*/ 486910 h 486910"/>
                <a:gd name="connsiteX6" fmla="*/ 176061 w 176060"/>
                <a:gd name="connsiteY6" fmla="*/ 439814 h 486910"/>
                <a:gd name="connsiteX7" fmla="*/ 176061 w 176060"/>
                <a:gd name="connsiteY7" fmla="*/ 47096 h 486910"/>
                <a:gd name="connsiteX8" fmla="*/ 128997 w 176060"/>
                <a:gd name="connsiteY8" fmla="*/ 0 h 486910"/>
                <a:gd name="connsiteX9" fmla="*/ 141709 w 176060"/>
                <a:gd name="connsiteY9" fmla="*/ 439777 h 486910"/>
                <a:gd name="connsiteX10" fmla="*/ 128997 w 176060"/>
                <a:gd name="connsiteY10" fmla="*/ 452522 h 486910"/>
                <a:gd name="connsiteX11" fmla="*/ 47096 w 176060"/>
                <a:gd name="connsiteY11" fmla="*/ 452522 h 486910"/>
                <a:gd name="connsiteX12" fmla="*/ 34352 w 176060"/>
                <a:gd name="connsiteY12" fmla="*/ 439777 h 486910"/>
                <a:gd name="connsiteX13" fmla="*/ 34352 w 176060"/>
                <a:gd name="connsiteY13" fmla="*/ 47059 h 486910"/>
                <a:gd name="connsiteX14" fmla="*/ 47096 w 176060"/>
                <a:gd name="connsiteY14" fmla="*/ 34314 h 486910"/>
                <a:gd name="connsiteX15" fmla="*/ 128997 w 176060"/>
                <a:gd name="connsiteY15" fmla="*/ 34314 h 486910"/>
                <a:gd name="connsiteX16" fmla="*/ 141709 w 176060"/>
                <a:gd name="connsiteY16" fmla="*/ 47059 h 48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6060" h="486910">
                  <a:moveTo>
                    <a:pt x="128997" y="0"/>
                  </a:moveTo>
                  <a:lnTo>
                    <a:pt x="47096" y="0"/>
                  </a:lnTo>
                  <a:cubicBezTo>
                    <a:pt x="21122" y="0"/>
                    <a:pt x="0" y="21122"/>
                    <a:pt x="0" y="47096"/>
                  </a:cubicBezTo>
                  <a:lnTo>
                    <a:pt x="0" y="439814"/>
                  </a:lnTo>
                  <a:cubicBezTo>
                    <a:pt x="0" y="465788"/>
                    <a:pt x="21122" y="486910"/>
                    <a:pt x="47096" y="486910"/>
                  </a:cubicBezTo>
                  <a:lnTo>
                    <a:pt x="128997" y="486910"/>
                  </a:lnTo>
                  <a:cubicBezTo>
                    <a:pt x="154971" y="486910"/>
                    <a:pt x="176061" y="465788"/>
                    <a:pt x="176061" y="439814"/>
                  </a:cubicBezTo>
                  <a:lnTo>
                    <a:pt x="176061" y="47096"/>
                  </a:lnTo>
                  <a:cubicBezTo>
                    <a:pt x="176061" y="21122"/>
                    <a:pt x="154971" y="0"/>
                    <a:pt x="128997" y="0"/>
                  </a:cubicBezTo>
                  <a:close/>
                  <a:moveTo>
                    <a:pt x="141709" y="439777"/>
                  </a:moveTo>
                  <a:cubicBezTo>
                    <a:pt x="141709" y="446828"/>
                    <a:pt x="136016" y="452522"/>
                    <a:pt x="128997" y="452522"/>
                  </a:cubicBezTo>
                  <a:lnTo>
                    <a:pt x="47096" y="452522"/>
                  </a:lnTo>
                  <a:cubicBezTo>
                    <a:pt x="40045" y="452522"/>
                    <a:pt x="34352" y="446829"/>
                    <a:pt x="34352" y="439777"/>
                  </a:cubicBezTo>
                  <a:lnTo>
                    <a:pt x="34352" y="47059"/>
                  </a:lnTo>
                  <a:cubicBezTo>
                    <a:pt x="34352" y="40007"/>
                    <a:pt x="40044" y="34314"/>
                    <a:pt x="47096" y="34314"/>
                  </a:cubicBezTo>
                  <a:lnTo>
                    <a:pt x="128997" y="34314"/>
                  </a:lnTo>
                  <a:cubicBezTo>
                    <a:pt x="136016" y="34314"/>
                    <a:pt x="141709" y="40007"/>
                    <a:pt x="141709" y="4705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355" name="Freeform: Shape 354">
              <a:extLst>
                <a:ext uri="{FF2B5EF4-FFF2-40B4-BE49-F238E27FC236}">
                  <a16:creationId xmlns:a16="http://schemas.microsoft.com/office/drawing/2014/main" id="{E5F44E78-779A-DBD3-CAB5-6DC742E76E86}"/>
                </a:ext>
              </a:extLst>
            </p:cNvPr>
            <p:cNvSpPr/>
            <p:nvPr/>
          </p:nvSpPr>
          <p:spPr>
            <a:xfrm>
              <a:off x="13738916" y="5133174"/>
              <a:ext cx="706872" cy="549884"/>
            </a:xfrm>
            <a:custGeom>
              <a:avLst/>
              <a:gdLst>
                <a:gd name="connsiteX0" fmla="*/ 245425 w 706872"/>
                <a:gd name="connsiteY0" fmla="*/ 334812 h 549884"/>
                <a:gd name="connsiteX1" fmla="*/ 330882 w 706872"/>
                <a:gd name="connsiteY1" fmla="*/ 437153 h 549884"/>
                <a:gd name="connsiteX2" fmla="*/ 706873 w 706872"/>
                <a:gd name="connsiteY2" fmla="*/ 149268 h 549884"/>
                <a:gd name="connsiteX3" fmla="*/ 686010 w 706872"/>
                <a:gd name="connsiteY3" fmla="*/ 121967 h 549884"/>
                <a:gd name="connsiteX4" fmla="*/ 336119 w 706872"/>
                <a:gd name="connsiteY4" fmla="*/ 389863 h 549884"/>
                <a:gd name="connsiteX5" fmla="*/ 250787 w 706872"/>
                <a:gd name="connsiteY5" fmla="*/ 287580 h 549884"/>
                <a:gd name="connsiteX6" fmla="*/ 34356 w 706872"/>
                <a:gd name="connsiteY6" fmla="*/ 452092 h 549884"/>
                <a:gd name="connsiteX7" fmla="*/ 34356 w 706872"/>
                <a:gd name="connsiteY7" fmla="*/ 360781 h 549884"/>
                <a:gd name="connsiteX8" fmla="*/ 255764 w 706872"/>
                <a:gd name="connsiteY8" fmla="*/ 192419 h 549884"/>
                <a:gd name="connsiteX9" fmla="*/ 331778 w 706872"/>
                <a:gd name="connsiteY9" fmla="*/ 290429 h 549884"/>
                <a:gd name="connsiteX10" fmla="*/ 599731 w 706872"/>
                <a:gd name="connsiteY10" fmla="*/ 82800 h 549884"/>
                <a:gd name="connsiteX11" fmla="*/ 578674 w 706872"/>
                <a:gd name="connsiteY11" fmla="*/ 55629 h 549884"/>
                <a:gd name="connsiteX12" fmla="*/ 337889 w 706872"/>
                <a:gd name="connsiteY12" fmla="*/ 242267 h 549884"/>
                <a:gd name="connsiteX13" fmla="*/ 262070 w 706872"/>
                <a:gd name="connsiteY13" fmla="*/ 144456 h 549884"/>
                <a:gd name="connsiteX14" fmla="*/ 34352 w 706872"/>
                <a:gd name="connsiteY14" fmla="*/ 317604 h 549884"/>
                <a:gd name="connsiteX15" fmla="*/ 34352 w 706872"/>
                <a:gd name="connsiteY15" fmla="*/ 0 h 549884"/>
                <a:gd name="connsiteX16" fmla="*/ 0 w 706872"/>
                <a:gd name="connsiteY16" fmla="*/ 0 h 549884"/>
                <a:gd name="connsiteX17" fmla="*/ 0 w 706872"/>
                <a:gd name="connsiteY17" fmla="*/ 549885 h 549884"/>
                <a:gd name="connsiteX18" fmla="*/ 696444 w 706872"/>
                <a:gd name="connsiteY18" fmla="*/ 549885 h 549884"/>
                <a:gd name="connsiteX19" fmla="*/ 696444 w 706872"/>
                <a:gd name="connsiteY19" fmla="*/ 515533 h 549884"/>
                <a:gd name="connsiteX20" fmla="*/ 34348 w 706872"/>
                <a:gd name="connsiteY20" fmla="*/ 515533 h 549884"/>
                <a:gd name="connsiteX21" fmla="*/ 34348 w 706872"/>
                <a:gd name="connsiteY21" fmla="*/ 495285 h 54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06872" h="549884">
                  <a:moveTo>
                    <a:pt x="245425" y="334812"/>
                  </a:moveTo>
                  <a:lnTo>
                    <a:pt x="330882" y="437153"/>
                  </a:lnTo>
                  <a:lnTo>
                    <a:pt x="706873" y="149268"/>
                  </a:lnTo>
                  <a:lnTo>
                    <a:pt x="686010" y="121967"/>
                  </a:lnTo>
                  <a:lnTo>
                    <a:pt x="336119" y="389863"/>
                  </a:lnTo>
                  <a:lnTo>
                    <a:pt x="250787" y="287580"/>
                  </a:lnTo>
                  <a:lnTo>
                    <a:pt x="34356" y="452092"/>
                  </a:lnTo>
                  <a:lnTo>
                    <a:pt x="34356" y="360781"/>
                  </a:lnTo>
                  <a:lnTo>
                    <a:pt x="255764" y="192419"/>
                  </a:lnTo>
                  <a:lnTo>
                    <a:pt x="331778" y="290429"/>
                  </a:lnTo>
                  <a:lnTo>
                    <a:pt x="599731" y="82800"/>
                  </a:lnTo>
                  <a:lnTo>
                    <a:pt x="578674" y="55629"/>
                  </a:lnTo>
                  <a:lnTo>
                    <a:pt x="337889" y="242267"/>
                  </a:lnTo>
                  <a:lnTo>
                    <a:pt x="262070" y="144456"/>
                  </a:lnTo>
                  <a:lnTo>
                    <a:pt x="34352" y="317604"/>
                  </a:lnTo>
                  <a:lnTo>
                    <a:pt x="34352" y="0"/>
                  </a:lnTo>
                  <a:lnTo>
                    <a:pt x="0" y="0"/>
                  </a:lnTo>
                  <a:lnTo>
                    <a:pt x="0" y="549885"/>
                  </a:lnTo>
                  <a:lnTo>
                    <a:pt x="696444" y="549885"/>
                  </a:lnTo>
                  <a:lnTo>
                    <a:pt x="696444" y="515533"/>
                  </a:lnTo>
                  <a:lnTo>
                    <a:pt x="34348" y="515533"/>
                  </a:lnTo>
                  <a:lnTo>
                    <a:pt x="34348" y="49528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356" name="Freeform: Shape 355">
              <a:extLst>
                <a:ext uri="{FF2B5EF4-FFF2-40B4-BE49-F238E27FC236}">
                  <a16:creationId xmlns:a16="http://schemas.microsoft.com/office/drawing/2014/main" id="{41C05098-4299-883D-06C3-5A426513D1CB}"/>
                </a:ext>
              </a:extLst>
            </p:cNvPr>
            <p:cNvSpPr/>
            <p:nvPr/>
          </p:nvSpPr>
          <p:spPr>
            <a:xfrm>
              <a:off x="10404373" y="5014216"/>
              <a:ext cx="610444" cy="349044"/>
            </a:xfrm>
            <a:custGeom>
              <a:avLst/>
              <a:gdLst>
                <a:gd name="connsiteX0" fmla="*/ 63757 w 610444"/>
                <a:gd name="connsiteY0" fmla="*/ 186471 h 349044"/>
                <a:gd name="connsiteX1" fmla="*/ 99823 w 610444"/>
                <a:gd name="connsiteY1" fmla="*/ 175215 h 349044"/>
                <a:gd name="connsiteX2" fmla="*/ 220994 w 610444"/>
                <a:gd name="connsiteY2" fmla="*/ 264298 h 349044"/>
                <a:gd name="connsiteX3" fmla="*/ 217177 w 610444"/>
                <a:gd name="connsiteY3" fmla="*/ 285225 h 349044"/>
                <a:gd name="connsiteX4" fmla="*/ 280996 w 610444"/>
                <a:gd name="connsiteY4" fmla="*/ 349044 h 349044"/>
                <a:gd name="connsiteX5" fmla="*/ 344783 w 610444"/>
                <a:gd name="connsiteY5" fmla="*/ 285225 h 349044"/>
                <a:gd name="connsiteX6" fmla="*/ 336761 w 610444"/>
                <a:gd name="connsiteY6" fmla="*/ 254852 h 349044"/>
                <a:gd name="connsiteX7" fmla="*/ 509719 w 610444"/>
                <a:gd name="connsiteY7" fmla="*/ 115638 h 349044"/>
                <a:gd name="connsiteX8" fmla="*/ 546658 w 610444"/>
                <a:gd name="connsiteY8" fmla="*/ 127606 h 349044"/>
                <a:gd name="connsiteX9" fmla="*/ 610444 w 610444"/>
                <a:gd name="connsiteY9" fmla="*/ 63819 h 349044"/>
                <a:gd name="connsiteX10" fmla="*/ 546658 w 610444"/>
                <a:gd name="connsiteY10" fmla="*/ 0 h 349044"/>
                <a:gd name="connsiteX11" fmla="*/ 482839 w 610444"/>
                <a:gd name="connsiteY11" fmla="*/ 63819 h 349044"/>
                <a:gd name="connsiteX12" fmla="*/ 488079 w 610444"/>
                <a:gd name="connsiteY12" fmla="*/ 89017 h 349044"/>
                <a:gd name="connsiteX13" fmla="*/ 312695 w 610444"/>
                <a:gd name="connsiteY13" fmla="*/ 230177 h 349044"/>
                <a:gd name="connsiteX14" fmla="*/ 281028 w 610444"/>
                <a:gd name="connsiteY14" fmla="*/ 221444 h 349044"/>
                <a:gd name="connsiteX15" fmla="*/ 240724 w 610444"/>
                <a:gd name="connsiteY15" fmla="*/ 236161 h 349044"/>
                <a:gd name="connsiteX16" fmla="*/ 121880 w 610444"/>
                <a:gd name="connsiteY16" fmla="*/ 148792 h 349044"/>
                <a:gd name="connsiteX17" fmla="*/ 127606 w 610444"/>
                <a:gd name="connsiteY17" fmla="*/ 122656 h 349044"/>
                <a:gd name="connsiteX18" fmla="*/ 63787 w 610444"/>
                <a:gd name="connsiteY18" fmla="*/ 58870 h 349044"/>
                <a:gd name="connsiteX19" fmla="*/ 0 w 610444"/>
                <a:gd name="connsiteY19" fmla="*/ 122656 h 349044"/>
                <a:gd name="connsiteX20" fmla="*/ 63755 w 610444"/>
                <a:gd name="connsiteY20" fmla="*/ 186475 h 349044"/>
                <a:gd name="connsiteX21" fmla="*/ 546618 w 610444"/>
                <a:gd name="connsiteY21" fmla="*/ 34314 h 349044"/>
                <a:gd name="connsiteX22" fmla="*/ 576085 w 610444"/>
                <a:gd name="connsiteY22" fmla="*/ 63814 h 349044"/>
                <a:gd name="connsiteX23" fmla="*/ 546618 w 610444"/>
                <a:gd name="connsiteY23" fmla="*/ 93282 h 349044"/>
                <a:gd name="connsiteX24" fmla="*/ 517118 w 610444"/>
                <a:gd name="connsiteY24" fmla="*/ 63814 h 349044"/>
                <a:gd name="connsiteX25" fmla="*/ 546618 w 610444"/>
                <a:gd name="connsiteY25" fmla="*/ 34314 h 349044"/>
                <a:gd name="connsiteX26" fmla="*/ 280958 w 610444"/>
                <a:gd name="connsiteY26" fmla="*/ 255755 h 349044"/>
                <a:gd name="connsiteX27" fmla="*/ 310426 w 610444"/>
                <a:gd name="connsiteY27" fmla="*/ 285223 h 349044"/>
                <a:gd name="connsiteX28" fmla="*/ 280958 w 610444"/>
                <a:gd name="connsiteY28" fmla="*/ 314723 h 349044"/>
                <a:gd name="connsiteX29" fmla="*/ 251458 w 610444"/>
                <a:gd name="connsiteY29" fmla="*/ 285223 h 349044"/>
                <a:gd name="connsiteX30" fmla="*/ 280958 w 610444"/>
                <a:gd name="connsiteY30" fmla="*/ 255755 h 349044"/>
                <a:gd name="connsiteX31" fmla="*/ 63757 w 610444"/>
                <a:gd name="connsiteY31" fmla="*/ 93181 h 349044"/>
                <a:gd name="connsiteX32" fmla="*/ 93257 w 610444"/>
                <a:gd name="connsiteY32" fmla="*/ 122649 h 349044"/>
                <a:gd name="connsiteX33" fmla="*/ 63757 w 610444"/>
                <a:gd name="connsiteY33" fmla="*/ 152149 h 349044"/>
                <a:gd name="connsiteX34" fmla="*/ 34289 w 610444"/>
                <a:gd name="connsiteY34" fmla="*/ 122649 h 349044"/>
                <a:gd name="connsiteX35" fmla="*/ 63757 w 610444"/>
                <a:gd name="connsiteY35" fmla="*/ 93181 h 34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10444" h="349044">
                  <a:moveTo>
                    <a:pt x="63757" y="186471"/>
                  </a:moveTo>
                  <a:cubicBezTo>
                    <a:pt x="77148" y="186471"/>
                    <a:pt x="89537" y="182298"/>
                    <a:pt x="99823" y="175215"/>
                  </a:cubicBezTo>
                  <a:lnTo>
                    <a:pt x="220994" y="264298"/>
                  </a:lnTo>
                  <a:cubicBezTo>
                    <a:pt x="218697" y="270896"/>
                    <a:pt x="217177" y="277851"/>
                    <a:pt x="217177" y="285225"/>
                  </a:cubicBezTo>
                  <a:cubicBezTo>
                    <a:pt x="217177" y="320418"/>
                    <a:pt x="245835" y="349044"/>
                    <a:pt x="280996" y="349044"/>
                  </a:cubicBezTo>
                  <a:cubicBezTo>
                    <a:pt x="316189" y="349044"/>
                    <a:pt x="344783" y="320386"/>
                    <a:pt x="344783" y="285225"/>
                  </a:cubicBezTo>
                  <a:cubicBezTo>
                    <a:pt x="344783" y="274163"/>
                    <a:pt x="341710" y="263942"/>
                    <a:pt x="336761" y="254852"/>
                  </a:cubicBezTo>
                  <a:lnTo>
                    <a:pt x="509719" y="115638"/>
                  </a:lnTo>
                  <a:cubicBezTo>
                    <a:pt x="520166" y="123110"/>
                    <a:pt x="532846" y="127606"/>
                    <a:pt x="546658" y="127606"/>
                  </a:cubicBezTo>
                  <a:cubicBezTo>
                    <a:pt x="581851" y="127606"/>
                    <a:pt x="610444" y="98979"/>
                    <a:pt x="610444" y="63819"/>
                  </a:cubicBezTo>
                  <a:cubicBezTo>
                    <a:pt x="610444" y="28626"/>
                    <a:pt x="581818" y="0"/>
                    <a:pt x="546658" y="0"/>
                  </a:cubicBezTo>
                  <a:cubicBezTo>
                    <a:pt x="511465" y="0"/>
                    <a:pt x="482839" y="28659"/>
                    <a:pt x="482839" y="63819"/>
                  </a:cubicBezTo>
                  <a:cubicBezTo>
                    <a:pt x="482839" y="72779"/>
                    <a:pt x="484715" y="81286"/>
                    <a:pt x="488079" y="89017"/>
                  </a:cubicBezTo>
                  <a:lnTo>
                    <a:pt x="312695" y="230177"/>
                  </a:lnTo>
                  <a:cubicBezTo>
                    <a:pt x="303314" y="224775"/>
                    <a:pt x="292608" y="221444"/>
                    <a:pt x="281028" y="221444"/>
                  </a:cubicBezTo>
                  <a:cubicBezTo>
                    <a:pt x="265663" y="221444"/>
                    <a:pt x="251754" y="227104"/>
                    <a:pt x="240724" y="236161"/>
                  </a:cubicBezTo>
                  <a:lnTo>
                    <a:pt x="121880" y="148792"/>
                  </a:lnTo>
                  <a:cubicBezTo>
                    <a:pt x="125503" y="140802"/>
                    <a:pt x="127606" y="132004"/>
                    <a:pt x="127606" y="122656"/>
                  </a:cubicBezTo>
                  <a:cubicBezTo>
                    <a:pt x="127606" y="87464"/>
                    <a:pt x="98947" y="58870"/>
                    <a:pt x="63787" y="58870"/>
                  </a:cubicBezTo>
                  <a:cubicBezTo>
                    <a:pt x="28594" y="58870"/>
                    <a:pt x="0" y="87496"/>
                    <a:pt x="0" y="122656"/>
                  </a:cubicBezTo>
                  <a:cubicBezTo>
                    <a:pt x="-65" y="157817"/>
                    <a:pt x="28562" y="186475"/>
                    <a:pt x="63755" y="186475"/>
                  </a:cubicBezTo>
                  <a:close/>
                  <a:moveTo>
                    <a:pt x="546618" y="34314"/>
                  </a:moveTo>
                  <a:cubicBezTo>
                    <a:pt x="562855" y="34314"/>
                    <a:pt x="576085" y="47544"/>
                    <a:pt x="576085" y="63814"/>
                  </a:cubicBezTo>
                  <a:cubicBezTo>
                    <a:pt x="576085" y="80051"/>
                    <a:pt x="562855" y="93282"/>
                    <a:pt x="546618" y="93282"/>
                  </a:cubicBezTo>
                  <a:cubicBezTo>
                    <a:pt x="530348" y="93282"/>
                    <a:pt x="517118" y="80051"/>
                    <a:pt x="517118" y="63814"/>
                  </a:cubicBezTo>
                  <a:cubicBezTo>
                    <a:pt x="517118" y="47511"/>
                    <a:pt x="530348" y="34314"/>
                    <a:pt x="546618" y="34314"/>
                  </a:cubicBezTo>
                  <a:close/>
                  <a:moveTo>
                    <a:pt x="280958" y="255755"/>
                  </a:moveTo>
                  <a:cubicBezTo>
                    <a:pt x="297196" y="255755"/>
                    <a:pt x="310426" y="268985"/>
                    <a:pt x="310426" y="285223"/>
                  </a:cubicBezTo>
                  <a:cubicBezTo>
                    <a:pt x="310426" y="301493"/>
                    <a:pt x="297196" y="314723"/>
                    <a:pt x="280958" y="314723"/>
                  </a:cubicBezTo>
                  <a:cubicBezTo>
                    <a:pt x="264688" y="314723"/>
                    <a:pt x="251458" y="301493"/>
                    <a:pt x="251458" y="285223"/>
                  </a:cubicBezTo>
                  <a:cubicBezTo>
                    <a:pt x="251491" y="268985"/>
                    <a:pt x="264688" y="255755"/>
                    <a:pt x="280958" y="255755"/>
                  </a:cubicBezTo>
                  <a:close/>
                  <a:moveTo>
                    <a:pt x="63757" y="93181"/>
                  </a:moveTo>
                  <a:cubicBezTo>
                    <a:pt x="80027" y="93181"/>
                    <a:pt x="93257" y="106411"/>
                    <a:pt x="93257" y="122649"/>
                  </a:cubicBezTo>
                  <a:cubicBezTo>
                    <a:pt x="93257" y="138919"/>
                    <a:pt x="80027" y="152149"/>
                    <a:pt x="63757" y="152149"/>
                  </a:cubicBezTo>
                  <a:cubicBezTo>
                    <a:pt x="47519" y="152149"/>
                    <a:pt x="34289" y="138919"/>
                    <a:pt x="34289" y="122649"/>
                  </a:cubicBezTo>
                  <a:cubicBezTo>
                    <a:pt x="34289" y="106379"/>
                    <a:pt x="47519" y="93181"/>
                    <a:pt x="63757" y="931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sp>
          <p:nvSpPr>
            <p:cNvPr id="357" name="Freeform: Shape 356">
              <a:extLst>
                <a:ext uri="{FF2B5EF4-FFF2-40B4-BE49-F238E27FC236}">
                  <a16:creationId xmlns:a16="http://schemas.microsoft.com/office/drawing/2014/main" id="{5F627291-6066-8511-856D-E8168BF292BC}"/>
                </a:ext>
              </a:extLst>
            </p:cNvPr>
            <p:cNvSpPr/>
            <p:nvPr/>
          </p:nvSpPr>
          <p:spPr>
            <a:xfrm>
              <a:off x="12750246" y="2736839"/>
              <a:ext cx="1219131" cy="1218632"/>
            </a:xfrm>
            <a:custGeom>
              <a:avLst/>
              <a:gdLst>
                <a:gd name="connsiteX0" fmla="*/ 1164870 w 1219131"/>
                <a:gd name="connsiteY0" fmla="*/ 357582 h 1218632"/>
                <a:gd name="connsiteX1" fmla="*/ 357606 w 1219131"/>
                <a:gd name="connsiteY1" fmla="*/ 54337 h 1218632"/>
                <a:gd name="connsiteX2" fmla="*/ 54716 w 1219131"/>
                <a:gd name="connsiteY2" fmla="*/ 861601 h 1218632"/>
                <a:gd name="connsiteX3" fmla="*/ 861980 w 1219131"/>
                <a:gd name="connsiteY3" fmla="*/ 1164490 h 1218632"/>
                <a:gd name="connsiteX4" fmla="*/ 1164870 w 1219131"/>
                <a:gd name="connsiteY4" fmla="*/ 357582 h 1218632"/>
                <a:gd name="connsiteX5" fmla="*/ 85901 w 1219131"/>
                <a:gd name="connsiteY5" fmla="*/ 847399 h 1218632"/>
                <a:gd name="connsiteX6" fmla="*/ 60930 w 1219131"/>
                <a:gd name="connsiteY6" fmla="*/ 439445 h 1218632"/>
                <a:gd name="connsiteX7" fmla="*/ 194356 w 1219131"/>
                <a:gd name="connsiteY7" fmla="*/ 439445 h 1218632"/>
                <a:gd name="connsiteX8" fmla="*/ 205968 w 1219131"/>
                <a:gd name="connsiteY8" fmla="*/ 451024 h 1218632"/>
                <a:gd name="connsiteX9" fmla="*/ 205968 w 1219131"/>
                <a:gd name="connsiteY9" fmla="*/ 1018348 h 1218632"/>
                <a:gd name="connsiteX10" fmla="*/ 85899 w 1219131"/>
                <a:gd name="connsiteY10" fmla="*/ 847394 h 1218632"/>
                <a:gd name="connsiteX11" fmla="*/ 847688 w 1219131"/>
                <a:gd name="connsiteY11" fmla="*/ 1133272 h 1218632"/>
                <a:gd name="connsiteX12" fmla="*/ 847720 w 1219131"/>
                <a:gd name="connsiteY12" fmla="*/ 1133272 h 1218632"/>
                <a:gd name="connsiteX13" fmla="*/ 282632 w 1219131"/>
                <a:gd name="connsiteY13" fmla="*/ 1082618 h 1218632"/>
                <a:gd name="connsiteX14" fmla="*/ 889479 w 1219131"/>
                <a:gd name="connsiteY14" fmla="*/ 1082618 h 1218632"/>
                <a:gd name="connsiteX15" fmla="*/ 889479 w 1219131"/>
                <a:gd name="connsiteY15" fmla="*/ 1048266 h 1218632"/>
                <a:gd name="connsiteX16" fmla="*/ 790658 w 1219131"/>
                <a:gd name="connsiteY16" fmla="*/ 1048266 h 1218632"/>
                <a:gd name="connsiteX17" fmla="*/ 793020 w 1219131"/>
                <a:gd name="connsiteY17" fmla="*/ 1036622 h 1218632"/>
                <a:gd name="connsiteX18" fmla="*/ 793020 w 1219131"/>
                <a:gd name="connsiteY18" fmla="*/ 163428 h 1218632"/>
                <a:gd name="connsiteX19" fmla="*/ 747088 w 1219131"/>
                <a:gd name="connsiteY19" fmla="*/ 117496 h 1218632"/>
                <a:gd name="connsiteX20" fmla="*/ 562711 w 1219131"/>
                <a:gd name="connsiteY20" fmla="*/ 117496 h 1218632"/>
                <a:gd name="connsiteX21" fmla="*/ 516746 w 1219131"/>
                <a:gd name="connsiteY21" fmla="*/ 163428 h 1218632"/>
                <a:gd name="connsiteX22" fmla="*/ 516746 w 1219131"/>
                <a:gd name="connsiteY22" fmla="*/ 1036622 h 1218632"/>
                <a:gd name="connsiteX23" fmla="*/ 519108 w 1219131"/>
                <a:gd name="connsiteY23" fmla="*/ 1048266 h 1218632"/>
                <a:gd name="connsiteX24" fmla="*/ 238535 w 1219131"/>
                <a:gd name="connsiteY24" fmla="*/ 1048266 h 1218632"/>
                <a:gd name="connsiteX25" fmla="*/ 240314 w 1219131"/>
                <a:gd name="connsiteY25" fmla="*/ 1036622 h 1218632"/>
                <a:gd name="connsiteX26" fmla="*/ 240314 w 1219131"/>
                <a:gd name="connsiteY26" fmla="*/ 450990 h 1218632"/>
                <a:gd name="connsiteX27" fmla="*/ 194349 w 1219131"/>
                <a:gd name="connsiteY27" fmla="*/ 405058 h 1218632"/>
                <a:gd name="connsiteX28" fmla="*/ 72243 w 1219131"/>
                <a:gd name="connsiteY28" fmla="*/ 405058 h 1218632"/>
                <a:gd name="connsiteX29" fmla="*/ 371704 w 1219131"/>
                <a:gd name="connsiteY29" fmla="*/ 85574 h 1218632"/>
                <a:gd name="connsiteX30" fmla="*/ 1133524 w 1219131"/>
                <a:gd name="connsiteY30" fmla="*/ 371770 h 1218632"/>
                <a:gd name="connsiteX31" fmla="*/ 847676 w 1219131"/>
                <a:gd name="connsiteY31" fmla="*/ 1133266 h 1218632"/>
                <a:gd name="connsiteX32" fmla="*/ 551108 w 1219131"/>
                <a:gd name="connsiteY32" fmla="*/ 1036620 h 1218632"/>
                <a:gd name="connsiteX33" fmla="*/ 551108 w 1219131"/>
                <a:gd name="connsiteY33" fmla="*/ 163426 h 1218632"/>
                <a:gd name="connsiteX34" fmla="*/ 562720 w 1219131"/>
                <a:gd name="connsiteY34" fmla="*/ 151846 h 1218632"/>
                <a:gd name="connsiteX35" fmla="*/ 747130 w 1219131"/>
                <a:gd name="connsiteY35" fmla="*/ 151846 h 1218632"/>
                <a:gd name="connsiteX36" fmla="*/ 758710 w 1219131"/>
                <a:gd name="connsiteY36" fmla="*/ 163426 h 1218632"/>
                <a:gd name="connsiteX37" fmla="*/ 758677 w 1219131"/>
                <a:gd name="connsiteY37" fmla="*/ 1036620 h 1218632"/>
                <a:gd name="connsiteX38" fmla="*/ 747098 w 1219131"/>
                <a:gd name="connsiteY38" fmla="*/ 1048232 h 1218632"/>
                <a:gd name="connsiteX39" fmla="*/ 562721 w 1219131"/>
                <a:gd name="connsiteY39" fmla="*/ 1048232 h 1218632"/>
                <a:gd name="connsiteX40" fmla="*/ 551109 w 1219131"/>
                <a:gd name="connsiteY40" fmla="*/ 1036620 h 121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9131" h="1218632">
                  <a:moveTo>
                    <a:pt x="1164870" y="357582"/>
                  </a:moveTo>
                  <a:cubicBezTo>
                    <a:pt x="1026003" y="51687"/>
                    <a:pt x="663857" y="-84364"/>
                    <a:pt x="357606" y="54337"/>
                  </a:cubicBezTo>
                  <a:cubicBezTo>
                    <a:pt x="54683" y="192102"/>
                    <a:pt x="-85798" y="552111"/>
                    <a:pt x="54716" y="861601"/>
                  </a:cubicBezTo>
                  <a:cubicBezTo>
                    <a:pt x="196879" y="1174617"/>
                    <a:pt x="563165" y="1299987"/>
                    <a:pt x="861980" y="1164490"/>
                  </a:cubicBezTo>
                  <a:cubicBezTo>
                    <a:pt x="1167428" y="1025690"/>
                    <a:pt x="1303413" y="662575"/>
                    <a:pt x="1164870" y="357582"/>
                  </a:cubicBezTo>
                  <a:close/>
                  <a:moveTo>
                    <a:pt x="85901" y="847399"/>
                  </a:moveTo>
                  <a:cubicBezTo>
                    <a:pt x="25543" y="714329"/>
                    <a:pt x="20594" y="569708"/>
                    <a:pt x="60930" y="439445"/>
                  </a:cubicBezTo>
                  <a:lnTo>
                    <a:pt x="194356" y="439445"/>
                  </a:lnTo>
                  <a:cubicBezTo>
                    <a:pt x="200955" y="439445"/>
                    <a:pt x="205968" y="444394"/>
                    <a:pt x="205968" y="451024"/>
                  </a:cubicBezTo>
                  <a:lnTo>
                    <a:pt x="205968" y="1018348"/>
                  </a:lnTo>
                  <a:cubicBezTo>
                    <a:pt x="156026" y="969021"/>
                    <a:pt x="115726" y="913027"/>
                    <a:pt x="85899" y="847394"/>
                  </a:cubicBezTo>
                  <a:close/>
                  <a:moveTo>
                    <a:pt x="847688" y="1133272"/>
                  </a:moveTo>
                  <a:lnTo>
                    <a:pt x="847720" y="1133272"/>
                  </a:lnTo>
                  <a:cubicBezTo>
                    <a:pt x="668461" y="1214429"/>
                    <a:pt x="450763" y="1198256"/>
                    <a:pt x="282632" y="1082618"/>
                  </a:cubicBezTo>
                  <a:lnTo>
                    <a:pt x="889479" y="1082618"/>
                  </a:lnTo>
                  <a:lnTo>
                    <a:pt x="889479" y="1048266"/>
                  </a:lnTo>
                  <a:lnTo>
                    <a:pt x="790658" y="1048266"/>
                  </a:lnTo>
                  <a:cubicBezTo>
                    <a:pt x="791693" y="1044449"/>
                    <a:pt x="793020" y="1040762"/>
                    <a:pt x="793020" y="1036622"/>
                  </a:cubicBezTo>
                  <a:lnTo>
                    <a:pt x="793020" y="163428"/>
                  </a:lnTo>
                  <a:cubicBezTo>
                    <a:pt x="793020" y="138100"/>
                    <a:pt x="772415" y="117496"/>
                    <a:pt x="747088" y="117496"/>
                  </a:cubicBezTo>
                  <a:lnTo>
                    <a:pt x="562711" y="117496"/>
                  </a:lnTo>
                  <a:cubicBezTo>
                    <a:pt x="537383" y="117496"/>
                    <a:pt x="516746" y="138100"/>
                    <a:pt x="516746" y="163428"/>
                  </a:cubicBezTo>
                  <a:lnTo>
                    <a:pt x="516746" y="1036622"/>
                  </a:lnTo>
                  <a:cubicBezTo>
                    <a:pt x="516746" y="1040762"/>
                    <a:pt x="518073" y="1044450"/>
                    <a:pt x="519108" y="1048266"/>
                  </a:cubicBezTo>
                  <a:lnTo>
                    <a:pt x="238535" y="1048266"/>
                  </a:lnTo>
                  <a:cubicBezTo>
                    <a:pt x="239634" y="1044579"/>
                    <a:pt x="240314" y="1040730"/>
                    <a:pt x="240314" y="1036622"/>
                  </a:cubicBezTo>
                  <a:lnTo>
                    <a:pt x="240314" y="450990"/>
                  </a:lnTo>
                  <a:cubicBezTo>
                    <a:pt x="240314" y="425242"/>
                    <a:pt x="220129" y="405058"/>
                    <a:pt x="194349" y="405058"/>
                  </a:cubicBezTo>
                  <a:lnTo>
                    <a:pt x="72243" y="405058"/>
                  </a:lnTo>
                  <a:cubicBezTo>
                    <a:pt x="124062" y="268526"/>
                    <a:pt x="227439" y="151239"/>
                    <a:pt x="371704" y="85574"/>
                  </a:cubicBezTo>
                  <a:cubicBezTo>
                    <a:pt x="664086" y="-46751"/>
                    <a:pt x="1004395" y="87385"/>
                    <a:pt x="1133524" y="371770"/>
                  </a:cubicBezTo>
                  <a:cubicBezTo>
                    <a:pt x="1264300" y="659655"/>
                    <a:pt x="1135950" y="1002233"/>
                    <a:pt x="847676" y="1133266"/>
                  </a:cubicBezTo>
                  <a:close/>
                  <a:moveTo>
                    <a:pt x="551108" y="1036620"/>
                  </a:moveTo>
                  <a:lnTo>
                    <a:pt x="551108" y="163426"/>
                  </a:lnTo>
                  <a:cubicBezTo>
                    <a:pt x="551108" y="157054"/>
                    <a:pt x="556316" y="151846"/>
                    <a:pt x="562720" y="151846"/>
                  </a:cubicBezTo>
                  <a:lnTo>
                    <a:pt x="747130" y="151846"/>
                  </a:lnTo>
                  <a:cubicBezTo>
                    <a:pt x="753502" y="151846"/>
                    <a:pt x="758710" y="157054"/>
                    <a:pt x="758710" y="163426"/>
                  </a:cubicBezTo>
                  <a:lnTo>
                    <a:pt x="758677" y="1036620"/>
                  </a:lnTo>
                  <a:cubicBezTo>
                    <a:pt x="758677" y="1043025"/>
                    <a:pt x="753470" y="1048232"/>
                    <a:pt x="747098" y="1048232"/>
                  </a:cubicBezTo>
                  <a:lnTo>
                    <a:pt x="562721" y="1048232"/>
                  </a:lnTo>
                  <a:cubicBezTo>
                    <a:pt x="556316" y="1048232"/>
                    <a:pt x="551109" y="1043025"/>
                    <a:pt x="551109" y="103662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alibri" panose="020F0502020204030204" pitchFamily="34" charset="0"/>
                <a:cs typeface="Calibri" panose="020F0502020204030204" pitchFamily="34" charset="0"/>
              </a:endParaRPr>
            </a:p>
          </p:txBody>
        </p:sp>
      </p:grpSp>
      <p:sp>
        <p:nvSpPr>
          <p:cNvPr id="358" name="Rectangle 357">
            <a:extLst>
              <a:ext uri="{FF2B5EF4-FFF2-40B4-BE49-F238E27FC236}">
                <a16:creationId xmlns:a16="http://schemas.microsoft.com/office/drawing/2014/main" id="{5223AF5B-7759-8DB3-3CC1-F9F0F02A5C9B}"/>
              </a:ext>
            </a:extLst>
          </p:cNvPr>
          <p:cNvSpPr/>
          <p:nvPr/>
        </p:nvSpPr>
        <p:spPr>
          <a:xfrm>
            <a:off x="5242836" y="3256514"/>
            <a:ext cx="1717300" cy="32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Data analytics benefits</a:t>
            </a:r>
          </a:p>
        </p:txBody>
      </p:sp>
      <p:sp>
        <p:nvSpPr>
          <p:cNvPr id="3" name="Footer Placeholder 24">
            <a:extLst>
              <a:ext uri="{FF2B5EF4-FFF2-40B4-BE49-F238E27FC236}">
                <a16:creationId xmlns:a16="http://schemas.microsoft.com/office/drawing/2014/main" id="{6D72B6D7-C66D-1E0D-8EB2-4687568DB0ED}"/>
              </a:ext>
            </a:extLst>
          </p:cNvPr>
          <p:cNvSpPr txBox="1">
            <a:spLocks/>
          </p:cNvSpPr>
          <p:nvPr/>
        </p:nvSpPr>
        <p:spPr>
          <a:xfrm>
            <a:off x="550863" y="6466953"/>
            <a:ext cx="4729614" cy="13716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i="1" dirty="0"/>
              <a:t>Sources: </a:t>
            </a:r>
            <a:r>
              <a:rPr lang="en-US" sz="1000" i="1" dirty="0"/>
              <a:t>Press search</a:t>
            </a:r>
          </a:p>
        </p:txBody>
      </p:sp>
    </p:spTree>
    <p:extLst>
      <p:ext uri="{BB962C8B-B14F-4D97-AF65-F5344CB8AC3E}">
        <p14:creationId xmlns:p14="http://schemas.microsoft.com/office/powerpoint/2010/main" val="1594230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0" name="Object 269" hidden="1">
            <a:extLst>
              <a:ext uri="{FF2B5EF4-FFF2-40B4-BE49-F238E27FC236}">
                <a16:creationId xmlns:a16="http://schemas.microsoft.com/office/drawing/2014/main" id="{7A230F39-EB76-CA31-6210-86FEDBF36AC7}"/>
              </a:ext>
            </a:extLst>
          </p:cNvPr>
          <p:cNvGraphicFramePr>
            <a:graphicFrameLocks noChangeAspect="1"/>
          </p:cNvGraphicFramePr>
          <p:nvPr>
            <p:custDataLst>
              <p:tags r:id="rId1"/>
            </p:custDataLst>
            <p:extLst>
              <p:ext uri="{D42A27DB-BD31-4B8C-83A1-F6EECF244321}">
                <p14:modId xmlns:p14="http://schemas.microsoft.com/office/powerpoint/2010/main" val="3170734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70" name="Object 269" hidden="1">
                        <a:extLst>
                          <a:ext uri="{FF2B5EF4-FFF2-40B4-BE49-F238E27FC236}">
                            <a16:creationId xmlns:a16="http://schemas.microsoft.com/office/drawing/2014/main" id="{7A230F39-EB76-CA31-6210-86FEDBF36A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9" name="Rectangle 278">
            <a:extLst>
              <a:ext uri="{FF2B5EF4-FFF2-40B4-BE49-F238E27FC236}">
                <a16:creationId xmlns:a16="http://schemas.microsoft.com/office/drawing/2014/main" id="{32A41007-DCC2-068C-44AC-D827F99BACF0}"/>
              </a:ext>
            </a:extLst>
          </p:cNvPr>
          <p:cNvSpPr/>
          <p:nvPr/>
        </p:nvSpPr>
        <p:spPr>
          <a:xfrm>
            <a:off x="6295887" y="1857373"/>
            <a:ext cx="5349240" cy="2103120"/>
          </a:xfrm>
          <a:prstGeom prst="rect">
            <a:avLst/>
          </a:prstGeom>
          <a:solidFill>
            <a:srgbClr val="F2F2F2"/>
          </a:solidFill>
          <a:ln>
            <a:noFill/>
          </a:ln>
        </p:spPr>
        <p:txBody>
          <a:bodyPr spcFirstLastPara="1" wrap="square" lIns="91425" tIns="91425" rIns="91425" bIns="91425" anchor="ctr" anchorCtr="0">
            <a:noAutofit/>
          </a:bodyPr>
          <a:lstStyle/>
          <a:p>
            <a:pPr>
              <a:buClr>
                <a:srgbClr val="000000"/>
              </a:buClr>
            </a:pPr>
            <a:endParaRPr lang="en-US" sz="1400" kern="0" dirty="0">
              <a:solidFill>
                <a:srgbClr val="000000"/>
              </a:solidFill>
              <a:latin typeface="Arial"/>
              <a:cs typeface="Arial"/>
            </a:endParaRPr>
          </a:p>
        </p:txBody>
      </p:sp>
      <p:sp>
        <p:nvSpPr>
          <p:cNvPr id="280" name="Rectangle 279">
            <a:extLst>
              <a:ext uri="{FF2B5EF4-FFF2-40B4-BE49-F238E27FC236}">
                <a16:creationId xmlns:a16="http://schemas.microsoft.com/office/drawing/2014/main" id="{B52DBE3C-305B-3108-8B48-F3C270CC09FF}"/>
              </a:ext>
            </a:extLst>
          </p:cNvPr>
          <p:cNvSpPr/>
          <p:nvPr/>
        </p:nvSpPr>
        <p:spPr>
          <a:xfrm>
            <a:off x="6295887" y="4188371"/>
            <a:ext cx="5349240" cy="2103120"/>
          </a:xfrm>
          <a:prstGeom prst="rect">
            <a:avLst/>
          </a:prstGeom>
          <a:solidFill>
            <a:srgbClr val="F2F2F2"/>
          </a:solidFill>
          <a:ln>
            <a:noFill/>
          </a:ln>
        </p:spPr>
        <p:txBody>
          <a:bodyPr spcFirstLastPara="1" wrap="square" lIns="91425" tIns="91425" rIns="91425" bIns="91425" anchor="ctr" anchorCtr="0">
            <a:noAutofit/>
          </a:bodyPr>
          <a:lstStyle/>
          <a:p>
            <a:pPr>
              <a:buClr>
                <a:srgbClr val="000000"/>
              </a:buClr>
            </a:pPr>
            <a:endParaRPr lang="en-US" sz="1400" kern="0" dirty="0">
              <a:solidFill>
                <a:srgbClr val="000000"/>
              </a:solidFill>
              <a:latin typeface="Arial"/>
              <a:cs typeface="Arial"/>
            </a:endParaRPr>
          </a:p>
        </p:txBody>
      </p:sp>
      <p:sp>
        <p:nvSpPr>
          <p:cNvPr id="276" name="Title 275">
            <a:extLst>
              <a:ext uri="{FF2B5EF4-FFF2-40B4-BE49-F238E27FC236}">
                <a16:creationId xmlns:a16="http://schemas.microsoft.com/office/drawing/2014/main" id="{636CDFF0-9F67-99EC-9541-D1F64ADEB560}"/>
              </a:ext>
            </a:extLst>
          </p:cNvPr>
          <p:cNvSpPr>
            <a:spLocks noGrp="1"/>
          </p:cNvSpPr>
          <p:nvPr>
            <p:ph type="title"/>
          </p:nvPr>
        </p:nvSpPr>
        <p:spPr>
          <a:xfrm>
            <a:off x="531813" y="560588"/>
            <a:ext cx="11089972" cy="664797"/>
          </a:xfrm>
        </p:spPr>
        <p:txBody>
          <a:bodyPr vert="horz"/>
          <a:lstStyle/>
          <a:p>
            <a:r>
              <a:rPr lang="en-US" sz="2400" dirty="0"/>
              <a:t>Various approaches to data analytics include looking at what happened, why it happened, what is going to happen, or what should be done next</a:t>
            </a:r>
          </a:p>
        </p:txBody>
      </p:sp>
      <p:sp>
        <p:nvSpPr>
          <p:cNvPr id="271" name="Rectangle 270">
            <a:extLst>
              <a:ext uri="{FF2B5EF4-FFF2-40B4-BE49-F238E27FC236}">
                <a16:creationId xmlns:a16="http://schemas.microsoft.com/office/drawing/2014/main" id="{EF327916-FC0B-BC0F-2C95-9ADC40D47F74}"/>
              </a:ext>
            </a:extLst>
          </p:cNvPr>
          <p:cNvSpPr/>
          <p:nvPr/>
        </p:nvSpPr>
        <p:spPr>
          <a:xfrm>
            <a:off x="550861" y="1857373"/>
            <a:ext cx="5349240" cy="2103120"/>
          </a:xfrm>
          <a:prstGeom prst="rect">
            <a:avLst/>
          </a:prstGeom>
          <a:solidFill>
            <a:srgbClr val="F2F2F2"/>
          </a:solidFill>
          <a:ln>
            <a:noFill/>
          </a:ln>
        </p:spPr>
        <p:txBody>
          <a:bodyPr spcFirstLastPara="1" wrap="square" lIns="91425" tIns="91425" rIns="91425" bIns="91425" anchor="ctr" anchorCtr="0">
            <a:noAutofit/>
          </a:bodyPr>
          <a:lstStyle/>
          <a:p>
            <a:pPr>
              <a:buClr>
                <a:srgbClr val="000000"/>
              </a:buClr>
            </a:pPr>
            <a:endParaRPr lang="en-US" sz="1400" kern="0" dirty="0">
              <a:solidFill>
                <a:srgbClr val="000000"/>
              </a:solidFill>
              <a:latin typeface="Arial"/>
              <a:cs typeface="Arial"/>
            </a:endParaRPr>
          </a:p>
        </p:txBody>
      </p:sp>
      <p:sp>
        <p:nvSpPr>
          <p:cNvPr id="272" name="Rectangle 271">
            <a:extLst>
              <a:ext uri="{FF2B5EF4-FFF2-40B4-BE49-F238E27FC236}">
                <a16:creationId xmlns:a16="http://schemas.microsoft.com/office/drawing/2014/main" id="{AB38CF7B-B115-4D39-95D2-C1787DE92A35}"/>
              </a:ext>
            </a:extLst>
          </p:cNvPr>
          <p:cNvSpPr/>
          <p:nvPr/>
        </p:nvSpPr>
        <p:spPr>
          <a:xfrm>
            <a:off x="7999013" y="2295222"/>
            <a:ext cx="3460050" cy="13570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dirty="0">
                <a:solidFill>
                  <a:schemeClr val="bg2">
                    <a:lumMod val="10000"/>
                  </a:schemeClr>
                </a:solidFill>
              </a:rPr>
              <a:t>Diagnostic data analytics is the process of examining data to understand cause and effect or why something happened</a:t>
            </a:r>
          </a:p>
        </p:txBody>
      </p:sp>
      <p:sp>
        <p:nvSpPr>
          <p:cNvPr id="273" name="Rectangle 272">
            <a:extLst>
              <a:ext uri="{FF2B5EF4-FFF2-40B4-BE49-F238E27FC236}">
                <a16:creationId xmlns:a16="http://schemas.microsoft.com/office/drawing/2014/main" id="{6BF8E809-A509-6354-EEF0-B3856CD9D940}"/>
              </a:ext>
            </a:extLst>
          </p:cNvPr>
          <p:cNvSpPr/>
          <p:nvPr/>
        </p:nvSpPr>
        <p:spPr>
          <a:xfrm>
            <a:off x="550861" y="4214559"/>
            <a:ext cx="5345251" cy="2103120"/>
          </a:xfrm>
          <a:prstGeom prst="rect">
            <a:avLst/>
          </a:prstGeom>
          <a:solidFill>
            <a:srgbClr val="F2F2F2"/>
          </a:solidFill>
          <a:ln>
            <a:noFill/>
          </a:ln>
        </p:spPr>
        <p:txBody>
          <a:bodyPr spcFirstLastPara="1" wrap="square" lIns="91425" tIns="91425" rIns="91425" bIns="91425" anchor="ctr" anchorCtr="0">
            <a:noAutofit/>
          </a:bodyPr>
          <a:lstStyle/>
          <a:p>
            <a:pPr>
              <a:buClr>
                <a:srgbClr val="000000"/>
              </a:buClr>
            </a:pPr>
            <a:endParaRPr lang="en-US" sz="1400" kern="0" dirty="0">
              <a:solidFill>
                <a:srgbClr val="000000"/>
              </a:solidFill>
              <a:latin typeface="Arial"/>
              <a:cs typeface="Arial"/>
            </a:endParaRPr>
          </a:p>
        </p:txBody>
      </p:sp>
      <p:sp>
        <p:nvSpPr>
          <p:cNvPr id="274" name="Rectangle 273">
            <a:extLst>
              <a:ext uri="{FF2B5EF4-FFF2-40B4-BE49-F238E27FC236}">
                <a16:creationId xmlns:a16="http://schemas.microsoft.com/office/drawing/2014/main" id="{439B1715-5CE4-C664-27A2-BF2335F8F337}"/>
              </a:ext>
            </a:extLst>
          </p:cNvPr>
          <p:cNvSpPr/>
          <p:nvPr/>
        </p:nvSpPr>
        <p:spPr>
          <a:xfrm>
            <a:off x="8018367" y="4613255"/>
            <a:ext cx="3460050" cy="14089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dirty="0">
                <a:solidFill>
                  <a:schemeClr val="bg2">
                    <a:lumMod val="10000"/>
                  </a:schemeClr>
                </a:solidFill>
              </a:rPr>
              <a:t>This type of data analytics examines results from other analytics and gives guidance on how to reach a specific answer</a:t>
            </a:r>
          </a:p>
        </p:txBody>
      </p:sp>
      <p:sp>
        <p:nvSpPr>
          <p:cNvPr id="281" name="Rectangle 280">
            <a:extLst>
              <a:ext uri="{FF2B5EF4-FFF2-40B4-BE49-F238E27FC236}">
                <a16:creationId xmlns:a16="http://schemas.microsoft.com/office/drawing/2014/main" id="{CFCE9008-17C1-F7FE-3C79-597B833FCF7B}"/>
              </a:ext>
            </a:extLst>
          </p:cNvPr>
          <p:cNvSpPr/>
          <p:nvPr/>
        </p:nvSpPr>
        <p:spPr>
          <a:xfrm>
            <a:off x="713584" y="2295223"/>
            <a:ext cx="3142698" cy="1508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2">
                    <a:lumMod val="10000"/>
                  </a:schemeClr>
                </a:solidFill>
              </a:rPr>
              <a:t>This type of data analytics helps compare past results, identify anomalies, and distinguish strengths and weaknesses</a:t>
            </a:r>
          </a:p>
        </p:txBody>
      </p:sp>
      <p:sp>
        <p:nvSpPr>
          <p:cNvPr id="282" name="Rectangle 281">
            <a:extLst>
              <a:ext uri="{FF2B5EF4-FFF2-40B4-BE49-F238E27FC236}">
                <a16:creationId xmlns:a16="http://schemas.microsoft.com/office/drawing/2014/main" id="{9796CA14-25F3-E8F9-92F5-2BACC213FB84}"/>
              </a:ext>
            </a:extLst>
          </p:cNvPr>
          <p:cNvSpPr/>
          <p:nvPr/>
        </p:nvSpPr>
        <p:spPr>
          <a:xfrm>
            <a:off x="713584" y="4588101"/>
            <a:ext cx="3142698" cy="1341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2">
                    <a:lumMod val="10000"/>
                  </a:schemeClr>
                </a:solidFill>
              </a:rPr>
              <a:t>Predictive data analytics involves using current or historical data to predict future actions</a:t>
            </a:r>
          </a:p>
        </p:txBody>
      </p:sp>
      <p:sp>
        <p:nvSpPr>
          <p:cNvPr id="290" name="TextBox 289">
            <a:extLst>
              <a:ext uri="{FF2B5EF4-FFF2-40B4-BE49-F238E27FC236}">
                <a16:creationId xmlns:a16="http://schemas.microsoft.com/office/drawing/2014/main" id="{BC3B7974-D83D-CE1A-DBCD-422EAFB4AF6E}"/>
              </a:ext>
            </a:extLst>
          </p:cNvPr>
          <p:cNvSpPr txBox="1"/>
          <p:nvPr/>
        </p:nvSpPr>
        <p:spPr>
          <a:xfrm>
            <a:off x="713583" y="4280199"/>
            <a:ext cx="3142698" cy="369332"/>
          </a:xfrm>
          <a:prstGeom prst="rect">
            <a:avLst/>
          </a:prstGeom>
          <a:noFill/>
        </p:spPr>
        <p:txBody>
          <a:bodyPr wrap="square">
            <a:spAutoFit/>
          </a:bodyPr>
          <a:lstStyle/>
          <a:p>
            <a:r>
              <a:rPr lang="en-US" b="1" dirty="0">
                <a:solidFill>
                  <a:schemeClr val="tx2"/>
                </a:solidFill>
              </a:rPr>
              <a:t>Predictive</a:t>
            </a:r>
          </a:p>
        </p:txBody>
      </p:sp>
      <p:sp>
        <p:nvSpPr>
          <p:cNvPr id="293" name="TextBox 292">
            <a:extLst>
              <a:ext uri="{FF2B5EF4-FFF2-40B4-BE49-F238E27FC236}">
                <a16:creationId xmlns:a16="http://schemas.microsoft.com/office/drawing/2014/main" id="{39F86E0E-4E5B-2A66-7540-1EBCF10028A3}"/>
              </a:ext>
            </a:extLst>
          </p:cNvPr>
          <p:cNvSpPr txBox="1"/>
          <p:nvPr/>
        </p:nvSpPr>
        <p:spPr>
          <a:xfrm>
            <a:off x="713583" y="1925892"/>
            <a:ext cx="3142698" cy="369332"/>
          </a:xfrm>
          <a:prstGeom prst="rect">
            <a:avLst/>
          </a:prstGeom>
          <a:noFill/>
        </p:spPr>
        <p:txBody>
          <a:bodyPr wrap="square">
            <a:spAutoFit/>
          </a:bodyPr>
          <a:lstStyle/>
          <a:p>
            <a:r>
              <a:rPr lang="en-US" b="1" dirty="0">
                <a:solidFill>
                  <a:schemeClr val="tx2"/>
                </a:solidFill>
              </a:rPr>
              <a:t>Descriptive</a:t>
            </a:r>
          </a:p>
        </p:txBody>
      </p:sp>
      <p:sp>
        <p:nvSpPr>
          <p:cNvPr id="294" name="TextBox 293">
            <a:extLst>
              <a:ext uri="{FF2B5EF4-FFF2-40B4-BE49-F238E27FC236}">
                <a16:creationId xmlns:a16="http://schemas.microsoft.com/office/drawing/2014/main" id="{39D5DBCB-96AC-9D59-0BD6-37A9E81B5375}"/>
              </a:ext>
            </a:extLst>
          </p:cNvPr>
          <p:cNvSpPr txBox="1"/>
          <p:nvPr/>
        </p:nvSpPr>
        <p:spPr>
          <a:xfrm>
            <a:off x="8335718" y="4280199"/>
            <a:ext cx="3142698" cy="369332"/>
          </a:xfrm>
          <a:prstGeom prst="rect">
            <a:avLst/>
          </a:prstGeom>
          <a:noFill/>
        </p:spPr>
        <p:txBody>
          <a:bodyPr wrap="square">
            <a:spAutoFit/>
          </a:bodyPr>
          <a:lstStyle/>
          <a:p>
            <a:pPr algn="r"/>
            <a:r>
              <a:rPr lang="en-US" b="1" dirty="0">
                <a:solidFill>
                  <a:schemeClr val="tx2"/>
                </a:solidFill>
              </a:rPr>
              <a:t>Prescriptive</a:t>
            </a:r>
          </a:p>
        </p:txBody>
      </p:sp>
      <p:sp>
        <p:nvSpPr>
          <p:cNvPr id="295" name="TextBox 294">
            <a:extLst>
              <a:ext uri="{FF2B5EF4-FFF2-40B4-BE49-F238E27FC236}">
                <a16:creationId xmlns:a16="http://schemas.microsoft.com/office/drawing/2014/main" id="{4B4E6278-38F2-7342-059D-B6FEBA25AFB5}"/>
              </a:ext>
            </a:extLst>
          </p:cNvPr>
          <p:cNvSpPr txBox="1"/>
          <p:nvPr/>
        </p:nvSpPr>
        <p:spPr>
          <a:xfrm>
            <a:off x="8335718" y="1925892"/>
            <a:ext cx="3142698" cy="369332"/>
          </a:xfrm>
          <a:prstGeom prst="rect">
            <a:avLst/>
          </a:prstGeom>
          <a:noFill/>
        </p:spPr>
        <p:txBody>
          <a:bodyPr wrap="square">
            <a:spAutoFit/>
          </a:bodyPr>
          <a:lstStyle/>
          <a:p>
            <a:pPr algn="r"/>
            <a:r>
              <a:rPr lang="en-US" b="1" dirty="0">
                <a:solidFill>
                  <a:schemeClr val="tx2"/>
                </a:solidFill>
              </a:rPr>
              <a:t>Diagnostic</a:t>
            </a:r>
          </a:p>
        </p:txBody>
      </p:sp>
      <p:sp>
        <p:nvSpPr>
          <p:cNvPr id="19" name="Google Shape;607;p36">
            <a:extLst>
              <a:ext uri="{FF2B5EF4-FFF2-40B4-BE49-F238E27FC236}">
                <a16:creationId xmlns:a16="http://schemas.microsoft.com/office/drawing/2014/main" id="{927A7083-9AC0-24FD-6F75-92AA263868DF}"/>
              </a:ext>
            </a:extLst>
          </p:cNvPr>
          <p:cNvSpPr/>
          <p:nvPr/>
        </p:nvSpPr>
        <p:spPr>
          <a:xfrm>
            <a:off x="6243995" y="2885942"/>
            <a:ext cx="82296" cy="975955"/>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18" name="Google Shape;603;p36">
            <a:extLst>
              <a:ext uri="{FF2B5EF4-FFF2-40B4-BE49-F238E27FC236}">
                <a16:creationId xmlns:a16="http://schemas.microsoft.com/office/drawing/2014/main" id="{1DB4E97C-9FC9-C914-772A-026B430F9426}"/>
              </a:ext>
            </a:extLst>
          </p:cNvPr>
          <p:cNvSpPr/>
          <p:nvPr/>
        </p:nvSpPr>
        <p:spPr>
          <a:xfrm rot="16200000">
            <a:off x="6703626" y="3452535"/>
            <a:ext cx="80851" cy="975954"/>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21" name="Google Shape;607;p36">
            <a:extLst>
              <a:ext uri="{FF2B5EF4-FFF2-40B4-BE49-F238E27FC236}">
                <a16:creationId xmlns:a16="http://schemas.microsoft.com/office/drawing/2014/main" id="{E78D905E-08CB-7559-C605-AB3F8AADB6F5}"/>
              </a:ext>
            </a:extLst>
          </p:cNvPr>
          <p:cNvSpPr/>
          <p:nvPr/>
        </p:nvSpPr>
        <p:spPr>
          <a:xfrm rot="16200000">
            <a:off x="5413733" y="3453258"/>
            <a:ext cx="82296" cy="975954"/>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22" name="Google Shape;603;p36">
            <a:extLst>
              <a:ext uri="{FF2B5EF4-FFF2-40B4-BE49-F238E27FC236}">
                <a16:creationId xmlns:a16="http://schemas.microsoft.com/office/drawing/2014/main" id="{A988EDAB-663A-FA9F-5247-C1D2861AF945}"/>
              </a:ext>
            </a:extLst>
          </p:cNvPr>
          <p:cNvSpPr/>
          <p:nvPr/>
        </p:nvSpPr>
        <p:spPr>
          <a:xfrm rot="10800000">
            <a:off x="5873792" y="2885942"/>
            <a:ext cx="82296" cy="975955"/>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25" name="Google Shape;607;p36">
            <a:extLst>
              <a:ext uri="{FF2B5EF4-FFF2-40B4-BE49-F238E27FC236}">
                <a16:creationId xmlns:a16="http://schemas.microsoft.com/office/drawing/2014/main" id="{6E5AB20A-9219-222A-1282-C93F0A9E1D4A}"/>
              </a:ext>
            </a:extLst>
          </p:cNvPr>
          <p:cNvSpPr/>
          <p:nvPr/>
        </p:nvSpPr>
        <p:spPr>
          <a:xfrm rot="10800000">
            <a:off x="5869242" y="4274739"/>
            <a:ext cx="82296" cy="975955"/>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26" name="Google Shape;603;p36">
            <a:extLst>
              <a:ext uri="{FF2B5EF4-FFF2-40B4-BE49-F238E27FC236}">
                <a16:creationId xmlns:a16="http://schemas.microsoft.com/office/drawing/2014/main" id="{9B3724EA-389B-CD33-F9C1-8E58B1AEE07B}"/>
              </a:ext>
            </a:extLst>
          </p:cNvPr>
          <p:cNvSpPr/>
          <p:nvPr/>
        </p:nvSpPr>
        <p:spPr>
          <a:xfrm rot="5400000">
            <a:off x="5413733" y="3689979"/>
            <a:ext cx="82296" cy="975954"/>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28" name="Google Shape;607;p36">
            <a:extLst>
              <a:ext uri="{FF2B5EF4-FFF2-40B4-BE49-F238E27FC236}">
                <a16:creationId xmlns:a16="http://schemas.microsoft.com/office/drawing/2014/main" id="{BD6B64F6-A4BA-3714-939C-2E2938885AA0}"/>
              </a:ext>
            </a:extLst>
          </p:cNvPr>
          <p:cNvSpPr/>
          <p:nvPr/>
        </p:nvSpPr>
        <p:spPr>
          <a:xfrm rot="5400000">
            <a:off x="6695969" y="3689979"/>
            <a:ext cx="82296" cy="975954"/>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sp>
        <p:nvSpPr>
          <p:cNvPr id="29" name="Google Shape;603;p36">
            <a:extLst>
              <a:ext uri="{FF2B5EF4-FFF2-40B4-BE49-F238E27FC236}">
                <a16:creationId xmlns:a16="http://schemas.microsoft.com/office/drawing/2014/main" id="{FD24906B-0640-0484-B87A-44BB4E2E2A6E}"/>
              </a:ext>
            </a:extLst>
          </p:cNvPr>
          <p:cNvSpPr/>
          <p:nvPr/>
        </p:nvSpPr>
        <p:spPr>
          <a:xfrm>
            <a:off x="6243058" y="4276255"/>
            <a:ext cx="82296" cy="975955"/>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latin typeface="Calibri" panose="020F0502020204030204" pitchFamily="34" charset="0"/>
              <a:cs typeface="Calibri" panose="020F0502020204030204" pitchFamily="34" charset="0"/>
            </a:endParaRPr>
          </a:p>
        </p:txBody>
      </p:sp>
      <p:pic>
        <p:nvPicPr>
          <p:cNvPr id="4" name="Graphic 3" descr="Head with gears outline">
            <a:extLst>
              <a:ext uri="{FF2B5EF4-FFF2-40B4-BE49-F238E27FC236}">
                <a16:creationId xmlns:a16="http://schemas.microsoft.com/office/drawing/2014/main" id="{605DFFA7-DE5C-80C5-A554-AE71CE74FC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09437" y="4227510"/>
            <a:ext cx="839684" cy="839684"/>
          </a:xfrm>
          <a:prstGeom prst="rect">
            <a:avLst/>
          </a:prstGeom>
        </p:spPr>
      </p:pic>
      <p:pic>
        <p:nvPicPr>
          <p:cNvPr id="6" name="Graphic 5" descr="Bullseye outline">
            <a:extLst>
              <a:ext uri="{FF2B5EF4-FFF2-40B4-BE49-F238E27FC236}">
                <a16:creationId xmlns:a16="http://schemas.microsoft.com/office/drawing/2014/main" id="{C56DB508-1B02-8AD0-97DB-B1D07BB26A6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56830" y="4227510"/>
            <a:ext cx="825732" cy="825732"/>
          </a:xfrm>
          <a:prstGeom prst="rect">
            <a:avLst/>
          </a:prstGeom>
        </p:spPr>
      </p:pic>
      <p:pic>
        <p:nvPicPr>
          <p:cNvPr id="8" name="Graphic 7" descr="Gears outline">
            <a:extLst>
              <a:ext uri="{FF2B5EF4-FFF2-40B4-BE49-F238E27FC236}">
                <a16:creationId xmlns:a16="http://schemas.microsoft.com/office/drawing/2014/main" id="{96D4104B-B853-86DB-AF86-6D2F9DF9F5C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25354" y="3019875"/>
            <a:ext cx="889654" cy="889654"/>
          </a:xfrm>
          <a:prstGeom prst="rect">
            <a:avLst/>
          </a:prstGeom>
        </p:spPr>
      </p:pic>
      <p:pic>
        <p:nvPicPr>
          <p:cNvPr id="10" name="Graphic 9" descr="Signal outline">
            <a:extLst>
              <a:ext uri="{FF2B5EF4-FFF2-40B4-BE49-F238E27FC236}">
                <a16:creationId xmlns:a16="http://schemas.microsoft.com/office/drawing/2014/main" id="{58A31AA2-597E-CEE6-2020-3CC8926C8A0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23972" y="3116777"/>
            <a:ext cx="792752" cy="792752"/>
          </a:xfrm>
          <a:prstGeom prst="rect">
            <a:avLst/>
          </a:prstGeom>
        </p:spPr>
      </p:pic>
      <p:sp>
        <p:nvSpPr>
          <p:cNvPr id="2" name="Footer Placeholder 24">
            <a:extLst>
              <a:ext uri="{FF2B5EF4-FFF2-40B4-BE49-F238E27FC236}">
                <a16:creationId xmlns:a16="http://schemas.microsoft.com/office/drawing/2014/main" id="{B7CBC1B7-47A6-93E3-622A-F489053D0589}"/>
              </a:ext>
            </a:extLst>
          </p:cNvPr>
          <p:cNvSpPr txBox="1">
            <a:spLocks/>
          </p:cNvSpPr>
          <p:nvPr/>
        </p:nvSpPr>
        <p:spPr>
          <a:xfrm>
            <a:off x="550863" y="6466953"/>
            <a:ext cx="4729614" cy="13716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i="1" dirty="0"/>
              <a:t>Sources: </a:t>
            </a:r>
            <a:r>
              <a:rPr lang="en-US" sz="1000" i="1" dirty="0"/>
              <a:t>Oracle, Press search</a:t>
            </a:r>
          </a:p>
        </p:txBody>
      </p:sp>
    </p:spTree>
    <p:extLst>
      <p:ext uri="{BB962C8B-B14F-4D97-AF65-F5344CB8AC3E}">
        <p14:creationId xmlns:p14="http://schemas.microsoft.com/office/powerpoint/2010/main" val="6675420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92DA41-7C97-4D0D-9A01-69106433DDB7}"/>
              </a:ext>
            </a:extLst>
          </p:cNvPr>
          <p:cNvGraphicFramePr>
            <a:graphicFrameLocks noChangeAspect="1"/>
          </p:cNvGraphicFramePr>
          <p:nvPr>
            <p:custDataLst>
              <p:tags r:id="rId1"/>
            </p:custDataLst>
            <p:extLst>
              <p:ext uri="{D42A27DB-BD31-4B8C-83A1-F6EECF244321}">
                <p14:modId xmlns:p14="http://schemas.microsoft.com/office/powerpoint/2010/main" val="64778295"/>
              </p:ext>
            </p:extLst>
          </p:nvPr>
        </p:nvGraphicFramePr>
        <p:xfrm>
          <a:off x="1247554" y="702302"/>
          <a:ext cx="1264" cy="1264"/>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C92DA41-7C97-4D0D-9A01-69106433DDB7}"/>
                          </a:ext>
                        </a:extLst>
                      </p:cNvPr>
                      <p:cNvPicPr/>
                      <p:nvPr/>
                    </p:nvPicPr>
                    <p:blipFill>
                      <a:blip r:embed="rId5"/>
                      <a:stretch>
                        <a:fillRect/>
                      </a:stretch>
                    </p:blipFill>
                    <p:spPr>
                      <a:xfrm>
                        <a:off x="1247554" y="702302"/>
                        <a:ext cx="1264" cy="1264"/>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F626E04-8BA8-4A7E-A8B9-087BC8AA7325}"/>
              </a:ext>
            </a:extLst>
          </p:cNvPr>
          <p:cNvSpPr>
            <a:spLocks noGrp="1"/>
          </p:cNvSpPr>
          <p:nvPr>
            <p:ph type="title"/>
          </p:nvPr>
        </p:nvSpPr>
        <p:spPr>
          <a:xfrm>
            <a:off x="531813" y="560588"/>
            <a:ext cx="11089972" cy="664797"/>
          </a:xfrm>
        </p:spPr>
        <p:txBody>
          <a:bodyPr vert="horz"/>
          <a:lstStyle/>
          <a:p>
            <a:r>
              <a:rPr lang="en-US" sz="2400" dirty="0"/>
              <a:t>Healthcare, transportation, financial services, and energy are some of the main sectors leveraging data analytics</a:t>
            </a:r>
          </a:p>
        </p:txBody>
      </p:sp>
      <p:cxnSp>
        <p:nvCxnSpPr>
          <p:cNvPr id="81" name="Straight Connector 80">
            <a:extLst>
              <a:ext uri="{FF2B5EF4-FFF2-40B4-BE49-F238E27FC236}">
                <a16:creationId xmlns:a16="http://schemas.microsoft.com/office/drawing/2014/main" id="{824082EA-5E6E-507E-A24B-7EFB862C3120}"/>
              </a:ext>
            </a:extLst>
          </p:cNvPr>
          <p:cNvCxnSpPr>
            <a:cxnSpLocks/>
          </p:cNvCxnSpPr>
          <p:nvPr/>
        </p:nvCxnSpPr>
        <p:spPr>
          <a:xfrm>
            <a:off x="1772390" y="2837162"/>
            <a:ext cx="9875520" cy="0"/>
          </a:xfrm>
          <a:prstGeom prst="line">
            <a:avLst/>
          </a:prstGeom>
          <a:noFill/>
          <a:ln w="12700" cap="flat" cmpd="sng">
            <a:solidFill>
              <a:schemeClr val="accent2"/>
            </a:solidFill>
            <a:prstDash val="dash"/>
            <a:round/>
            <a:headEnd type="none" w="sm" len="sm"/>
            <a:tailEnd type="none" w="sm" len="sm"/>
          </a:ln>
        </p:spPr>
      </p:cxnSp>
      <p:cxnSp>
        <p:nvCxnSpPr>
          <p:cNvPr id="82" name="Straight Connector 81">
            <a:extLst>
              <a:ext uri="{FF2B5EF4-FFF2-40B4-BE49-F238E27FC236}">
                <a16:creationId xmlns:a16="http://schemas.microsoft.com/office/drawing/2014/main" id="{8B3A5B53-F500-673B-355E-93A6FB9400C7}"/>
              </a:ext>
            </a:extLst>
          </p:cNvPr>
          <p:cNvCxnSpPr>
            <a:cxnSpLocks/>
          </p:cNvCxnSpPr>
          <p:nvPr/>
        </p:nvCxnSpPr>
        <p:spPr>
          <a:xfrm>
            <a:off x="1772390" y="3901407"/>
            <a:ext cx="9700158" cy="0"/>
          </a:xfrm>
          <a:prstGeom prst="line">
            <a:avLst/>
          </a:prstGeom>
          <a:noFill/>
          <a:ln w="12700" cap="flat" cmpd="sng">
            <a:solidFill>
              <a:schemeClr val="accent2"/>
            </a:solidFill>
            <a:prstDash val="dash"/>
            <a:round/>
            <a:headEnd type="none" w="sm" len="sm"/>
            <a:tailEnd type="none" w="sm" len="sm"/>
          </a:ln>
        </p:spPr>
      </p:cxnSp>
      <p:cxnSp>
        <p:nvCxnSpPr>
          <p:cNvPr id="83" name="Straight Connector 82">
            <a:extLst>
              <a:ext uri="{FF2B5EF4-FFF2-40B4-BE49-F238E27FC236}">
                <a16:creationId xmlns:a16="http://schemas.microsoft.com/office/drawing/2014/main" id="{4E9B8ADC-0EAC-FC48-44D0-33B586D699DE}"/>
              </a:ext>
            </a:extLst>
          </p:cNvPr>
          <p:cNvCxnSpPr>
            <a:cxnSpLocks/>
          </p:cNvCxnSpPr>
          <p:nvPr/>
        </p:nvCxnSpPr>
        <p:spPr>
          <a:xfrm>
            <a:off x="1772390" y="5059232"/>
            <a:ext cx="9700158" cy="0"/>
          </a:xfrm>
          <a:prstGeom prst="line">
            <a:avLst/>
          </a:prstGeom>
          <a:noFill/>
          <a:ln w="12700" cap="flat" cmpd="sng">
            <a:solidFill>
              <a:schemeClr val="accent2"/>
            </a:solidFill>
            <a:prstDash val="dash"/>
            <a:round/>
            <a:headEnd type="none" w="sm" len="sm"/>
            <a:tailEnd type="none" w="sm" len="sm"/>
          </a:ln>
        </p:spPr>
      </p:cxnSp>
      <p:sp>
        <p:nvSpPr>
          <p:cNvPr id="3" name="Google Shape;607;p36">
            <a:extLst>
              <a:ext uri="{FF2B5EF4-FFF2-40B4-BE49-F238E27FC236}">
                <a16:creationId xmlns:a16="http://schemas.microsoft.com/office/drawing/2014/main" id="{943C6EDF-5BE4-B76A-7D82-8308BFA0F0DB}"/>
              </a:ext>
            </a:extLst>
          </p:cNvPr>
          <p:cNvSpPr/>
          <p:nvPr/>
        </p:nvSpPr>
        <p:spPr>
          <a:xfrm>
            <a:off x="926965" y="1644973"/>
            <a:ext cx="91440" cy="4754880"/>
          </a:xfrm>
          <a:prstGeom prst="roundRect">
            <a:avLst>
              <a:gd name="adj" fmla="val 50000"/>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grpSp>
        <p:nvGrpSpPr>
          <p:cNvPr id="6" name="Group 5">
            <a:extLst>
              <a:ext uri="{FF2B5EF4-FFF2-40B4-BE49-F238E27FC236}">
                <a16:creationId xmlns:a16="http://schemas.microsoft.com/office/drawing/2014/main" id="{E3A5643B-6F18-90B3-9AD9-17DE6C441607}"/>
              </a:ext>
            </a:extLst>
          </p:cNvPr>
          <p:cNvGrpSpPr/>
          <p:nvPr/>
        </p:nvGrpSpPr>
        <p:grpSpPr>
          <a:xfrm>
            <a:off x="651848" y="1873599"/>
            <a:ext cx="618139" cy="618139"/>
            <a:chOff x="2789922" y="1954699"/>
            <a:chExt cx="618139" cy="618139"/>
          </a:xfrm>
        </p:grpSpPr>
        <p:sp>
          <p:nvSpPr>
            <p:cNvPr id="9" name="Oval 8">
              <a:extLst>
                <a:ext uri="{FF2B5EF4-FFF2-40B4-BE49-F238E27FC236}">
                  <a16:creationId xmlns:a16="http://schemas.microsoft.com/office/drawing/2014/main" id="{C16070A3-87CB-131E-828E-69FC8C673587}"/>
                </a:ext>
              </a:extLst>
            </p:cNvPr>
            <p:cNvSpPr/>
            <p:nvPr/>
          </p:nvSpPr>
          <p:spPr>
            <a:xfrm>
              <a:off x="2789922" y="1954699"/>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pic>
          <p:nvPicPr>
            <p:cNvPr id="12" name="Graphic 11" descr="Stethoscope outline">
              <a:extLst>
                <a:ext uri="{FF2B5EF4-FFF2-40B4-BE49-F238E27FC236}">
                  <a16:creationId xmlns:a16="http://schemas.microsoft.com/office/drawing/2014/main" id="{2C0C87A8-90BE-179B-3422-F6D79FB41B4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24671" y="1989448"/>
              <a:ext cx="548640" cy="548640"/>
            </a:xfrm>
            <a:prstGeom prst="rect">
              <a:avLst/>
            </a:prstGeom>
          </p:spPr>
        </p:pic>
      </p:grpSp>
      <p:grpSp>
        <p:nvGrpSpPr>
          <p:cNvPr id="13" name="Group 12">
            <a:extLst>
              <a:ext uri="{FF2B5EF4-FFF2-40B4-BE49-F238E27FC236}">
                <a16:creationId xmlns:a16="http://schemas.microsoft.com/office/drawing/2014/main" id="{5C9E80AB-7E88-BCB3-C67E-C4D789168D40}"/>
              </a:ext>
            </a:extLst>
          </p:cNvPr>
          <p:cNvGrpSpPr/>
          <p:nvPr/>
        </p:nvGrpSpPr>
        <p:grpSpPr>
          <a:xfrm>
            <a:off x="651848" y="5338653"/>
            <a:ext cx="618139" cy="618139"/>
            <a:chOff x="3253724" y="5139140"/>
            <a:chExt cx="618139" cy="618139"/>
          </a:xfrm>
        </p:grpSpPr>
        <p:sp>
          <p:nvSpPr>
            <p:cNvPr id="14" name="Oval 13">
              <a:extLst>
                <a:ext uri="{FF2B5EF4-FFF2-40B4-BE49-F238E27FC236}">
                  <a16:creationId xmlns:a16="http://schemas.microsoft.com/office/drawing/2014/main" id="{E8BF843B-D787-6E0F-04CF-C65F00C21AA5}"/>
                </a:ext>
              </a:extLst>
            </p:cNvPr>
            <p:cNvSpPr/>
            <p:nvPr/>
          </p:nvSpPr>
          <p:spPr>
            <a:xfrm>
              <a:off x="3253724" y="5139140"/>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pic>
          <p:nvPicPr>
            <p:cNvPr id="15" name="Graphic 14" descr="Money outline">
              <a:extLst>
                <a:ext uri="{FF2B5EF4-FFF2-40B4-BE49-F238E27FC236}">
                  <a16:creationId xmlns:a16="http://schemas.microsoft.com/office/drawing/2014/main" id="{E9E80140-AF4F-95B0-B661-C0CFF53C08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11333" y="5196749"/>
              <a:ext cx="502920" cy="502920"/>
            </a:xfrm>
            <a:prstGeom prst="rect">
              <a:avLst/>
            </a:prstGeom>
          </p:spPr>
        </p:pic>
      </p:grpSp>
      <p:grpSp>
        <p:nvGrpSpPr>
          <p:cNvPr id="19" name="Group 18">
            <a:extLst>
              <a:ext uri="{FF2B5EF4-FFF2-40B4-BE49-F238E27FC236}">
                <a16:creationId xmlns:a16="http://schemas.microsoft.com/office/drawing/2014/main" id="{5B5B4F45-C301-1F93-32DE-42B2723F3FD6}"/>
              </a:ext>
            </a:extLst>
          </p:cNvPr>
          <p:cNvGrpSpPr/>
          <p:nvPr/>
        </p:nvGrpSpPr>
        <p:grpSpPr>
          <a:xfrm>
            <a:off x="651848" y="4171318"/>
            <a:ext cx="618139" cy="618139"/>
            <a:chOff x="2818653" y="3953563"/>
            <a:chExt cx="618139" cy="618139"/>
          </a:xfrm>
        </p:grpSpPr>
        <p:sp>
          <p:nvSpPr>
            <p:cNvPr id="20" name="Oval 19">
              <a:extLst>
                <a:ext uri="{FF2B5EF4-FFF2-40B4-BE49-F238E27FC236}">
                  <a16:creationId xmlns:a16="http://schemas.microsoft.com/office/drawing/2014/main" id="{32321C81-E9BE-C9CC-CD2A-9B4090F0620E}"/>
                </a:ext>
              </a:extLst>
            </p:cNvPr>
            <p:cNvSpPr/>
            <p:nvPr/>
          </p:nvSpPr>
          <p:spPr>
            <a:xfrm>
              <a:off x="2818653" y="3953563"/>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pic>
          <p:nvPicPr>
            <p:cNvPr id="21" name="Graphic 20" descr="High voltage outline">
              <a:extLst>
                <a:ext uri="{FF2B5EF4-FFF2-40B4-BE49-F238E27FC236}">
                  <a16:creationId xmlns:a16="http://schemas.microsoft.com/office/drawing/2014/main" id="{80424621-A9EB-DBE6-E034-0D8046B87B8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76262" y="3976004"/>
              <a:ext cx="502920" cy="502920"/>
            </a:xfrm>
            <a:prstGeom prst="rect">
              <a:avLst/>
            </a:prstGeom>
          </p:spPr>
        </p:pic>
      </p:grpSp>
      <p:grpSp>
        <p:nvGrpSpPr>
          <p:cNvPr id="23" name="Group 22">
            <a:extLst>
              <a:ext uri="{FF2B5EF4-FFF2-40B4-BE49-F238E27FC236}">
                <a16:creationId xmlns:a16="http://schemas.microsoft.com/office/drawing/2014/main" id="{46861A71-A8D4-F5F8-EEF7-51AB7DAFABA5}"/>
              </a:ext>
            </a:extLst>
          </p:cNvPr>
          <p:cNvGrpSpPr/>
          <p:nvPr/>
        </p:nvGrpSpPr>
        <p:grpSpPr>
          <a:xfrm>
            <a:off x="651848" y="3060249"/>
            <a:ext cx="618139" cy="618139"/>
            <a:chOff x="234597" y="3063509"/>
            <a:chExt cx="618139" cy="618139"/>
          </a:xfrm>
        </p:grpSpPr>
        <p:sp>
          <p:nvSpPr>
            <p:cNvPr id="17" name="Oval 16">
              <a:extLst>
                <a:ext uri="{FF2B5EF4-FFF2-40B4-BE49-F238E27FC236}">
                  <a16:creationId xmlns:a16="http://schemas.microsoft.com/office/drawing/2014/main" id="{75F4AB1E-EBD9-9397-4309-27A52C94FF78}"/>
                </a:ext>
              </a:extLst>
            </p:cNvPr>
            <p:cNvSpPr/>
            <p:nvPr/>
          </p:nvSpPr>
          <p:spPr>
            <a:xfrm>
              <a:off x="234597" y="3063509"/>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pic>
          <p:nvPicPr>
            <p:cNvPr id="22" name="Graphic 21" descr="Bus outline">
              <a:extLst>
                <a:ext uri="{FF2B5EF4-FFF2-40B4-BE49-F238E27FC236}">
                  <a16:creationId xmlns:a16="http://schemas.microsoft.com/office/drawing/2014/main" id="{4ED6D914-04B9-4492-C06C-000F39BDFF2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5066" y="3169590"/>
              <a:ext cx="457200" cy="457200"/>
            </a:xfrm>
            <a:prstGeom prst="rect">
              <a:avLst/>
            </a:prstGeom>
          </p:spPr>
        </p:pic>
      </p:grpSp>
      <p:sp>
        <p:nvSpPr>
          <p:cNvPr id="16" name="Footer Placeholder 24">
            <a:extLst>
              <a:ext uri="{FF2B5EF4-FFF2-40B4-BE49-F238E27FC236}">
                <a16:creationId xmlns:a16="http://schemas.microsoft.com/office/drawing/2014/main" id="{7A5730BA-EE7C-A748-B7E3-E257BE884077}"/>
              </a:ext>
            </a:extLst>
          </p:cNvPr>
          <p:cNvSpPr txBox="1">
            <a:spLocks/>
          </p:cNvSpPr>
          <p:nvPr/>
        </p:nvSpPr>
        <p:spPr>
          <a:xfrm>
            <a:off x="550863" y="6466953"/>
            <a:ext cx="4729614" cy="13716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i="1" dirty="0"/>
              <a:t>Sources: </a:t>
            </a:r>
            <a:r>
              <a:rPr lang="en-US" sz="1000" i="1" dirty="0"/>
              <a:t>Press search</a:t>
            </a:r>
          </a:p>
        </p:txBody>
      </p:sp>
      <p:sp>
        <p:nvSpPr>
          <p:cNvPr id="18" name="Rectangle 17">
            <a:extLst>
              <a:ext uri="{FF2B5EF4-FFF2-40B4-BE49-F238E27FC236}">
                <a16:creationId xmlns:a16="http://schemas.microsoft.com/office/drawing/2014/main" id="{94C71417-EA2D-CC21-8C72-65EED7F35844}"/>
              </a:ext>
            </a:extLst>
          </p:cNvPr>
          <p:cNvSpPr/>
          <p:nvPr/>
        </p:nvSpPr>
        <p:spPr>
          <a:xfrm>
            <a:off x="1772390" y="2972459"/>
            <a:ext cx="9845455" cy="7936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l" rtl="0" eaLnBrk="1" fontAlgn="ctr" latinLnBrk="0" hangingPunct="1">
              <a:spcBef>
                <a:spcPts val="0"/>
              </a:spcBef>
              <a:spcAft>
                <a:spcPts val="0"/>
              </a:spcAft>
            </a:pPr>
            <a:r>
              <a:rPr lang="en-US" sz="1400" b="0" i="0" u="none" strike="noStrike" kern="1200" dirty="0">
                <a:solidFill>
                  <a:srgbClr val="54585A"/>
                </a:solidFill>
                <a:effectLst/>
              </a:rPr>
              <a:t>In </a:t>
            </a:r>
            <a:r>
              <a:rPr lang="en-US" sz="1400" b="1" i="0" u="none" strike="noStrike" kern="1200" dirty="0">
                <a:solidFill>
                  <a:schemeClr val="tx2"/>
                </a:solidFill>
                <a:effectLst/>
              </a:rPr>
              <a:t>transportation</a:t>
            </a:r>
            <a:r>
              <a:rPr lang="en-US" sz="1400" b="0" i="0" u="none" strike="noStrike" kern="1200" dirty="0">
                <a:solidFill>
                  <a:srgbClr val="54585A"/>
                </a:solidFill>
                <a:effectLst/>
              </a:rPr>
              <a:t>, the daily collection of data helps the industry provide better management for its users. Using data analytics, the organizations can detect routes with traffic, closures, or development and construction and suggest alternate routes, thereby providing better services.</a:t>
            </a:r>
            <a:endParaRPr lang="en-US" sz="1400" b="0" i="0" u="none" strike="noStrike" dirty="0">
              <a:effectLst/>
            </a:endParaRPr>
          </a:p>
        </p:txBody>
      </p:sp>
      <p:sp>
        <p:nvSpPr>
          <p:cNvPr id="24" name="Rectangle 23">
            <a:extLst>
              <a:ext uri="{FF2B5EF4-FFF2-40B4-BE49-F238E27FC236}">
                <a16:creationId xmlns:a16="http://schemas.microsoft.com/office/drawing/2014/main" id="{640B6290-599F-9A21-56F9-1CAB7BDEC6DC}"/>
              </a:ext>
            </a:extLst>
          </p:cNvPr>
          <p:cNvSpPr/>
          <p:nvPr/>
        </p:nvSpPr>
        <p:spPr>
          <a:xfrm>
            <a:off x="1772390" y="5194529"/>
            <a:ext cx="9868748" cy="111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kern="1200" dirty="0">
                <a:solidFill>
                  <a:srgbClr val="54585A"/>
                </a:solidFill>
                <a:ea typeface="+mn-ea"/>
                <a:cs typeface="+mn-cs"/>
              </a:rPr>
              <a:t>In</a:t>
            </a:r>
            <a:r>
              <a:rPr lang="en-US" sz="1400" b="1" kern="1200" dirty="0">
                <a:solidFill>
                  <a:srgbClr val="54585A"/>
                </a:solidFill>
                <a:ea typeface="+mn-ea"/>
                <a:cs typeface="+mn-cs"/>
              </a:rPr>
              <a:t> </a:t>
            </a:r>
            <a:r>
              <a:rPr lang="en-US" sz="1400" b="1" kern="1200" dirty="0">
                <a:solidFill>
                  <a:schemeClr val="tx2"/>
                </a:solidFill>
                <a:ea typeface="+mn-ea"/>
                <a:cs typeface="+mn-cs"/>
              </a:rPr>
              <a:t>financial services</a:t>
            </a:r>
            <a:r>
              <a:rPr lang="en-US" sz="1400" kern="1200" dirty="0">
                <a:solidFill>
                  <a:srgbClr val="54585A"/>
                </a:solidFill>
                <a:ea typeface="+mn-ea"/>
                <a:cs typeface="+mn-cs"/>
              </a:rPr>
              <a:t>, data analytics can help enhance risk assessment and better detection of fraud. In </a:t>
            </a:r>
            <a:r>
              <a:rPr lang="en-US" sz="1400" b="1" kern="1200" dirty="0">
                <a:solidFill>
                  <a:srgbClr val="54585A"/>
                </a:solidFill>
                <a:ea typeface="+mn-ea"/>
                <a:cs typeface="+mn-cs"/>
              </a:rPr>
              <a:t>banking, </a:t>
            </a:r>
            <a:r>
              <a:rPr lang="en-US" sz="1400" kern="1200" dirty="0">
                <a:solidFill>
                  <a:srgbClr val="54585A"/>
                </a:solidFill>
                <a:ea typeface="+mn-ea"/>
                <a:cs typeface="+mn-cs"/>
              </a:rPr>
              <a:t>analytic</a:t>
            </a:r>
            <a:r>
              <a:rPr lang="en-US" sz="1400" b="0" kern="1200" dirty="0">
                <a:solidFill>
                  <a:srgbClr val="54585A"/>
                </a:solidFill>
                <a:ea typeface="+mn-ea"/>
                <a:cs typeface="+mn-cs"/>
              </a:rPr>
              <a:t>s can be used to assess the risk profiles of credit applicants in detail and improve credit assessments. In the </a:t>
            </a:r>
            <a:r>
              <a:rPr lang="en-US" sz="1400" b="1" kern="1200" dirty="0">
                <a:solidFill>
                  <a:srgbClr val="54585A"/>
                </a:solidFill>
                <a:ea typeface="+mn-ea"/>
                <a:cs typeface="+mn-cs"/>
              </a:rPr>
              <a:t>insurance </a:t>
            </a:r>
            <a:r>
              <a:rPr lang="en-US" sz="1400" kern="1200" dirty="0">
                <a:solidFill>
                  <a:srgbClr val="54585A"/>
                </a:solidFill>
                <a:ea typeface="+mn-ea"/>
                <a:cs typeface="+mn-cs"/>
              </a:rPr>
              <a:t>industry, data </a:t>
            </a:r>
            <a:r>
              <a:rPr lang="en-US" sz="1400" b="0" kern="1200" dirty="0">
                <a:solidFill>
                  <a:srgbClr val="54585A"/>
                </a:solidFill>
                <a:ea typeface="+mn-ea"/>
                <a:cs typeface="+mn-cs"/>
              </a:rPr>
              <a:t>analytics can be used to prioritize insurance claims, resulting in faster settlements. Analytics can also help mitigate claims fraud and make better informed underwriting decisions.</a:t>
            </a:r>
            <a:r>
              <a:rPr lang="en-US" sz="1400" kern="1200" dirty="0">
                <a:solidFill>
                  <a:srgbClr val="54585A"/>
                </a:solidFill>
                <a:ea typeface="+mn-ea"/>
                <a:cs typeface="+mn-cs"/>
              </a:rPr>
              <a:t> For example, </a:t>
            </a:r>
            <a:r>
              <a:rPr lang="en-US" sz="1400" b="0" i="0" dirty="0">
                <a:solidFill>
                  <a:srgbClr val="54585A"/>
                </a:solidFill>
                <a:effectLst/>
              </a:rPr>
              <a:t>AXA UK uses data analytics to improve its claims process and speed up decision making. During a pilot test, the company reported around a 25% reduction in claims being re-routed and substantial cost reductions.</a:t>
            </a:r>
          </a:p>
        </p:txBody>
      </p:sp>
      <p:sp>
        <p:nvSpPr>
          <p:cNvPr id="25" name="Rectangle 24">
            <a:extLst>
              <a:ext uri="{FF2B5EF4-FFF2-40B4-BE49-F238E27FC236}">
                <a16:creationId xmlns:a16="http://schemas.microsoft.com/office/drawing/2014/main" id="{46EE3E40-7563-9ACA-6BAC-717824DB1BDE}"/>
              </a:ext>
            </a:extLst>
          </p:cNvPr>
          <p:cNvSpPr/>
          <p:nvPr/>
        </p:nvSpPr>
        <p:spPr>
          <a:xfrm>
            <a:off x="1772390" y="4013950"/>
            <a:ext cx="9845455" cy="9099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l" rtl="0" eaLnBrk="1" fontAlgn="ctr" latinLnBrk="0" hangingPunct="1">
              <a:spcBef>
                <a:spcPts val="0"/>
              </a:spcBef>
              <a:spcAft>
                <a:spcPts val="0"/>
              </a:spcAft>
            </a:pPr>
            <a:r>
              <a:rPr lang="en-US" sz="1400" b="0" kern="1200" dirty="0">
                <a:solidFill>
                  <a:srgbClr val="54585A"/>
                </a:solidFill>
                <a:latin typeface="+mn-lt"/>
                <a:ea typeface="+mn-ea"/>
                <a:cs typeface="+mn-cs"/>
              </a:rPr>
              <a:t>In the </a:t>
            </a:r>
            <a:r>
              <a:rPr lang="en-US" sz="1400" b="1" kern="1200" dirty="0">
                <a:solidFill>
                  <a:schemeClr val="tx2"/>
                </a:solidFill>
                <a:latin typeface="+mn-lt"/>
                <a:ea typeface="+mn-ea"/>
                <a:cs typeface="+mn-cs"/>
              </a:rPr>
              <a:t>energy</a:t>
            </a:r>
            <a:r>
              <a:rPr lang="en-US" sz="1400" b="0" kern="1200" dirty="0">
                <a:solidFill>
                  <a:srgbClr val="54585A"/>
                </a:solidFill>
                <a:latin typeface="+mn-lt"/>
                <a:ea typeface="+mn-ea"/>
                <a:cs typeface="+mn-cs"/>
              </a:rPr>
              <a:t> sector, companies are using </a:t>
            </a:r>
            <a:r>
              <a:rPr lang="en-US" sz="1400" b="0" i="0" u="none" strike="noStrike" kern="1200" dirty="0">
                <a:solidFill>
                  <a:srgbClr val="54585A"/>
                </a:solidFill>
                <a:effectLst/>
              </a:rPr>
              <a:t>predictive modeling to improve equipment reliability and reduce the cost of unpredictable reactive and downtime maintenance. For oil and gas companies, analytics </a:t>
            </a:r>
            <a:r>
              <a:rPr lang="en-US" sz="1400" i="0" u="none" strike="noStrike" kern="1200" dirty="0">
                <a:solidFill>
                  <a:srgbClr val="54585A"/>
                </a:solidFill>
                <a:effectLst/>
              </a:rPr>
              <a:t>can help Oil &amp; Gas firms are using data solutions to drive refinery, distribution processes, and real-time adjustments to market demands.</a:t>
            </a:r>
          </a:p>
        </p:txBody>
      </p:sp>
      <p:sp>
        <p:nvSpPr>
          <p:cNvPr id="26" name="Rectangle 25">
            <a:extLst>
              <a:ext uri="{FF2B5EF4-FFF2-40B4-BE49-F238E27FC236}">
                <a16:creationId xmlns:a16="http://schemas.microsoft.com/office/drawing/2014/main" id="{415F7F6F-3517-0064-44D7-EF3967AA0A39}"/>
              </a:ext>
            </a:extLst>
          </p:cNvPr>
          <p:cNvSpPr/>
          <p:nvPr/>
        </p:nvSpPr>
        <p:spPr>
          <a:xfrm>
            <a:off x="1772390" y="1663471"/>
            <a:ext cx="9845454" cy="1038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l" rtl="0" eaLnBrk="1" fontAlgn="ctr" latinLnBrk="0" hangingPunct="1">
              <a:spcBef>
                <a:spcPts val="0"/>
              </a:spcBef>
              <a:spcAft>
                <a:spcPts val="0"/>
              </a:spcAft>
            </a:pPr>
            <a:r>
              <a:rPr lang="en-US" sz="1400" dirty="0">
                <a:solidFill>
                  <a:srgbClr val="54585A"/>
                </a:solidFill>
              </a:rPr>
              <a:t>In </a:t>
            </a:r>
            <a:r>
              <a:rPr lang="en-US" sz="1400" b="1" dirty="0">
                <a:solidFill>
                  <a:schemeClr val="tx2"/>
                </a:solidFill>
              </a:rPr>
              <a:t>healthcare</a:t>
            </a:r>
            <a:r>
              <a:rPr lang="en-US" sz="1400" dirty="0">
                <a:solidFill>
                  <a:srgbClr val="54585A"/>
                </a:solidFill>
              </a:rPr>
              <a:t>, data gathered from patients regarding their experiences with medical practitioners can be analyzed to reveal areas for improvement. </a:t>
            </a:r>
            <a:r>
              <a:rPr lang="en-US" sz="1400" b="0" i="0" u="none" strike="noStrike" kern="1200" dirty="0">
                <a:solidFill>
                  <a:srgbClr val="54585A"/>
                </a:solidFill>
                <a:effectLst/>
              </a:rPr>
              <a:t>Data analytics can predict trends in the spread of illness, allowing hospitals to adequately prepare. It can also accelerate drug discovery and development.  For example, </a:t>
            </a:r>
            <a:r>
              <a:rPr lang="en-US" sz="1400" dirty="0">
                <a:solidFill>
                  <a:srgbClr val="54585A"/>
                </a:solidFill>
              </a:rPr>
              <a:t>AstraZeneca used data and machine learning to build a recommendation engine that empowers scientists to more easily uncover new novel drugs quicker, cheaper, and more effectively.</a:t>
            </a:r>
            <a:endParaRPr lang="en-US" sz="1400" b="0" i="0" u="none" strike="noStrike" dirty="0">
              <a:effectLst/>
            </a:endParaRPr>
          </a:p>
        </p:txBody>
      </p:sp>
    </p:spTree>
    <p:extLst>
      <p:ext uri="{BB962C8B-B14F-4D97-AF65-F5344CB8AC3E}">
        <p14:creationId xmlns:p14="http://schemas.microsoft.com/office/powerpoint/2010/main" val="15096781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92DA41-7C97-4D0D-9A01-69106433DDB7}"/>
              </a:ext>
            </a:extLst>
          </p:cNvPr>
          <p:cNvGraphicFramePr>
            <a:graphicFrameLocks noChangeAspect="1"/>
          </p:cNvGraphicFramePr>
          <p:nvPr>
            <p:custDataLst>
              <p:tags r:id="rId1"/>
            </p:custDataLst>
            <p:extLst>
              <p:ext uri="{D42A27DB-BD31-4B8C-83A1-F6EECF244321}">
                <p14:modId xmlns:p14="http://schemas.microsoft.com/office/powerpoint/2010/main" val="2651923495"/>
              </p:ext>
            </p:extLst>
          </p:nvPr>
        </p:nvGraphicFramePr>
        <p:xfrm>
          <a:off x="1247554" y="702302"/>
          <a:ext cx="1264" cy="1264"/>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C92DA41-7C97-4D0D-9A01-69106433DDB7}"/>
                          </a:ext>
                        </a:extLst>
                      </p:cNvPr>
                      <p:cNvPicPr/>
                      <p:nvPr/>
                    </p:nvPicPr>
                    <p:blipFill>
                      <a:blip r:embed="rId5"/>
                      <a:stretch>
                        <a:fillRect/>
                      </a:stretch>
                    </p:blipFill>
                    <p:spPr>
                      <a:xfrm>
                        <a:off x="1247554" y="702302"/>
                        <a:ext cx="1264" cy="1264"/>
                      </a:xfrm>
                      <a:prstGeom prst="rect">
                        <a:avLst/>
                      </a:prstGeom>
                    </p:spPr>
                  </p:pic>
                </p:oleObj>
              </mc:Fallback>
            </mc:AlternateContent>
          </a:graphicData>
        </a:graphic>
      </p:graphicFrame>
      <p:sp>
        <p:nvSpPr>
          <p:cNvPr id="37" name="Rectangle 36">
            <a:extLst>
              <a:ext uri="{FF2B5EF4-FFF2-40B4-BE49-F238E27FC236}">
                <a16:creationId xmlns:a16="http://schemas.microsoft.com/office/drawing/2014/main" id="{47644F3E-AB40-7DAB-940B-FE022C53F801}"/>
              </a:ext>
            </a:extLst>
          </p:cNvPr>
          <p:cNvSpPr/>
          <p:nvPr/>
        </p:nvSpPr>
        <p:spPr>
          <a:xfrm>
            <a:off x="0" y="1857375"/>
            <a:ext cx="2134433" cy="4451350"/>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5" name="Title 4">
            <a:extLst>
              <a:ext uri="{FF2B5EF4-FFF2-40B4-BE49-F238E27FC236}">
                <a16:creationId xmlns:a16="http://schemas.microsoft.com/office/drawing/2014/main" id="{2F626E04-8BA8-4A7E-A8B9-087BC8AA7325}"/>
              </a:ext>
            </a:extLst>
          </p:cNvPr>
          <p:cNvSpPr>
            <a:spLocks noGrp="1"/>
          </p:cNvSpPr>
          <p:nvPr>
            <p:ph type="title"/>
          </p:nvPr>
        </p:nvSpPr>
        <p:spPr>
          <a:xfrm>
            <a:off x="531813" y="560588"/>
            <a:ext cx="11089972" cy="664797"/>
          </a:xfrm>
        </p:spPr>
        <p:txBody>
          <a:bodyPr vert="horz"/>
          <a:lstStyle/>
          <a:p>
            <a:r>
              <a:rPr lang="en-US" sz="2400" dirty="0">
                <a:solidFill>
                  <a:schemeClr val="tx2"/>
                </a:solidFill>
              </a:rPr>
              <a:t>Case study: A self-service solution to improve Enel Green Power’s failures detection, and reduce downtime</a:t>
            </a:r>
          </a:p>
        </p:txBody>
      </p:sp>
      <p:sp>
        <p:nvSpPr>
          <p:cNvPr id="17" name="Oval 16">
            <a:extLst>
              <a:ext uri="{FF2B5EF4-FFF2-40B4-BE49-F238E27FC236}">
                <a16:creationId xmlns:a16="http://schemas.microsoft.com/office/drawing/2014/main" id="{D12B25E4-442E-A9C7-2556-C16BC9B864FA}"/>
              </a:ext>
            </a:extLst>
          </p:cNvPr>
          <p:cNvSpPr/>
          <p:nvPr/>
        </p:nvSpPr>
        <p:spPr>
          <a:xfrm>
            <a:off x="1812696" y="2022004"/>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82C5511C-B19C-584E-EA76-91599556F73C}"/>
              </a:ext>
            </a:extLst>
          </p:cNvPr>
          <p:cNvSpPr/>
          <p:nvPr/>
        </p:nvSpPr>
        <p:spPr>
          <a:xfrm>
            <a:off x="3851198" y="1857375"/>
            <a:ext cx="7770587" cy="932851"/>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400" dirty="0">
                <a:solidFill>
                  <a:schemeClr val="bg2">
                    <a:lumMod val="10000"/>
                  </a:schemeClr>
                </a:solidFill>
                <a:latin typeface="Calibri"/>
                <a:cs typeface="Calibri"/>
                <a:sym typeface="Calibri"/>
              </a:rPr>
              <a:t>Enel Green Power is a company dedicated to the development and operation of renewables around the world</a:t>
            </a:r>
          </a:p>
          <a:p>
            <a:pPr marL="285750" indent="-285750">
              <a:buFont typeface="Arial" panose="020B0604020202020204" pitchFamily="34" charset="0"/>
              <a:buChar char="•"/>
            </a:pPr>
            <a:r>
              <a:rPr lang="en-US" sz="1400" dirty="0">
                <a:solidFill>
                  <a:schemeClr val="bg2">
                    <a:lumMod val="10000"/>
                  </a:schemeClr>
                </a:solidFill>
                <a:latin typeface="Calibri"/>
                <a:cs typeface="Calibri"/>
                <a:sym typeface="Calibri"/>
              </a:rPr>
              <a:t>EGP’s management has found itself spending too much on maintenance needs across their facilities, with no advance notice of failures</a:t>
            </a:r>
            <a:endParaRPr lang="en-US" sz="1400" dirty="0">
              <a:solidFill>
                <a:schemeClr val="bg2">
                  <a:lumMod val="10000"/>
                </a:schemeClr>
              </a:solidFill>
            </a:endParaRPr>
          </a:p>
        </p:txBody>
      </p:sp>
      <p:sp>
        <p:nvSpPr>
          <p:cNvPr id="10" name="Rectangle 9">
            <a:extLst>
              <a:ext uri="{FF2B5EF4-FFF2-40B4-BE49-F238E27FC236}">
                <a16:creationId xmlns:a16="http://schemas.microsoft.com/office/drawing/2014/main" id="{266FC6B7-9567-5F83-3297-388F998807A3}"/>
              </a:ext>
            </a:extLst>
          </p:cNvPr>
          <p:cNvSpPr/>
          <p:nvPr/>
        </p:nvSpPr>
        <p:spPr>
          <a:xfrm>
            <a:off x="3851198" y="2953267"/>
            <a:ext cx="7770587" cy="88483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bg2">
                    <a:lumMod val="10000"/>
                  </a:schemeClr>
                </a:solidFill>
                <a:latin typeface="Calibri"/>
                <a:cs typeface="Calibri"/>
                <a:sym typeface="Calibri"/>
              </a:rPr>
              <a:t>Enel is the 2</a:t>
            </a:r>
            <a:r>
              <a:rPr lang="en-US" sz="1400" baseline="30000" dirty="0">
                <a:solidFill>
                  <a:schemeClr val="bg2">
                    <a:lumMod val="10000"/>
                  </a:schemeClr>
                </a:solidFill>
                <a:latin typeface="Calibri"/>
                <a:cs typeface="Calibri"/>
                <a:sym typeface="Calibri"/>
              </a:rPr>
              <a:t>nd</a:t>
            </a:r>
            <a:r>
              <a:rPr lang="en-US" sz="1400" dirty="0">
                <a:solidFill>
                  <a:schemeClr val="bg2">
                    <a:lumMod val="10000"/>
                  </a:schemeClr>
                </a:solidFill>
                <a:latin typeface="Calibri"/>
                <a:cs typeface="Calibri"/>
                <a:sym typeface="Calibri"/>
              </a:rPr>
              <a:t> largest utility in the world with over 42 GW or energy under management</a:t>
            </a:r>
          </a:p>
          <a:p>
            <a:pPr marL="285750" indent="-285750">
              <a:buFont typeface="Arial" panose="020B0604020202020204" pitchFamily="34" charset="0"/>
              <a:buChar char="•"/>
            </a:pPr>
            <a:r>
              <a:rPr lang="en-US" sz="1400" dirty="0">
                <a:solidFill>
                  <a:schemeClr val="bg2">
                    <a:lumMod val="10000"/>
                  </a:schemeClr>
                </a:solidFill>
                <a:latin typeface="Calibri"/>
                <a:cs typeface="Calibri"/>
                <a:sym typeface="Calibri"/>
              </a:rPr>
              <a:t>The challenge was finding the best way to monitor and perform maintenance on their geothermal plants located 1700 feet underground at 310°F</a:t>
            </a:r>
          </a:p>
        </p:txBody>
      </p:sp>
      <p:sp>
        <p:nvSpPr>
          <p:cNvPr id="11" name="Rectangle 10">
            <a:extLst>
              <a:ext uri="{FF2B5EF4-FFF2-40B4-BE49-F238E27FC236}">
                <a16:creationId xmlns:a16="http://schemas.microsoft.com/office/drawing/2014/main" id="{197F5761-024B-5E48-FD7C-637872618274}"/>
              </a:ext>
            </a:extLst>
          </p:cNvPr>
          <p:cNvSpPr/>
          <p:nvPr/>
        </p:nvSpPr>
        <p:spPr>
          <a:xfrm>
            <a:off x="3851198" y="4095872"/>
            <a:ext cx="7770587" cy="88483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bg2">
                    <a:lumMod val="10000"/>
                  </a:schemeClr>
                </a:solidFill>
                <a:latin typeface="Calibri"/>
                <a:cs typeface="Calibri"/>
                <a:sym typeface="Calibri"/>
              </a:rPr>
              <a:t>Implementing a self-service solution that monitors electrical and operating data to detect signature anomalies, and automatically reports those back</a:t>
            </a:r>
          </a:p>
          <a:p>
            <a:pPr marL="285750" indent="-285750">
              <a:buFont typeface="Arial" panose="020B0604020202020204" pitchFamily="34" charset="0"/>
              <a:buChar char="•"/>
            </a:pPr>
            <a:r>
              <a:rPr lang="en-US" sz="1400" dirty="0">
                <a:solidFill>
                  <a:schemeClr val="bg2">
                    <a:lumMod val="10000"/>
                  </a:schemeClr>
                </a:solidFill>
                <a:latin typeface="Calibri"/>
                <a:cs typeface="Calibri"/>
                <a:sym typeface="Calibri"/>
              </a:rPr>
              <a:t>Auto-generated reports describe the anomalies, summarize the data, and allow users to immediately take corrective actions in less than 4 weeks</a:t>
            </a:r>
          </a:p>
        </p:txBody>
      </p:sp>
      <p:sp>
        <p:nvSpPr>
          <p:cNvPr id="12" name="Rectangle 11">
            <a:extLst>
              <a:ext uri="{FF2B5EF4-FFF2-40B4-BE49-F238E27FC236}">
                <a16:creationId xmlns:a16="http://schemas.microsoft.com/office/drawing/2014/main" id="{9649A71E-0503-EE56-B3A0-984E2E81648A}"/>
              </a:ext>
            </a:extLst>
          </p:cNvPr>
          <p:cNvSpPr/>
          <p:nvPr/>
        </p:nvSpPr>
        <p:spPr>
          <a:xfrm>
            <a:off x="3851198" y="5238478"/>
            <a:ext cx="7770587" cy="88483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bg2">
                    <a:lumMod val="10000"/>
                  </a:schemeClr>
                </a:solidFill>
                <a:latin typeface="Calibri"/>
                <a:cs typeface="Calibri"/>
                <a:sym typeface="Calibri"/>
              </a:rPr>
              <a:t>A reduction of downtime of 90%</a:t>
            </a:r>
          </a:p>
          <a:p>
            <a:pPr marL="285750" indent="-285750">
              <a:buFont typeface="Arial" panose="020B0604020202020204" pitchFamily="34" charset="0"/>
              <a:buChar char="•"/>
            </a:pPr>
            <a:r>
              <a:rPr lang="en-US" sz="1400" dirty="0">
                <a:solidFill>
                  <a:schemeClr val="bg2">
                    <a:lumMod val="10000"/>
                  </a:schemeClr>
                </a:solidFill>
                <a:latin typeface="Calibri"/>
                <a:cs typeface="Calibri"/>
                <a:sym typeface="Calibri"/>
              </a:rPr>
              <a:t>Increased supply chain management, and internal communication</a:t>
            </a:r>
          </a:p>
          <a:p>
            <a:pPr marL="285750" indent="-285750">
              <a:buFont typeface="Arial" panose="020B0604020202020204" pitchFamily="34" charset="0"/>
              <a:buChar char="•"/>
            </a:pPr>
            <a:r>
              <a:rPr lang="en-US" sz="1400" dirty="0">
                <a:solidFill>
                  <a:schemeClr val="bg2">
                    <a:lumMod val="10000"/>
                  </a:schemeClr>
                </a:solidFill>
                <a:latin typeface="Calibri"/>
                <a:cs typeface="Calibri"/>
                <a:sym typeface="Calibri"/>
              </a:rPr>
              <a:t>54 days advance notice of failures</a:t>
            </a:r>
          </a:p>
          <a:p>
            <a:pPr marL="285750" indent="-285750">
              <a:buFont typeface="Arial" panose="020B0604020202020204" pitchFamily="34" charset="0"/>
              <a:buChar char="•"/>
            </a:pPr>
            <a:r>
              <a:rPr lang="en-US" sz="1400" dirty="0">
                <a:solidFill>
                  <a:schemeClr val="bg2">
                    <a:lumMod val="10000"/>
                  </a:schemeClr>
                </a:solidFill>
                <a:latin typeface="Calibri"/>
                <a:cs typeface="Calibri"/>
                <a:sym typeface="Calibri"/>
              </a:rPr>
              <a:t>Streamlined the detection-to-repair process</a:t>
            </a:r>
          </a:p>
        </p:txBody>
      </p:sp>
      <p:sp>
        <p:nvSpPr>
          <p:cNvPr id="28" name="Rectangle 27">
            <a:extLst>
              <a:ext uri="{FF2B5EF4-FFF2-40B4-BE49-F238E27FC236}">
                <a16:creationId xmlns:a16="http://schemas.microsoft.com/office/drawing/2014/main" id="{40F3E9B7-DD91-C739-5EBA-37B6FD89887C}"/>
              </a:ext>
            </a:extLst>
          </p:cNvPr>
          <p:cNvSpPr/>
          <p:nvPr/>
        </p:nvSpPr>
        <p:spPr>
          <a:xfrm>
            <a:off x="2464704" y="2193913"/>
            <a:ext cx="1482425"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Situation</a:t>
            </a:r>
          </a:p>
        </p:txBody>
      </p:sp>
      <p:sp>
        <p:nvSpPr>
          <p:cNvPr id="29" name="Rectangle 28">
            <a:extLst>
              <a:ext uri="{FF2B5EF4-FFF2-40B4-BE49-F238E27FC236}">
                <a16:creationId xmlns:a16="http://schemas.microsoft.com/office/drawing/2014/main" id="{BE211B67-E366-2A64-CF56-13D380453C94}"/>
              </a:ext>
            </a:extLst>
          </p:cNvPr>
          <p:cNvSpPr/>
          <p:nvPr/>
        </p:nvSpPr>
        <p:spPr>
          <a:xfrm>
            <a:off x="2457223" y="3258522"/>
            <a:ext cx="1317833"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Challenge</a:t>
            </a:r>
          </a:p>
        </p:txBody>
      </p:sp>
      <p:sp>
        <p:nvSpPr>
          <p:cNvPr id="30" name="Rectangle 29">
            <a:extLst>
              <a:ext uri="{FF2B5EF4-FFF2-40B4-BE49-F238E27FC236}">
                <a16:creationId xmlns:a16="http://schemas.microsoft.com/office/drawing/2014/main" id="{85DB8D50-E4D8-BE78-88A8-8AE76FF15259}"/>
              </a:ext>
            </a:extLst>
          </p:cNvPr>
          <p:cNvSpPr/>
          <p:nvPr/>
        </p:nvSpPr>
        <p:spPr>
          <a:xfrm>
            <a:off x="2430835" y="4401127"/>
            <a:ext cx="1482425"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Solution</a:t>
            </a:r>
          </a:p>
        </p:txBody>
      </p:sp>
      <p:sp>
        <p:nvSpPr>
          <p:cNvPr id="34" name="Rectangle 33">
            <a:extLst>
              <a:ext uri="{FF2B5EF4-FFF2-40B4-BE49-F238E27FC236}">
                <a16:creationId xmlns:a16="http://schemas.microsoft.com/office/drawing/2014/main" id="{25EB00CE-584A-F7EA-137E-E64FC44CBB40}"/>
              </a:ext>
            </a:extLst>
          </p:cNvPr>
          <p:cNvSpPr/>
          <p:nvPr/>
        </p:nvSpPr>
        <p:spPr>
          <a:xfrm>
            <a:off x="2505923" y="5543733"/>
            <a:ext cx="1482425"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Results</a:t>
            </a:r>
          </a:p>
        </p:txBody>
      </p:sp>
      <p:cxnSp>
        <p:nvCxnSpPr>
          <p:cNvPr id="26" name="Straight Connector 25">
            <a:extLst>
              <a:ext uri="{FF2B5EF4-FFF2-40B4-BE49-F238E27FC236}">
                <a16:creationId xmlns:a16="http://schemas.microsoft.com/office/drawing/2014/main" id="{380DFBFF-018B-2CD4-F9EE-E4A6AD4797D2}"/>
              </a:ext>
            </a:extLst>
          </p:cNvPr>
          <p:cNvCxnSpPr>
            <a:cxnSpLocks/>
          </p:cNvCxnSpPr>
          <p:nvPr/>
        </p:nvCxnSpPr>
        <p:spPr>
          <a:xfrm flipV="1">
            <a:off x="3851198" y="2842480"/>
            <a:ext cx="778994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34F50D2-5C09-273A-67AF-E136E794D455}"/>
              </a:ext>
            </a:extLst>
          </p:cNvPr>
          <p:cNvCxnSpPr/>
          <p:nvPr/>
        </p:nvCxnSpPr>
        <p:spPr>
          <a:xfrm flipV="1">
            <a:off x="3851198" y="3874491"/>
            <a:ext cx="778994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339BCE3-9200-8437-F257-786D3EBB83CA}"/>
              </a:ext>
            </a:extLst>
          </p:cNvPr>
          <p:cNvCxnSpPr/>
          <p:nvPr/>
        </p:nvCxnSpPr>
        <p:spPr>
          <a:xfrm flipV="1">
            <a:off x="3851198" y="5129133"/>
            <a:ext cx="778994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61FCFF70-BA3E-F677-36D4-EF25DDBA196D}"/>
              </a:ext>
            </a:extLst>
          </p:cNvPr>
          <p:cNvSpPr/>
          <p:nvPr/>
        </p:nvSpPr>
        <p:spPr>
          <a:xfrm>
            <a:off x="1812696" y="3086613"/>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20" name="Oval 19">
            <a:extLst>
              <a:ext uri="{FF2B5EF4-FFF2-40B4-BE49-F238E27FC236}">
                <a16:creationId xmlns:a16="http://schemas.microsoft.com/office/drawing/2014/main" id="{E07AA6F1-DF07-0C39-FC3C-ADC0D68BEDA1}"/>
              </a:ext>
            </a:extLst>
          </p:cNvPr>
          <p:cNvSpPr/>
          <p:nvPr/>
        </p:nvSpPr>
        <p:spPr>
          <a:xfrm>
            <a:off x="1812696" y="4229218"/>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22" name="Oval 21">
            <a:extLst>
              <a:ext uri="{FF2B5EF4-FFF2-40B4-BE49-F238E27FC236}">
                <a16:creationId xmlns:a16="http://schemas.microsoft.com/office/drawing/2014/main" id="{438105D7-F884-647E-71BA-ACC1B9961A68}"/>
              </a:ext>
            </a:extLst>
          </p:cNvPr>
          <p:cNvSpPr/>
          <p:nvPr/>
        </p:nvSpPr>
        <p:spPr>
          <a:xfrm>
            <a:off x="1812696" y="5371824"/>
            <a:ext cx="618139" cy="61813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pic>
        <p:nvPicPr>
          <p:cNvPr id="24" name="Graphic 23" descr="Magnifying glass outline">
            <a:extLst>
              <a:ext uri="{FF2B5EF4-FFF2-40B4-BE49-F238E27FC236}">
                <a16:creationId xmlns:a16="http://schemas.microsoft.com/office/drawing/2014/main" id="{4AF247F5-EA44-F50F-E58B-84062600386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47445" y="2056753"/>
            <a:ext cx="548640" cy="548640"/>
          </a:xfrm>
          <a:prstGeom prst="rect">
            <a:avLst/>
          </a:prstGeom>
        </p:spPr>
      </p:pic>
      <p:pic>
        <p:nvPicPr>
          <p:cNvPr id="14" name="Graphic 13" descr="Upward trend outline">
            <a:extLst>
              <a:ext uri="{FF2B5EF4-FFF2-40B4-BE49-F238E27FC236}">
                <a16:creationId xmlns:a16="http://schemas.microsoft.com/office/drawing/2014/main" id="{2A79A235-7CD4-CA35-7647-75D4A84AB2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47445" y="5406573"/>
            <a:ext cx="548640" cy="548640"/>
          </a:xfrm>
          <a:prstGeom prst="rect">
            <a:avLst/>
          </a:prstGeom>
        </p:spPr>
      </p:pic>
      <p:pic>
        <p:nvPicPr>
          <p:cNvPr id="21" name="Graphic 20" descr="Lights On outline">
            <a:extLst>
              <a:ext uri="{FF2B5EF4-FFF2-40B4-BE49-F238E27FC236}">
                <a16:creationId xmlns:a16="http://schemas.microsoft.com/office/drawing/2014/main" id="{47A191F5-1F36-6A5F-C734-F8459053FC3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47445" y="4263967"/>
            <a:ext cx="548640" cy="548640"/>
          </a:xfrm>
          <a:prstGeom prst="rect">
            <a:avLst/>
          </a:prstGeom>
        </p:spPr>
      </p:pic>
      <p:sp>
        <p:nvSpPr>
          <p:cNvPr id="7" name="Graphic 51">
            <a:extLst>
              <a:ext uri="{FF2B5EF4-FFF2-40B4-BE49-F238E27FC236}">
                <a16:creationId xmlns:a16="http://schemas.microsoft.com/office/drawing/2014/main" id="{976CFB2D-9E01-EA12-F8B8-40B277AA891D}"/>
              </a:ext>
            </a:extLst>
          </p:cNvPr>
          <p:cNvSpPr>
            <a:spLocks noChangeAspect="1"/>
          </p:cNvSpPr>
          <p:nvPr/>
        </p:nvSpPr>
        <p:spPr>
          <a:xfrm>
            <a:off x="1877993" y="3167082"/>
            <a:ext cx="487544" cy="457200"/>
          </a:xfrm>
          <a:custGeom>
            <a:avLst/>
            <a:gdLst>
              <a:gd name="connsiteX0" fmla="*/ 1836856 w 4972822"/>
              <a:gd name="connsiteY0" fmla="*/ 31 h 4663317"/>
              <a:gd name="connsiteX1" fmla="*/ 1752816 w 4972822"/>
              <a:gd name="connsiteY1" fmla="*/ 81394 h 4663317"/>
              <a:gd name="connsiteX2" fmla="*/ 1752659 w 4972822"/>
              <a:gd name="connsiteY2" fmla="*/ 86752 h 4663317"/>
              <a:gd name="connsiteX3" fmla="*/ 1752659 w 4972822"/>
              <a:gd name="connsiteY3" fmla="*/ 1698386 h 4663317"/>
              <a:gd name="connsiteX4" fmla="*/ 12983 w 4972822"/>
              <a:gd name="connsiteY4" fmla="*/ 4532209 h 4663317"/>
              <a:gd name="connsiteX5" fmla="*/ 10916 w 4972822"/>
              <a:gd name="connsiteY5" fmla="*/ 4619463 h 4663317"/>
              <a:gd name="connsiteX6" fmla="*/ 86351 w 4972822"/>
              <a:gd name="connsiteY6" fmla="*/ 4663315 h 4663317"/>
              <a:gd name="connsiteX7" fmla="*/ 2355076 w 4972822"/>
              <a:gd name="connsiteY7" fmla="*/ 4663315 h 4663317"/>
              <a:gd name="connsiteX8" fmla="*/ 2355723 w 4972822"/>
              <a:gd name="connsiteY8" fmla="*/ 4663315 h 4663317"/>
              <a:gd name="connsiteX9" fmla="*/ 4887010 w 4972822"/>
              <a:gd name="connsiteY9" fmla="*/ 4663315 h 4663317"/>
              <a:gd name="connsiteX10" fmla="*/ 4962017 w 4972822"/>
              <a:gd name="connsiteY10" fmla="*/ 4619228 h 4663317"/>
              <a:gd name="connsiteX11" fmla="*/ 4959832 w 4972822"/>
              <a:gd name="connsiteY11" fmla="*/ 4532209 h 4663317"/>
              <a:gd name="connsiteX12" fmla="*/ 3694237 w 4972822"/>
              <a:gd name="connsiteY12" fmla="*/ 2469911 h 4663317"/>
              <a:gd name="connsiteX13" fmla="*/ 3694237 w 4972822"/>
              <a:gd name="connsiteY13" fmla="*/ 2469940 h 4663317"/>
              <a:gd name="connsiteX14" fmla="*/ 3623247 w 4972822"/>
              <a:gd name="connsiteY14" fmla="*/ 2428724 h 4663317"/>
              <a:gd name="connsiteX15" fmla="*/ 3547897 w 4972822"/>
              <a:gd name="connsiteY15" fmla="*/ 2469940 h 4663317"/>
              <a:gd name="connsiteX16" fmla="*/ 2972962 w 4972822"/>
              <a:gd name="connsiteY16" fmla="*/ 3406870 h 4663317"/>
              <a:gd name="connsiteX17" fmla="*/ 1924178 w 4972822"/>
              <a:gd name="connsiteY17" fmla="*/ 1698053 h 4663317"/>
              <a:gd name="connsiteX18" fmla="*/ 1924178 w 4972822"/>
              <a:gd name="connsiteY18" fmla="*/ 1101152 h 4663317"/>
              <a:gd name="connsiteX19" fmla="*/ 3212600 w 4972822"/>
              <a:gd name="connsiteY19" fmla="*/ 1101152 h 4663317"/>
              <a:gd name="connsiteX20" fmla="*/ 3212561 w 4972822"/>
              <a:gd name="connsiteY20" fmla="*/ 1101152 h 4663317"/>
              <a:gd name="connsiteX21" fmla="*/ 3287107 w 4972822"/>
              <a:gd name="connsiteY21" fmla="*/ 1057222 h 4663317"/>
              <a:gd name="connsiteX22" fmla="*/ 3285393 w 4972822"/>
              <a:gd name="connsiteY22" fmla="*/ 970732 h 4663317"/>
              <a:gd name="connsiteX23" fmla="*/ 3031049 w 4972822"/>
              <a:gd name="connsiteY23" fmla="*/ 551140 h 4663317"/>
              <a:gd name="connsiteX24" fmla="*/ 3285393 w 4972822"/>
              <a:gd name="connsiteY24" fmla="*/ 131734 h 4663317"/>
              <a:gd name="connsiteX25" fmla="*/ 3287107 w 4972822"/>
              <a:gd name="connsiteY25" fmla="*/ 45244 h 4663317"/>
              <a:gd name="connsiteX26" fmla="*/ 3212561 w 4972822"/>
              <a:gd name="connsiteY26" fmla="*/ 1310 h 4663317"/>
              <a:gd name="connsiteX27" fmla="*/ 1852816 w 4972822"/>
              <a:gd name="connsiteY27" fmla="*/ 1310 h 4663317"/>
              <a:gd name="connsiteX28" fmla="*/ 1836895 w 4972822"/>
              <a:gd name="connsiteY28" fmla="*/ 9 h 4663317"/>
              <a:gd name="connsiteX29" fmla="*/ 1924070 w 4972822"/>
              <a:gd name="connsiteY29" fmla="*/ 172824 h 4663317"/>
              <a:gd name="connsiteX30" fmla="*/ 3059951 w 4972822"/>
              <a:gd name="connsiteY30" fmla="*/ 172824 h 4663317"/>
              <a:gd name="connsiteX31" fmla="*/ 2857542 w 4972822"/>
              <a:gd name="connsiteY31" fmla="*/ 506994 h 4663317"/>
              <a:gd name="connsiteX32" fmla="*/ 2857542 w 4972822"/>
              <a:gd name="connsiteY32" fmla="*/ 595590 h 4663317"/>
              <a:gd name="connsiteX33" fmla="*/ 3060637 w 4972822"/>
              <a:gd name="connsiteY33" fmla="*/ 929761 h 4663317"/>
              <a:gd name="connsiteX34" fmla="*/ 1924168 w 4972822"/>
              <a:gd name="connsiteY34" fmla="*/ 929761 h 4663317"/>
              <a:gd name="connsiteX35" fmla="*/ 1838041 w 4972822"/>
              <a:gd name="connsiteY35" fmla="*/ 1885854 h 4663317"/>
              <a:gd name="connsiteX36" fmla="*/ 2506432 w 4972822"/>
              <a:gd name="connsiteY36" fmla="*/ 2975003 h 4663317"/>
              <a:gd name="connsiteX37" fmla="*/ 2213243 w 4972822"/>
              <a:gd name="connsiteY37" fmla="*/ 3209752 h 4663317"/>
              <a:gd name="connsiteX38" fmla="*/ 1891779 w 4972822"/>
              <a:gd name="connsiteY38" fmla="*/ 2952234 h 4663317"/>
              <a:gd name="connsiteX39" fmla="*/ 1836209 w 4972822"/>
              <a:gd name="connsiteY39" fmla="*/ 2933825 h 4663317"/>
              <a:gd name="connsiteX40" fmla="*/ 1784970 w 4972822"/>
              <a:gd name="connsiteY40" fmla="*/ 2952234 h 4663317"/>
              <a:gd name="connsiteX41" fmla="*/ 1463506 w 4972822"/>
              <a:gd name="connsiteY41" fmla="*/ 3209752 h 4663317"/>
              <a:gd name="connsiteX42" fmla="*/ 1170013 w 4972822"/>
              <a:gd name="connsiteY42" fmla="*/ 2974660 h 4663317"/>
              <a:gd name="connsiteX43" fmla="*/ 3621317 w 4972822"/>
              <a:gd name="connsiteY43" fmla="*/ 2678120 h 4663317"/>
              <a:gd name="connsiteX44" fmla="*/ 4734371 w 4972822"/>
              <a:gd name="connsiteY44" fmla="*/ 4491865 h 4663317"/>
              <a:gd name="connsiteX45" fmla="*/ 2508166 w 4972822"/>
              <a:gd name="connsiteY45" fmla="*/ 4491865 h 4663317"/>
              <a:gd name="connsiteX46" fmla="*/ 3042757 w 4972822"/>
              <a:gd name="connsiteY46" fmla="*/ 3620722 h 4663317"/>
              <a:gd name="connsiteX47" fmla="*/ 3049301 w 4972822"/>
              <a:gd name="connsiteY47" fmla="*/ 3610004 h 4663317"/>
              <a:gd name="connsiteX48" fmla="*/ 1079547 w 4972822"/>
              <a:gd name="connsiteY48" fmla="*/ 3121979 h 4663317"/>
              <a:gd name="connsiteX49" fmla="*/ 1409554 w 4972822"/>
              <a:gd name="connsiteY49" fmla="*/ 3386345 h 4663317"/>
              <a:gd name="connsiteX50" fmla="*/ 1516558 w 4972822"/>
              <a:gd name="connsiteY50" fmla="*/ 3386345 h 4663317"/>
              <a:gd name="connsiteX51" fmla="*/ 1838022 w 4972822"/>
              <a:gd name="connsiteY51" fmla="*/ 3129327 h 4663317"/>
              <a:gd name="connsiteX52" fmla="*/ 2159486 w 4972822"/>
              <a:gd name="connsiteY52" fmla="*/ 3386345 h 4663317"/>
              <a:gd name="connsiteX53" fmla="*/ 2267137 w 4972822"/>
              <a:gd name="connsiteY53" fmla="*/ 3386345 h 4663317"/>
              <a:gd name="connsiteX54" fmla="*/ 2596791 w 4972822"/>
              <a:gd name="connsiteY54" fmla="*/ 3122322 h 4663317"/>
              <a:gd name="connsiteX55" fmla="*/ 2872218 w 4972822"/>
              <a:gd name="connsiteY55" fmla="*/ 3570884 h 4663317"/>
              <a:gd name="connsiteX56" fmla="*/ 2306972 w 4972822"/>
              <a:gd name="connsiteY56" fmla="*/ 4491933 h 4663317"/>
              <a:gd name="connsiteX57" fmla="*/ 238893 w 4972822"/>
              <a:gd name="connsiteY57" fmla="*/ 4491894 h 466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72822" h="4663317">
                <a:moveTo>
                  <a:pt x="1836856" y="31"/>
                </a:moveTo>
                <a:cubicBezTo>
                  <a:pt x="1791809" y="835"/>
                  <a:pt x="1755108" y="36388"/>
                  <a:pt x="1752816" y="81394"/>
                </a:cubicBezTo>
                <a:cubicBezTo>
                  <a:pt x="1752698" y="83192"/>
                  <a:pt x="1752659" y="84953"/>
                  <a:pt x="1752659" y="86752"/>
                </a:cubicBezTo>
                <a:lnTo>
                  <a:pt x="1752659" y="1698386"/>
                </a:lnTo>
                <a:lnTo>
                  <a:pt x="12983" y="4532209"/>
                </a:lnTo>
                <a:cubicBezTo>
                  <a:pt x="-3549" y="4558730"/>
                  <a:pt x="-4353" y="4592178"/>
                  <a:pt x="10916" y="4619463"/>
                </a:cubicBezTo>
                <a:cubicBezTo>
                  <a:pt x="26186" y="4646709"/>
                  <a:pt x="55079" y="4663550"/>
                  <a:pt x="86351" y="4663315"/>
                </a:cubicBezTo>
                <a:lnTo>
                  <a:pt x="2355076" y="4663315"/>
                </a:lnTo>
                <a:lnTo>
                  <a:pt x="2355723" y="4663315"/>
                </a:lnTo>
                <a:lnTo>
                  <a:pt x="4887010" y="4663315"/>
                </a:lnTo>
                <a:cubicBezTo>
                  <a:pt x="4918165" y="4663354"/>
                  <a:pt x="4946900" y="4646483"/>
                  <a:pt x="4962017" y="4619228"/>
                </a:cubicBezTo>
                <a:cubicBezTo>
                  <a:pt x="4977174" y="4591982"/>
                  <a:pt x="4976331" y="4558652"/>
                  <a:pt x="4959832" y="4532209"/>
                </a:cubicBezTo>
                <a:lnTo>
                  <a:pt x="3694237" y="2469911"/>
                </a:lnTo>
                <a:lnTo>
                  <a:pt x="3694237" y="2469940"/>
                </a:lnTo>
                <a:cubicBezTo>
                  <a:pt x="3679120" y="2445026"/>
                  <a:pt x="3652374" y="2429527"/>
                  <a:pt x="3623247" y="2428724"/>
                </a:cubicBezTo>
                <a:cubicBezTo>
                  <a:pt x="3592592" y="2427999"/>
                  <a:pt x="3563857" y="2443694"/>
                  <a:pt x="3547897" y="2469940"/>
                </a:cubicBezTo>
                <a:lnTo>
                  <a:pt x="2972962" y="3406870"/>
                </a:lnTo>
                <a:lnTo>
                  <a:pt x="1924178" y="1698053"/>
                </a:lnTo>
                <a:lnTo>
                  <a:pt x="1924178" y="1101152"/>
                </a:lnTo>
                <a:lnTo>
                  <a:pt x="3212600" y="1101152"/>
                </a:lnTo>
                <a:lnTo>
                  <a:pt x="3212561" y="1101152"/>
                </a:lnTo>
                <a:cubicBezTo>
                  <a:pt x="3243520" y="1101044"/>
                  <a:pt x="3271990" y="1084242"/>
                  <a:pt x="3287107" y="1057222"/>
                </a:cubicBezTo>
                <a:cubicBezTo>
                  <a:pt x="3302195" y="1030201"/>
                  <a:pt x="3301538" y="997136"/>
                  <a:pt x="3285393" y="970732"/>
                </a:cubicBezTo>
                <a:lnTo>
                  <a:pt x="3031049" y="551140"/>
                </a:lnTo>
                <a:lnTo>
                  <a:pt x="3285393" y="131734"/>
                </a:lnTo>
                <a:cubicBezTo>
                  <a:pt x="3301538" y="105328"/>
                  <a:pt x="3302185" y="72263"/>
                  <a:pt x="3287107" y="45244"/>
                </a:cubicBezTo>
                <a:cubicBezTo>
                  <a:pt x="3271990" y="18187"/>
                  <a:pt x="3243520" y="1424"/>
                  <a:pt x="3212561" y="1310"/>
                </a:cubicBezTo>
                <a:lnTo>
                  <a:pt x="1852816" y="1310"/>
                </a:lnTo>
                <a:cubicBezTo>
                  <a:pt x="1847574" y="353"/>
                  <a:pt x="1842254" y="-68"/>
                  <a:pt x="1836895" y="9"/>
                </a:cubicBezTo>
                <a:close/>
                <a:moveTo>
                  <a:pt x="1924070" y="172824"/>
                </a:moveTo>
                <a:lnTo>
                  <a:pt x="3059951" y="172824"/>
                </a:lnTo>
                <a:lnTo>
                  <a:pt x="2857542" y="506994"/>
                </a:lnTo>
                <a:cubicBezTo>
                  <a:pt x="2841132" y="534242"/>
                  <a:pt x="2841132" y="568344"/>
                  <a:pt x="2857542" y="595590"/>
                </a:cubicBezTo>
                <a:lnTo>
                  <a:pt x="3060637" y="929761"/>
                </a:lnTo>
                <a:lnTo>
                  <a:pt x="1924168" y="929761"/>
                </a:lnTo>
                <a:close/>
                <a:moveTo>
                  <a:pt x="1838041" y="1885854"/>
                </a:moveTo>
                <a:lnTo>
                  <a:pt x="2506432" y="2975003"/>
                </a:lnTo>
                <a:lnTo>
                  <a:pt x="2213243" y="3209752"/>
                </a:lnTo>
                <a:lnTo>
                  <a:pt x="1891779" y="2952234"/>
                </a:lnTo>
                <a:cubicBezTo>
                  <a:pt x="1875976" y="2939762"/>
                  <a:pt x="1856303" y="2933257"/>
                  <a:pt x="1836209" y="2933825"/>
                </a:cubicBezTo>
                <a:cubicBezTo>
                  <a:pt x="1817575" y="2934246"/>
                  <a:pt x="1799588" y="2940673"/>
                  <a:pt x="1784970" y="2952234"/>
                </a:cubicBezTo>
                <a:lnTo>
                  <a:pt x="1463506" y="3209752"/>
                </a:lnTo>
                <a:lnTo>
                  <a:pt x="1170013" y="2974660"/>
                </a:lnTo>
                <a:close/>
                <a:moveTo>
                  <a:pt x="3621317" y="2678120"/>
                </a:moveTo>
                <a:lnTo>
                  <a:pt x="4734371" y="4491865"/>
                </a:lnTo>
                <a:lnTo>
                  <a:pt x="2508166" y="4491865"/>
                </a:lnTo>
                <a:lnTo>
                  <a:pt x="3042757" y="3620722"/>
                </a:lnTo>
                <a:cubicBezTo>
                  <a:pt x="3045206" y="3617313"/>
                  <a:pt x="3047391" y="3613717"/>
                  <a:pt x="3049301" y="3610004"/>
                </a:cubicBezTo>
                <a:close/>
                <a:moveTo>
                  <a:pt x="1079547" y="3121979"/>
                </a:moveTo>
                <a:lnTo>
                  <a:pt x="1409554" y="3386345"/>
                </a:lnTo>
                <a:cubicBezTo>
                  <a:pt x="1440855" y="3411338"/>
                  <a:pt x="1485256" y="3411338"/>
                  <a:pt x="1516558" y="3386345"/>
                </a:cubicBezTo>
                <a:lnTo>
                  <a:pt x="1838022" y="3129327"/>
                </a:lnTo>
                <a:lnTo>
                  <a:pt x="2159486" y="3386345"/>
                </a:lnTo>
                <a:cubicBezTo>
                  <a:pt x="2190905" y="3411681"/>
                  <a:pt x="2235717" y="3411681"/>
                  <a:pt x="2267137" y="3386345"/>
                </a:cubicBezTo>
                <a:lnTo>
                  <a:pt x="2596791" y="3122322"/>
                </a:lnTo>
                <a:lnTo>
                  <a:pt x="2872218" y="3570884"/>
                </a:lnTo>
                <a:lnTo>
                  <a:pt x="2306972" y="4491933"/>
                </a:lnTo>
                <a:lnTo>
                  <a:pt x="238893" y="4491894"/>
                </a:lnTo>
                <a:close/>
              </a:path>
            </a:pathLst>
          </a:custGeom>
          <a:solidFill>
            <a:schemeClr val="tx1"/>
          </a:solidFill>
          <a:ln w="9797"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74650764-8EC4-7D53-CF91-55D41748DABB}"/>
              </a:ext>
            </a:extLst>
          </p:cNvPr>
          <p:cNvSpPr/>
          <p:nvPr/>
        </p:nvSpPr>
        <p:spPr>
          <a:xfrm>
            <a:off x="567747" y="2605393"/>
            <a:ext cx="1098505" cy="2759182"/>
          </a:xfrm>
          <a:custGeom>
            <a:avLst/>
            <a:gdLst>
              <a:gd name="connsiteX0" fmla="*/ 306653 w 366067"/>
              <a:gd name="connsiteY0" fmla="*/ 0 h 919473"/>
              <a:gd name="connsiteX1" fmla="*/ 76663 w 366067"/>
              <a:gd name="connsiteY1" fmla="*/ 0 h 919473"/>
              <a:gd name="connsiteX2" fmla="*/ 0 w 366067"/>
              <a:gd name="connsiteY2" fmla="*/ 479146 h 919473"/>
              <a:gd name="connsiteX3" fmla="*/ 157160 w 366067"/>
              <a:gd name="connsiteY3" fmla="*/ 479146 h 919473"/>
              <a:gd name="connsiteX4" fmla="*/ 48566 w 366067"/>
              <a:gd name="connsiteY4" fmla="*/ 919213 h 919473"/>
              <a:gd name="connsiteX5" fmla="*/ 48681 w 366067"/>
              <a:gd name="connsiteY5" fmla="*/ 919462 h 919473"/>
              <a:gd name="connsiteX6" fmla="*/ 48930 w 366067"/>
              <a:gd name="connsiteY6" fmla="*/ 919347 h 919473"/>
              <a:gd name="connsiteX7" fmla="*/ 366067 w 366067"/>
              <a:gd name="connsiteY7" fmla="*/ 364151 h 919473"/>
              <a:gd name="connsiteX8" fmla="*/ 205074 w 366067"/>
              <a:gd name="connsiteY8" fmla="*/ 364151 h 919473"/>
              <a:gd name="connsiteX9" fmla="*/ 300079 w 366067"/>
              <a:gd name="connsiteY9" fmla="*/ 402483 h 919473"/>
              <a:gd name="connsiteX10" fmla="*/ 151813 w 366067"/>
              <a:gd name="connsiteY10" fmla="*/ 662371 h 919473"/>
              <a:gd name="connsiteX11" fmla="*/ 151468 w 366067"/>
              <a:gd name="connsiteY11" fmla="*/ 662237 h 919473"/>
              <a:gd name="connsiteX12" fmla="*/ 194380 w 366067"/>
              <a:gd name="connsiteY12" fmla="*/ 488326 h 919473"/>
              <a:gd name="connsiteX13" fmla="*/ 206109 w 366067"/>
              <a:gd name="connsiteY13" fmla="*/ 440814 h 919473"/>
              <a:gd name="connsiteX14" fmla="*/ 44944 w 366067"/>
              <a:gd name="connsiteY14" fmla="*/ 440814 h 919473"/>
              <a:gd name="connsiteX15" fmla="*/ 109341 w 366067"/>
              <a:gd name="connsiteY15" fmla="*/ 38332 h 919473"/>
              <a:gd name="connsiteX16" fmla="*/ 256170 w 366067"/>
              <a:gd name="connsiteY16" fmla="*/ 38332 h 919473"/>
              <a:gd name="connsiteX17" fmla="*/ 168161 w 366067"/>
              <a:gd name="connsiteY17" fmla="*/ 353859 h 919473"/>
              <a:gd name="connsiteX18" fmla="*/ 154592 w 366067"/>
              <a:gd name="connsiteY18" fmla="*/ 402483 h 919473"/>
              <a:gd name="connsiteX19" fmla="*/ 300079 w 366067"/>
              <a:gd name="connsiteY19" fmla="*/ 402483 h 919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6067" h="919473">
                <a:moveTo>
                  <a:pt x="306653" y="0"/>
                </a:moveTo>
                <a:lnTo>
                  <a:pt x="76663" y="0"/>
                </a:lnTo>
                <a:lnTo>
                  <a:pt x="0" y="479146"/>
                </a:lnTo>
                <a:lnTo>
                  <a:pt x="157160" y="479146"/>
                </a:lnTo>
                <a:lnTo>
                  <a:pt x="48566" y="919213"/>
                </a:lnTo>
                <a:cubicBezTo>
                  <a:pt x="48530" y="919312"/>
                  <a:pt x="48580" y="919425"/>
                  <a:pt x="48681" y="919462"/>
                </a:cubicBezTo>
                <a:cubicBezTo>
                  <a:pt x="48781" y="919498"/>
                  <a:pt x="48894" y="919446"/>
                  <a:pt x="48930" y="919347"/>
                </a:cubicBezTo>
                <a:lnTo>
                  <a:pt x="366067" y="364151"/>
                </a:lnTo>
                <a:lnTo>
                  <a:pt x="205074" y="364151"/>
                </a:lnTo>
                <a:close/>
                <a:moveTo>
                  <a:pt x="300079" y="402483"/>
                </a:moveTo>
                <a:lnTo>
                  <a:pt x="151813" y="662371"/>
                </a:lnTo>
                <a:cubicBezTo>
                  <a:pt x="151448" y="663042"/>
                  <a:pt x="151276" y="662965"/>
                  <a:pt x="151468" y="662237"/>
                </a:cubicBezTo>
                <a:lnTo>
                  <a:pt x="194380" y="488326"/>
                </a:lnTo>
                <a:lnTo>
                  <a:pt x="206109" y="440814"/>
                </a:lnTo>
                <a:lnTo>
                  <a:pt x="44944" y="440814"/>
                </a:lnTo>
                <a:lnTo>
                  <a:pt x="109341" y="38332"/>
                </a:lnTo>
                <a:lnTo>
                  <a:pt x="256170" y="38332"/>
                </a:lnTo>
                <a:lnTo>
                  <a:pt x="168161" y="353859"/>
                </a:lnTo>
                <a:lnTo>
                  <a:pt x="154592" y="402483"/>
                </a:lnTo>
                <a:lnTo>
                  <a:pt x="300079" y="402483"/>
                </a:lnTo>
                <a:close/>
              </a:path>
            </a:pathLst>
          </a:custGeom>
          <a:solidFill>
            <a:schemeClr val="tx2">
              <a:lumMod val="60000"/>
              <a:lumOff val="40000"/>
            </a:schemeClr>
          </a:solidFill>
          <a:ln w="19149" cap="flat">
            <a:noFill/>
            <a:prstDash val="solid"/>
            <a:miter/>
          </a:ln>
        </p:spPr>
        <p:txBody>
          <a:bodyPr rtlCol="0" anchor="ctr"/>
          <a:lstStyle/>
          <a:p>
            <a:endParaRPr lang="en-US" dirty="0"/>
          </a:p>
        </p:txBody>
      </p:sp>
      <p:sp>
        <p:nvSpPr>
          <p:cNvPr id="2" name="Footer Placeholder 24">
            <a:extLst>
              <a:ext uri="{FF2B5EF4-FFF2-40B4-BE49-F238E27FC236}">
                <a16:creationId xmlns:a16="http://schemas.microsoft.com/office/drawing/2014/main" id="{5BA602E2-456B-E332-9A07-1A91A32B79EF}"/>
              </a:ext>
            </a:extLst>
          </p:cNvPr>
          <p:cNvSpPr txBox="1">
            <a:spLocks/>
          </p:cNvSpPr>
          <p:nvPr/>
        </p:nvSpPr>
        <p:spPr>
          <a:xfrm>
            <a:off x="550863" y="6466953"/>
            <a:ext cx="11155680" cy="13716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i="1" dirty="0"/>
              <a:t>Sources: </a:t>
            </a:r>
            <a:r>
              <a:rPr lang="en-US" sz="1000" i="1" dirty="0"/>
              <a:t>NarrativeWave “How Enel Green Power Saved Time and Operational Costs with NarrativeWave”, </a:t>
            </a:r>
            <a:r>
              <a:rPr lang="en-US" sz="1000" dirty="0"/>
              <a:t>“Infographic: Enel and NarrativeWave - Electrical Submersible Pumps”</a:t>
            </a:r>
            <a:endParaRPr lang="en-US" sz="1000" i="1" dirty="0"/>
          </a:p>
        </p:txBody>
      </p:sp>
    </p:spTree>
    <p:extLst>
      <p:ext uri="{BB962C8B-B14F-4D97-AF65-F5344CB8AC3E}">
        <p14:creationId xmlns:p14="http://schemas.microsoft.com/office/powerpoint/2010/main" val="255976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Eqwcc7DejGViCWBFpFD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At3g6oHR.eSMeI2wrOH9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jISAEtFUhbxIAwICusE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U7v3cWm.ALjPRKJ9nXr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A9IE.7bLxBrULpoO3xS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y4LRVt1qo76aFx.vfDh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blF5.eRNR9rPuGQEZuE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y4LRVt1qo76aFx.vfDh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fp6Cj340VALGJWLymSW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pH.igiAg4ypsuWHYavcn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mVjA4ltcgICe3e6_2sK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j3fl1AeGXOX4VVDsMkf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u263.y13U8EVew42DLd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nQVlvbzwXzzEXqncUOz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ccDgirzl5tnzMsz.uzQ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Uio.O3YUYWzoTtrSsmIH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5jvsGbONRlHa1tN1XBgZw"/>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spAutoFit/>
      </a:bodyPr>
      <a:lstStyle>
        <a:defPPr algn="l">
          <a:defRPr dirty="0"/>
        </a:defPPr>
      </a:lstStyle>
    </a:txDef>
  </a:objectDefaults>
  <a:extraClrSchemeLst/>
  <a:extLst>
    <a:ext uri="{05A4C25C-085E-4340-85A3-A5531E510DB2}">
      <thm15:themeFamily xmlns:thm15="http://schemas.microsoft.com/office/thememl/2012/main" name="Infomineo_Template_Widescreen.potm" id="{A045A23C-F332-4D97-85AE-0C2DA41476AA}" vid="{1F177315-FD57-47DC-832A-616B4C14F39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fomineo_Template_Widescreen</Template>
  <TotalTime>3037</TotalTime>
  <Words>1631</Words>
  <Application>Microsoft Office PowerPoint</Application>
  <PresentationFormat>Widescreen</PresentationFormat>
  <Paragraphs>146</Paragraphs>
  <Slides>12</Slides>
  <Notes>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Calibri Light</vt:lpstr>
      <vt:lpstr>Franklin Gothic Book</vt:lpstr>
      <vt:lpstr>Franklin Gothic Demi</vt:lpstr>
      <vt:lpstr>Segoe UI Light</vt:lpstr>
      <vt:lpstr>Wingdings</vt:lpstr>
      <vt:lpstr>Office Theme</vt:lpstr>
      <vt:lpstr>think-cell Slide</vt:lpstr>
      <vt:lpstr>Data analytics</vt:lpstr>
      <vt:lpstr>PowerPoint Presentation</vt:lpstr>
      <vt:lpstr>Introduction</vt:lpstr>
      <vt:lpstr>The data analytics process involves identifying the business objectives, gathering the data, processing it, evaluating the results, and creating the final report</vt:lpstr>
      <vt:lpstr>Businesses leverage data analytics for various purposes </vt:lpstr>
      <vt:lpstr>Data Analytics provides valuable insights that improve decision making and overall business efficiency</vt:lpstr>
      <vt:lpstr>Various approaches to data analytics include looking at what happened, why it happened, what is going to happen, or what should be done next</vt:lpstr>
      <vt:lpstr>Healthcare, transportation, financial services, and energy are some of the main sectors leveraging data analytics</vt:lpstr>
      <vt:lpstr>Case study: A self-service solution to improve Enel Green Power’s failures detection, and reduce downtime</vt:lpstr>
      <vt:lpstr>Case study : Eliminating shadow IT by facilitating self-service analytics</vt:lpstr>
      <vt:lpstr>Case study: Overcoming the challenge of direct data collection in ORs and ICUs with unstable internet connec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lide Title&gt;</dc:title>
  <dc:creator>User1</dc:creator>
  <cp:lastModifiedBy>User1</cp:lastModifiedBy>
  <cp:revision>112</cp:revision>
  <dcterms:created xsi:type="dcterms:W3CDTF">2022-04-19T13:04:07Z</dcterms:created>
  <dcterms:modified xsi:type="dcterms:W3CDTF">2022-11-22T17:08:33Z</dcterms:modified>
</cp:coreProperties>
</file>